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heme/themeOverride1.xml" ContentType="application/vnd.openxmlformats-officedocument.themeOverride+xml"/>
  <Override PartName="/ppt/notesSlides/notesSlide3.xml" ContentType="application/vnd.openxmlformats-officedocument.presentationml.notesSlide+xml"/>
  <Override PartName="/ppt/theme/themeOverride2.xml" ContentType="application/vnd.openxmlformats-officedocument.themeOverride+xml"/>
  <Override PartName="/ppt/theme/themeOverride3.xml" ContentType="application/vnd.openxmlformats-officedocument.themeOverr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86" r:id="rId4"/>
  </p:sldMasterIdLst>
  <p:notesMasterIdLst>
    <p:notesMasterId r:id="rId87"/>
  </p:notesMasterIdLst>
  <p:handoutMasterIdLst>
    <p:handoutMasterId r:id="rId88"/>
  </p:handoutMasterIdLst>
  <p:sldIdLst>
    <p:sldId id="1272" r:id="rId5"/>
    <p:sldId id="793" r:id="rId6"/>
    <p:sldId id="1189" r:id="rId7"/>
    <p:sldId id="1199" r:id="rId8"/>
    <p:sldId id="1290" r:id="rId9"/>
    <p:sldId id="1017" r:id="rId10"/>
    <p:sldId id="1200" r:id="rId11"/>
    <p:sldId id="1201" r:id="rId12"/>
    <p:sldId id="1202" r:id="rId13"/>
    <p:sldId id="1203" r:id="rId14"/>
    <p:sldId id="1204" r:id="rId15"/>
    <p:sldId id="1206" r:id="rId16"/>
    <p:sldId id="1205" r:id="rId17"/>
    <p:sldId id="1273" r:id="rId18"/>
    <p:sldId id="1208" r:id="rId19"/>
    <p:sldId id="1209" r:id="rId20"/>
    <p:sldId id="1212" r:id="rId21"/>
    <p:sldId id="1285" r:id="rId22"/>
    <p:sldId id="1274" r:id="rId23"/>
    <p:sldId id="1218" r:id="rId24"/>
    <p:sldId id="1287" r:id="rId25"/>
    <p:sldId id="1284" r:id="rId26"/>
    <p:sldId id="1286" r:id="rId27"/>
    <p:sldId id="1219" r:id="rId28"/>
    <p:sldId id="1275" r:id="rId29"/>
    <p:sldId id="1158" r:id="rId30"/>
    <p:sldId id="1147" r:id="rId31"/>
    <p:sldId id="1168" r:id="rId32"/>
    <p:sldId id="1338" r:id="rId33"/>
    <p:sldId id="1235" r:id="rId34"/>
    <p:sldId id="1236" r:id="rId35"/>
    <p:sldId id="1237" r:id="rId36"/>
    <p:sldId id="1276" r:id="rId37"/>
    <p:sldId id="1143" r:id="rId38"/>
    <p:sldId id="1238" r:id="rId39"/>
    <p:sldId id="1315" r:id="rId40"/>
    <p:sldId id="1339" r:id="rId41"/>
    <p:sldId id="1340" r:id="rId42"/>
    <p:sldId id="1278" r:id="rId43"/>
    <p:sldId id="1241" r:id="rId44"/>
    <p:sldId id="1289" r:id="rId45"/>
    <p:sldId id="1277" r:id="rId46"/>
    <p:sldId id="1244" r:id="rId47"/>
    <p:sldId id="1245" r:id="rId48"/>
    <p:sldId id="1248" r:id="rId49"/>
    <p:sldId id="1249" r:id="rId50"/>
    <p:sldId id="1280" r:id="rId51"/>
    <p:sldId id="1281" r:id="rId52"/>
    <p:sldId id="1254" r:id="rId53"/>
    <p:sldId id="1255" r:id="rId54"/>
    <p:sldId id="1282" r:id="rId55"/>
    <p:sldId id="1257" r:id="rId56"/>
    <p:sldId id="1258" r:id="rId57"/>
    <p:sldId id="1341" r:id="rId58"/>
    <p:sldId id="1259" r:id="rId59"/>
    <p:sldId id="1283" r:id="rId60"/>
    <p:sldId id="1261" r:id="rId61"/>
    <p:sldId id="1262" r:id="rId62"/>
    <p:sldId id="1263" r:id="rId63"/>
    <p:sldId id="1332" r:id="rId64"/>
    <p:sldId id="1335" r:id="rId65"/>
    <p:sldId id="1337" r:id="rId66"/>
    <p:sldId id="1336" r:id="rId67"/>
    <p:sldId id="1333" r:id="rId68"/>
    <p:sldId id="1292" r:id="rId69"/>
    <p:sldId id="1307" r:id="rId70"/>
    <p:sldId id="1323" r:id="rId71"/>
    <p:sldId id="1331" r:id="rId72"/>
    <p:sldId id="1324" r:id="rId73"/>
    <p:sldId id="1329" r:id="rId74"/>
    <p:sldId id="1325" r:id="rId75"/>
    <p:sldId id="1326" r:id="rId76"/>
    <p:sldId id="1327" r:id="rId77"/>
    <p:sldId id="1330" r:id="rId78"/>
    <p:sldId id="1328" r:id="rId79"/>
    <p:sldId id="1264" r:id="rId80"/>
    <p:sldId id="1265" r:id="rId81"/>
    <p:sldId id="1270" r:id="rId82"/>
    <p:sldId id="1181" r:id="rId83"/>
    <p:sldId id="1182" r:id="rId84"/>
    <p:sldId id="1196" r:id="rId85"/>
    <p:sldId id="1198" r:id="rId86"/>
  </p:sldIdLst>
  <p:sldSz cx="9144000" cy="5143500" type="screen16x9"/>
  <p:notesSz cx="6792913" cy="992505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1FE80F70-85F7-4C13-AA76-BC6DC7E72933}">
          <p14:sldIdLst>
            <p14:sldId id="1272"/>
            <p14:sldId id="793"/>
            <p14:sldId id="1189"/>
            <p14:sldId id="1199"/>
            <p14:sldId id="1290"/>
            <p14:sldId id="1017"/>
            <p14:sldId id="1200"/>
            <p14:sldId id="1201"/>
            <p14:sldId id="1202"/>
            <p14:sldId id="1203"/>
            <p14:sldId id="1204"/>
            <p14:sldId id="1206"/>
            <p14:sldId id="1205"/>
            <p14:sldId id="1273"/>
            <p14:sldId id="1208"/>
            <p14:sldId id="1209"/>
            <p14:sldId id="1212"/>
            <p14:sldId id="1285"/>
            <p14:sldId id="1274"/>
            <p14:sldId id="1218"/>
            <p14:sldId id="1287"/>
            <p14:sldId id="1284"/>
            <p14:sldId id="1286"/>
            <p14:sldId id="1219"/>
            <p14:sldId id="1275"/>
            <p14:sldId id="1158"/>
            <p14:sldId id="1147"/>
            <p14:sldId id="1168"/>
            <p14:sldId id="1338"/>
            <p14:sldId id="1235"/>
            <p14:sldId id="1236"/>
            <p14:sldId id="1237"/>
            <p14:sldId id="1276"/>
            <p14:sldId id="1143"/>
            <p14:sldId id="1238"/>
            <p14:sldId id="1315"/>
            <p14:sldId id="1339"/>
            <p14:sldId id="1340"/>
            <p14:sldId id="1278"/>
            <p14:sldId id="1241"/>
            <p14:sldId id="1289"/>
            <p14:sldId id="1277"/>
            <p14:sldId id="1244"/>
            <p14:sldId id="1245"/>
            <p14:sldId id="1248"/>
            <p14:sldId id="1249"/>
            <p14:sldId id="1280"/>
            <p14:sldId id="1281"/>
            <p14:sldId id="1254"/>
            <p14:sldId id="1255"/>
            <p14:sldId id="1282"/>
            <p14:sldId id="1257"/>
            <p14:sldId id="1258"/>
            <p14:sldId id="1341"/>
            <p14:sldId id="1259"/>
            <p14:sldId id="1283"/>
            <p14:sldId id="1261"/>
            <p14:sldId id="1262"/>
            <p14:sldId id="1263"/>
            <p14:sldId id="1332"/>
            <p14:sldId id="1335"/>
            <p14:sldId id="1337"/>
            <p14:sldId id="1336"/>
            <p14:sldId id="1333"/>
            <p14:sldId id="1292"/>
            <p14:sldId id="1307"/>
            <p14:sldId id="1323"/>
            <p14:sldId id="1331"/>
            <p14:sldId id="1324"/>
            <p14:sldId id="1329"/>
            <p14:sldId id="1325"/>
            <p14:sldId id="1326"/>
            <p14:sldId id="1327"/>
            <p14:sldId id="1330"/>
            <p14:sldId id="1328"/>
            <p14:sldId id="1264"/>
            <p14:sldId id="1265"/>
            <p14:sldId id="1270"/>
            <p14:sldId id="1181"/>
            <p14:sldId id="1182"/>
            <p14:sldId id="1196"/>
            <p14:sldId id="1198"/>
          </p14:sldIdLst>
        </p14:section>
      </p14:sectionLst>
    </p:ext>
    <p:ext uri="{EFAFB233-063F-42B5-8137-9DF3F51BA10A}">
      <p15:sldGuideLst xmlns:p15="http://schemas.microsoft.com/office/powerpoint/2012/main">
        <p15:guide id="1" orient="horz" pos="2935">
          <p15:clr>
            <a:srgbClr val="A4A3A4"/>
          </p15:clr>
        </p15:guide>
        <p15:guide id="2" orient="horz">
          <p15:clr>
            <a:srgbClr val="A4A3A4"/>
          </p15:clr>
        </p15:guide>
        <p15:guide id="3" orient="horz" pos="713">
          <p15:clr>
            <a:srgbClr val="A4A3A4"/>
          </p15:clr>
        </p15:guide>
        <p15:guide id="4" orient="horz" pos="1938">
          <p15:clr>
            <a:srgbClr val="A4A3A4"/>
          </p15:clr>
        </p15:guide>
        <p15:guide id="5" orient="horz" pos="2482">
          <p15:clr>
            <a:srgbClr val="A4A3A4"/>
          </p15:clr>
        </p15:guide>
        <p15:guide id="6" orient="horz" pos="2573">
          <p15:clr>
            <a:srgbClr val="A4A3A4"/>
          </p15:clr>
        </p15:guide>
        <p15:guide id="7" orient="horz" pos="622">
          <p15:clr>
            <a:srgbClr val="A4A3A4"/>
          </p15:clr>
        </p15:guide>
        <p15:guide id="8" orient="horz" pos="1166">
          <p15:clr>
            <a:srgbClr val="A4A3A4"/>
          </p15:clr>
        </p15:guide>
        <p15:guide id="9" pos="5556">
          <p15:clr>
            <a:srgbClr val="A4A3A4"/>
          </p15:clr>
        </p15:guide>
        <p15:guide id="10" pos="204">
          <p15:clr>
            <a:srgbClr val="A4A3A4"/>
          </p15:clr>
        </p15:guide>
        <p15:guide id="11" pos="68">
          <p15:clr>
            <a:srgbClr val="A4A3A4"/>
          </p15:clr>
        </p15:guide>
        <p15:guide id="12" pos="4105">
          <p15:clr>
            <a:srgbClr val="A4A3A4"/>
          </p15:clr>
        </p15:guide>
      </p15:sldGuideLst>
    </p:ext>
    <p:ext uri="{2D200454-40CA-4A62-9FC3-DE9A4176ACB9}">
      <p15:notesGuideLst xmlns:p15="http://schemas.microsoft.com/office/powerpoint/2012/main">
        <p15:guide id="1" orient="horz" pos="3126" userDrawn="1">
          <p15:clr>
            <a:srgbClr val="A4A3A4"/>
          </p15:clr>
        </p15:guide>
        <p15:guide id="2" pos="214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707004D-39EE-E7AA-BDFC-E3680A495087}" name="Ieva Dzene" initials="ID" userId="S::i.dzene@europe-it-consulting.ch::36e850b3-6b13-42b6-8b78-9778956e69b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Bothe, Matthias" initials="BM" lastIdx="2" clrIdx="0"/>
  <p:cmAuthor id="1" name="Jens Schaefer" initials="JS" lastIdx="1" clrIdx="1">
    <p:extLst>
      <p:ext uri="{19B8F6BF-5375-455C-9EA6-DF929625EA0E}">
        <p15:presenceInfo xmlns:p15="http://schemas.microsoft.com/office/powerpoint/2012/main" userId="S::jens.schaefer@dhc-gmbh.com::f93a4bed-04fa-451f-9264-8731e09a7f12" providerId="AD"/>
      </p:ext>
    </p:extLst>
  </p:cmAuthor>
  <p:cmAuthor id="2" name="Ismail Demiralp" initials="ID" lastIdx="1" clrIdx="2">
    <p:extLst>
      <p:ext uri="{19B8F6BF-5375-455C-9EA6-DF929625EA0E}">
        <p15:presenceInfo xmlns:p15="http://schemas.microsoft.com/office/powerpoint/2012/main" userId="b789c1e8e9d1c153" providerId="Windows Live"/>
      </p:ext>
    </p:extLst>
  </p:cmAuthor>
  <p:cmAuthor id="3" name="Marion Spizzo" initials="MS" lastIdx="2" clrIdx="3">
    <p:extLst>
      <p:ext uri="{19B8F6BF-5375-455C-9EA6-DF929625EA0E}">
        <p15:presenceInfo xmlns:p15="http://schemas.microsoft.com/office/powerpoint/2012/main" userId="S::m.spizzo@europe-it-consulting.ch::43054aff-b319-44f0-be2a-97a1d91f7302" providerId="AD"/>
      </p:ext>
    </p:extLst>
  </p:cmAuthor>
  <p:cmAuthor id="4" name="Ieva Dzene" initials="ID" lastIdx="7" clrIdx="4">
    <p:extLst>
      <p:ext uri="{19B8F6BF-5375-455C-9EA6-DF929625EA0E}">
        <p15:presenceInfo xmlns:p15="http://schemas.microsoft.com/office/powerpoint/2012/main" userId="S::i.dzene@europe-it-consulting.ch::36e850b3-6b13-42b6-8b78-9778956e69b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F5597"/>
    <a:srgbClr val="203864"/>
    <a:srgbClr val="83A3D7"/>
    <a:srgbClr val="C8E2F8"/>
    <a:srgbClr val="D9D9D9"/>
    <a:srgbClr val="FFFFFF"/>
    <a:srgbClr val="ED7D31"/>
    <a:srgbClr val="8042D2"/>
    <a:srgbClr val="16CCD0"/>
    <a:srgbClr val="CFDDE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94F6AF5-DC15-4227-8BF9-25C928E0EF5F}" v="2" dt="2024-03-04T07:27:46.198"/>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ittlere Formatvorlage 1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CF1AB2-1976-4502-BF36-3FF5EA218861}" styleName="Mittlere Formatvorlage 4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8799B23B-EC83-4686-B30A-512413B5E67A}" styleName="Helle Formatvorlage 3 - Akz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69012ECD-51FC-41F1-AA8D-1B2483CD663E}" styleName="Helle Formatvorlage 2 - Akz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56" d="100"/>
          <a:sy n="156" d="100"/>
        </p:scale>
        <p:origin x="2419" y="110"/>
      </p:cViewPr>
      <p:guideLst>
        <p:guide orient="horz" pos="2935"/>
        <p:guide orient="horz"/>
        <p:guide orient="horz" pos="713"/>
        <p:guide orient="horz" pos="1938"/>
        <p:guide orient="horz" pos="2482"/>
        <p:guide orient="horz" pos="2573"/>
        <p:guide orient="horz" pos="622"/>
        <p:guide orient="horz" pos="1166"/>
        <p:guide pos="5556"/>
        <p:guide pos="204"/>
        <p:guide pos="68"/>
        <p:guide pos="4105"/>
      </p:guideLst>
    </p:cSldViewPr>
  </p:slideViewPr>
  <p:notesTextViewPr>
    <p:cViewPr>
      <p:scale>
        <a:sx n="1" d="1"/>
        <a:sy n="1" d="1"/>
      </p:scale>
      <p:origin x="0" y="0"/>
    </p:cViewPr>
  </p:notesTextViewPr>
  <p:notesViewPr>
    <p:cSldViewPr snapToGrid="0">
      <p:cViewPr>
        <p:scale>
          <a:sx n="1" d="2"/>
          <a:sy n="1" d="2"/>
        </p:scale>
        <p:origin x="0" y="0"/>
      </p:cViewPr>
      <p:guideLst>
        <p:guide orient="horz" pos="3126"/>
        <p:guide pos="214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commentAuthors" Target="commentAuthors.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90" Type="http://schemas.openxmlformats.org/officeDocument/2006/relationships/presProps" Target="presProps.xml"/><Relationship Id="rId95" Type="http://schemas.microsoft.com/office/2015/10/relationships/revisionInfo" Target="revisionInfo.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handoutMaster" Target="handoutMasters/handoutMaster1.xml"/><Relationship Id="rId91" Type="http://schemas.openxmlformats.org/officeDocument/2006/relationships/viewProps" Target="viewProps.xml"/><Relationship Id="rId96"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theme" Target="theme/theme1.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notesMaster" Target="notesMasters/notesMaster1.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smail Demiralp" userId="a8c435f5-7078-4aaa-b195-c7fd93ed9c86" providerId="ADAL" clId="{D7967D73-7F1C-41FD-8114-0F2E25588FBF}"/>
    <pc:docChg chg="modSld">
      <pc:chgData name="Ismail Demiralp" userId="a8c435f5-7078-4aaa-b195-c7fd93ed9c86" providerId="ADAL" clId="{D7967D73-7F1C-41FD-8114-0F2E25588FBF}" dt="2022-11-08T13:08:29.887" v="28" actId="20577"/>
      <pc:docMkLst>
        <pc:docMk/>
      </pc:docMkLst>
      <pc:sldChg chg="modSp mod">
        <pc:chgData name="Ismail Demiralp" userId="a8c435f5-7078-4aaa-b195-c7fd93ed9c86" providerId="ADAL" clId="{D7967D73-7F1C-41FD-8114-0F2E25588FBF}" dt="2022-11-08T13:08:29.887" v="28" actId="20577"/>
        <pc:sldMkLst>
          <pc:docMk/>
          <pc:sldMk cId="3315475924" sldId="1272"/>
        </pc:sldMkLst>
        <pc:spChg chg="mod">
          <ac:chgData name="Ismail Demiralp" userId="a8c435f5-7078-4aaa-b195-c7fd93ed9c86" providerId="ADAL" clId="{D7967D73-7F1C-41FD-8114-0F2E25588FBF}" dt="2022-11-08T13:08:29.887" v="28" actId="20577"/>
          <ac:spMkLst>
            <pc:docMk/>
            <pc:sldMk cId="3315475924" sldId="1272"/>
            <ac:spMk id="3" creationId="{7716F4FB-E2A6-4989-A910-CBF8CC87B56B}"/>
          </ac:spMkLst>
        </pc:spChg>
      </pc:sldChg>
    </pc:docChg>
  </pc:docChgLst>
  <pc:docChgLst>
    <pc:chgData name="Ieva Dzene" userId="36e850b3-6b13-42b6-8b78-9778956e69b6" providerId="ADAL" clId="{2B98E168-295F-4675-91AD-98C27118674C}"/>
    <pc:docChg chg="undo redo custSel addSld delSld modSld sldOrd modSection">
      <pc:chgData name="Ieva Dzene" userId="36e850b3-6b13-42b6-8b78-9778956e69b6" providerId="ADAL" clId="{2B98E168-295F-4675-91AD-98C27118674C}" dt="2021-09-01T13:36:48.394" v="11167" actId="27636"/>
      <pc:docMkLst>
        <pc:docMk/>
      </pc:docMkLst>
      <pc:sldChg chg="addSp delSp modSp mod">
        <pc:chgData name="Ieva Dzene" userId="36e850b3-6b13-42b6-8b78-9778956e69b6" providerId="ADAL" clId="{2B98E168-295F-4675-91AD-98C27118674C}" dt="2021-08-06T15:50:22.927" v="31" actId="108"/>
        <pc:sldMkLst>
          <pc:docMk/>
          <pc:sldMk cId="112376409" sldId="1017"/>
        </pc:sldMkLst>
        <pc:spChg chg="mod">
          <ac:chgData name="Ieva Dzene" userId="36e850b3-6b13-42b6-8b78-9778956e69b6" providerId="ADAL" clId="{2B98E168-295F-4675-91AD-98C27118674C}" dt="2021-08-06T15:50:11.263" v="28" actId="14100"/>
          <ac:spMkLst>
            <pc:docMk/>
            <pc:sldMk cId="112376409" sldId="1017"/>
            <ac:spMk id="7" creationId="{22974B99-5E58-480B-92F2-3B8832468EBD}"/>
          </ac:spMkLst>
        </pc:spChg>
        <pc:picChg chg="add mod">
          <ac:chgData name="Ieva Dzene" userId="36e850b3-6b13-42b6-8b78-9778956e69b6" providerId="ADAL" clId="{2B98E168-295F-4675-91AD-98C27118674C}" dt="2021-08-06T15:50:22.927" v="31" actId="108"/>
          <ac:picMkLst>
            <pc:docMk/>
            <pc:sldMk cId="112376409" sldId="1017"/>
            <ac:picMk id="4" creationId="{324436F6-ED3A-48EF-8E6F-65CCFAEDE538}"/>
          </ac:picMkLst>
        </pc:picChg>
        <pc:picChg chg="del">
          <ac:chgData name="Ieva Dzene" userId="36e850b3-6b13-42b6-8b78-9778956e69b6" providerId="ADAL" clId="{2B98E168-295F-4675-91AD-98C27118674C}" dt="2021-08-06T15:50:00.668" v="22" actId="478"/>
          <ac:picMkLst>
            <pc:docMk/>
            <pc:sldMk cId="112376409" sldId="1017"/>
            <ac:picMk id="9" creationId="{AE7FA57A-1C52-4E0C-B455-157A2971254A}"/>
          </ac:picMkLst>
        </pc:picChg>
      </pc:sldChg>
      <pc:sldChg chg="addSp delSp modSp mod">
        <pc:chgData name="Ieva Dzene" userId="36e850b3-6b13-42b6-8b78-9778956e69b6" providerId="ADAL" clId="{2B98E168-295F-4675-91AD-98C27118674C}" dt="2021-08-17T06:59:38.047" v="5731" actId="14100"/>
        <pc:sldMkLst>
          <pc:docMk/>
          <pc:sldMk cId="3806334263" sldId="1143"/>
        </pc:sldMkLst>
        <pc:spChg chg="mod">
          <ac:chgData name="Ieva Dzene" userId="36e850b3-6b13-42b6-8b78-9778956e69b6" providerId="ADAL" clId="{2B98E168-295F-4675-91AD-98C27118674C}" dt="2021-08-09T07:21:16.375" v="232" actId="20577"/>
          <ac:spMkLst>
            <pc:docMk/>
            <pc:sldMk cId="3806334263" sldId="1143"/>
            <ac:spMk id="10" creationId="{CBB82244-2063-4981-8BE7-11B357FB60C1}"/>
          </ac:spMkLst>
        </pc:spChg>
        <pc:spChg chg="del">
          <ac:chgData name="Ieva Dzene" userId="36e850b3-6b13-42b6-8b78-9778956e69b6" providerId="ADAL" clId="{2B98E168-295F-4675-91AD-98C27118674C}" dt="2021-08-06T16:11:51.457" v="78" actId="478"/>
          <ac:spMkLst>
            <pc:docMk/>
            <pc:sldMk cId="3806334263" sldId="1143"/>
            <ac:spMk id="12" creationId="{4424B0C0-F9D6-4EA2-905E-A902FE04B3BA}"/>
          </ac:spMkLst>
        </pc:spChg>
        <pc:spChg chg="mod">
          <ac:chgData name="Ieva Dzene" userId="36e850b3-6b13-42b6-8b78-9778956e69b6" providerId="ADAL" clId="{2B98E168-295F-4675-91AD-98C27118674C}" dt="2021-08-17T06:57:21.377" v="5716" actId="14100"/>
          <ac:spMkLst>
            <pc:docMk/>
            <pc:sldMk cId="3806334263" sldId="1143"/>
            <ac:spMk id="15" creationId="{116B6A9B-1DA6-46BB-8E1F-9CBD5148B177}"/>
          </ac:spMkLst>
        </pc:spChg>
        <pc:spChg chg="mod">
          <ac:chgData name="Ieva Dzene" userId="36e850b3-6b13-42b6-8b78-9778956e69b6" providerId="ADAL" clId="{2B98E168-295F-4675-91AD-98C27118674C}" dt="2021-08-17T06:59:38.047" v="5731" actId="14100"/>
          <ac:spMkLst>
            <pc:docMk/>
            <pc:sldMk cId="3806334263" sldId="1143"/>
            <ac:spMk id="19" creationId="{DAC540C1-9BC5-4CA8-B5C3-53F0A2F125F5}"/>
          </ac:spMkLst>
        </pc:spChg>
        <pc:spChg chg="del">
          <ac:chgData name="Ieva Dzene" userId="36e850b3-6b13-42b6-8b78-9778956e69b6" providerId="ADAL" clId="{2B98E168-295F-4675-91AD-98C27118674C}" dt="2021-08-06T16:11:50.172" v="77" actId="478"/>
          <ac:spMkLst>
            <pc:docMk/>
            <pc:sldMk cId="3806334263" sldId="1143"/>
            <ac:spMk id="20" creationId="{3AD9BC6E-03C1-4902-A137-334292C9AAF2}"/>
          </ac:spMkLst>
        </pc:spChg>
        <pc:grpChg chg="del">
          <ac:chgData name="Ieva Dzene" userId="36e850b3-6b13-42b6-8b78-9778956e69b6" providerId="ADAL" clId="{2B98E168-295F-4675-91AD-98C27118674C}" dt="2021-08-06T16:11:47.749" v="76" actId="478"/>
          <ac:grpSpMkLst>
            <pc:docMk/>
            <pc:sldMk cId="3806334263" sldId="1143"/>
            <ac:grpSpMk id="3" creationId="{35E51E43-AF37-4DC3-9650-789422BB93C4}"/>
          </ac:grpSpMkLst>
        </pc:grpChg>
        <pc:picChg chg="del">
          <ac:chgData name="Ieva Dzene" userId="36e850b3-6b13-42b6-8b78-9778956e69b6" providerId="ADAL" clId="{2B98E168-295F-4675-91AD-98C27118674C}" dt="2021-08-17T06:56:55.874" v="5710" actId="478"/>
          <ac:picMkLst>
            <pc:docMk/>
            <pc:sldMk cId="3806334263" sldId="1143"/>
            <ac:picMk id="3" creationId="{ACC6A3B6-3B8D-40A2-AA5D-9E98218386F5}"/>
          </ac:picMkLst>
        </pc:picChg>
        <pc:picChg chg="add mod ord">
          <ac:chgData name="Ieva Dzene" userId="36e850b3-6b13-42b6-8b78-9778956e69b6" providerId="ADAL" clId="{2B98E168-295F-4675-91AD-98C27118674C}" dt="2021-08-17T06:57:12.105" v="5714" actId="1076"/>
          <ac:picMkLst>
            <pc:docMk/>
            <pc:sldMk cId="3806334263" sldId="1143"/>
            <ac:picMk id="4" creationId="{17B97CFB-DC9A-4130-AE52-F2545A9E97AF}"/>
          </ac:picMkLst>
        </pc:picChg>
        <pc:picChg chg="add mod">
          <ac:chgData name="Ieva Dzene" userId="36e850b3-6b13-42b6-8b78-9778956e69b6" providerId="ADAL" clId="{2B98E168-295F-4675-91AD-98C27118674C}" dt="2021-08-06T16:12:18.507" v="85" actId="1076"/>
          <ac:picMkLst>
            <pc:docMk/>
            <pc:sldMk cId="3806334263" sldId="1143"/>
            <ac:picMk id="5" creationId="{5080616F-0203-4AA1-A0B1-AFD9606C3628}"/>
          </ac:picMkLst>
        </pc:picChg>
        <pc:picChg chg="add mod ord">
          <ac:chgData name="Ieva Dzene" userId="36e850b3-6b13-42b6-8b78-9778956e69b6" providerId="ADAL" clId="{2B98E168-295F-4675-91AD-98C27118674C}" dt="2021-08-17T06:59:32.418" v="5729" actId="1076"/>
          <ac:picMkLst>
            <pc:docMk/>
            <pc:sldMk cId="3806334263" sldId="1143"/>
            <ac:picMk id="6" creationId="{850700AF-6C1B-434E-BC4C-D8D90CC2EFAC}"/>
          </ac:picMkLst>
        </pc:picChg>
        <pc:picChg chg="del">
          <ac:chgData name="Ieva Dzene" userId="36e850b3-6b13-42b6-8b78-9778956e69b6" providerId="ADAL" clId="{2B98E168-295F-4675-91AD-98C27118674C}" dt="2021-08-17T06:59:25.261" v="5726" actId="478"/>
          <ac:picMkLst>
            <pc:docMk/>
            <pc:sldMk cId="3806334263" sldId="1143"/>
            <ac:picMk id="18" creationId="{F416459A-B81F-42F5-93DC-6658B8293DF7}"/>
          </ac:picMkLst>
        </pc:picChg>
      </pc:sldChg>
      <pc:sldChg chg="addSp delSp modSp mod">
        <pc:chgData name="Ieva Dzene" userId="36e850b3-6b13-42b6-8b78-9778956e69b6" providerId="ADAL" clId="{2B98E168-295F-4675-91AD-98C27118674C}" dt="2021-08-17T07:01:03.886" v="5742" actId="14100"/>
        <pc:sldMkLst>
          <pc:docMk/>
          <pc:sldMk cId="1617794294" sldId="1158"/>
        </pc:sldMkLst>
        <pc:spChg chg="mod">
          <ac:chgData name="Ieva Dzene" userId="36e850b3-6b13-42b6-8b78-9778956e69b6" providerId="ADAL" clId="{2B98E168-295F-4675-91AD-98C27118674C}" dt="2021-08-17T07:01:03.886" v="5742" actId="14100"/>
          <ac:spMkLst>
            <pc:docMk/>
            <pc:sldMk cId="1617794294" sldId="1158"/>
            <ac:spMk id="19" creationId="{A172A5ED-E21C-43FB-A23D-E7DF85A6020D}"/>
          </ac:spMkLst>
        </pc:spChg>
        <pc:picChg chg="add mod ord">
          <ac:chgData name="Ieva Dzene" userId="36e850b3-6b13-42b6-8b78-9778956e69b6" providerId="ADAL" clId="{2B98E168-295F-4675-91AD-98C27118674C}" dt="2021-08-17T07:00:59.732" v="5741" actId="1076"/>
          <ac:picMkLst>
            <pc:docMk/>
            <pc:sldMk cId="1617794294" sldId="1158"/>
            <ac:picMk id="10" creationId="{E529F6D7-5DC0-4FC7-B0BC-6BB4907360D0}"/>
          </ac:picMkLst>
        </pc:picChg>
        <pc:picChg chg="del">
          <ac:chgData name="Ieva Dzene" userId="36e850b3-6b13-42b6-8b78-9778956e69b6" providerId="ADAL" clId="{2B98E168-295F-4675-91AD-98C27118674C}" dt="2021-08-17T07:00:48.288" v="5737" actId="478"/>
          <ac:picMkLst>
            <pc:docMk/>
            <pc:sldMk cId="1617794294" sldId="1158"/>
            <ac:picMk id="18" creationId="{C4243D68-C10E-4A39-A8DA-EE40A1973E68}"/>
          </ac:picMkLst>
        </pc:picChg>
      </pc:sldChg>
      <pc:sldChg chg="delSp modSp mod">
        <pc:chgData name="Ieva Dzene" userId="36e850b3-6b13-42b6-8b78-9778956e69b6" providerId="ADAL" clId="{2B98E168-295F-4675-91AD-98C27118674C}" dt="2021-08-18T07:53:57.223" v="8715" actId="33524"/>
        <pc:sldMkLst>
          <pc:docMk/>
          <pc:sldMk cId="3013579149" sldId="1181"/>
        </pc:sldMkLst>
        <pc:spChg chg="mod">
          <ac:chgData name="Ieva Dzene" userId="36e850b3-6b13-42b6-8b78-9778956e69b6" providerId="ADAL" clId="{2B98E168-295F-4675-91AD-98C27118674C}" dt="2021-08-18T07:42:05.290" v="8350" actId="1076"/>
          <ac:spMkLst>
            <pc:docMk/>
            <pc:sldMk cId="3013579149" sldId="1181"/>
            <ac:spMk id="4" creationId="{6450B1CF-C743-41D6-BC3D-F088F39AEA5A}"/>
          </ac:spMkLst>
        </pc:spChg>
        <pc:spChg chg="mod">
          <ac:chgData name="Ieva Dzene" userId="36e850b3-6b13-42b6-8b78-9778956e69b6" providerId="ADAL" clId="{2B98E168-295F-4675-91AD-98C27118674C}" dt="2021-08-18T07:42:05.290" v="8350" actId="1076"/>
          <ac:spMkLst>
            <pc:docMk/>
            <pc:sldMk cId="3013579149" sldId="1181"/>
            <ac:spMk id="11" creationId="{68E42465-BC53-47C1-AC13-3910561802D3}"/>
          </ac:spMkLst>
        </pc:spChg>
        <pc:spChg chg="mod">
          <ac:chgData name="Ieva Dzene" userId="36e850b3-6b13-42b6-8b78-9778956e69b6" providerId="ADAL" clId="{2B98E168-295F-4675-91AD-98C27118674C}" dt="2021-08-18T07:42:05.290" v="8350" actId="1076"/>
          <ac:spMkLst>
            <pc:docMk/>
            <pc:sldMk cId="3013579149" sldId="1181"/>
            <ac:spMk id="17" creationId="{6B7811DF-6054-4F16-8131-21FF316F389B}"/>
          </ac:spMkLst>
        </pc:spChg>
        <pc:spChg chg="mod">
          <ac:chgData name="Ieva Dzene" userId="36e850b3-6b13-42b6-8b78-9778956e69b6" providerId="ADAL" clId="{2B98E168-295F-4675-91AD-98C27118674C}" dt="2021-08-18T07:42:05.290" v="8350" actId="1076"/>
          <ac:spMkLst>
            <pc:docMk/>
            <pc:sldMk cId="3013579149" sldId="1181"/>
            <ac:spMk id="19" creationId="{EF920EB4-6BD7-47A9-8387-B05D3681E465}"/>
          </ac:spMkLst>
        </pc:spChg>
        <pc:spChg chg="mod">
          <ac:chgData name="Ieva Dzene" userId="36e850b3-6b13-42b6-8b78-9778956e69b6" providerId="ADAL" clId="{2B98E168-295F-4675-91AD-98C27118674C}" dt="2021-08-18T07:42:05.290" v="8350" actId="1076"/>
          <ac:spMkLst>
            <pc:docMk/>
            <pc:sldMk cId="3013579149" sldId="1181"/>
            <ac:spMk id="23" creationId="{51AC78A7-2264-4F6F-B7EB-0C43B561F3D7}"/>
          </ac:spMkLst>
        </pc:spChg>
        <pc:spChg chg="mod">
          <ac:chgData name="Ieva Dzene" userId="36e850b3-6b13-42b6-8b78-9778956e69b6" providerId="ADAL" clId="{2B98E168-295F-4675-91AD-98C27118674C}" dt="2021-08-18T07:42:05.290" v="8350" actId="1076"/>
          <ac:spMkLst>
            <pc:docMk/>
            <pc:sldMk cId="3013579149" sldId="1181"/>
            <ac:spMk id="25" creationId="{E4E967C3-B20A-4951-B84D-8D137E089400}"/>
          </ac:spMkLst>
        </pc:spChg>
        <pc:spChg chg="mod">
          <ac:chgData name="Ieva Dzene" userId="36e850b3-6b13-42b6-8b78-9778956e69b6" providerId="ADAL" clId="{2B98E168-295F-4675-91AD-98C27118674C}" dt="2021-08-18T07:42:05.290" v="8350" actId="1076"/>
          <ac:spMkLst>
            <pc:docMk/>
            <pc:sldMk cId="3013579149" sldId="1181"/>
            <ac:spMk id="26" creationId="{1F5D4AF2-5E49-43A8-BBDC-BD05C0200041}"/>
          </ac:spMkLst>
        </pc:spChg>
        <pc:spChg chg="mod">
          <ac:chgData name="Ieva Dzene" userId="36e850b3-6b13-42b6-8b78-9778956e69b6" providerId="ADAL" clId="{2B98E168-295F-4675-91AD-98C27118674C}" dt="2021-08-18T07:42:05.290" v="8350" actId="1076"/>
          <ac:spMkLst>
            <pc:docMk/>
            <pc:sldMk cId="3013579149" sldId="1181"/>
            <ac:spMk id="27" creationId="{192E823F-5D46-4836-8A54-04EEC4B82262}"/>
          </ac:spMkLst>
        </pc:spChg>
        <pc:spChg chg="del mod">
          <ac:chgData name="Ieva Dzene" userId="36e850b3-6b13-42b6-8b78-9778956e69b6" providerId="ADAL" clId="{2B98E168-295F-4675-91AD-98C27118674C}" dt="2021-08-18T07:41:50.244" v="8349" actId="478"/>
          <ac:spMkLst>
            <pc:docMk/>
            <pc:sldMk cId="3013579149" sldId="1181"/>
            <ac:spMk id="28" creationId="{D20F1BDD-5A10-4E24-95E2-7E80A147715D}"/>
          </ac:spMkLst>
        </pc:spChg>
        <pc:spChg chg="mod">
          <ac:chgData name="Ieva Dzene" userId="36e850b3-6b13-42b6-8b78-9778956e69b6" providerId="ADAL" clId="{2B98E168-295F-4675-91AD-98C27118674C}" dt="2021-08-18T07:41:46.347" v="8348" actId="20577"/>
          <ac:spMkLst>
            <pc:docMk/>
            <pc:sldMk cId="3013579149" sldId="1181"/>
            <ac:spMk id="30" creationId="{630A8247-0FF7-46A3-B199-B38E03DD1A06}"/>
          </ac:spMkLst>
        </pc:spChg>
        <pc:spChg chg="mod">
          <ac:chgData name="Ieva Dzene" userId="36e850b3-6b13-42b6-8b78-9778956e69b6" providerId="ADAL" clId="{2B98E168-295F-4675-91AD-98C27118674C}" dt="2021-08-18T07:42:05.290" v="8350" actId="1076"/>
          <ac:spMkLst>
            <pc:docMk/>
            <pc:sldMk cId="3013579149" sldId="1181"/>
            <ac:spMk id="31" creationId="{AFAF7424-1720-40BF-9BEC-63D125B52026}"/>
          </ac:spMkLst>
        </pc:spChg>
        <pc:spChg chg="mod">
          <ac:chgData name="Ieva Dzene" userId="36e850b3-6b13-42b6-8b78-9778956e69b6" providerId="ADAL" clId="{2B98E168-295F-4675-91AD-98C27118674C}" dt="2021-08-18T07:53:57.223" v="8715" actId="33524"/>
          <ac:spMkLst>
            <pc:docMk/>
            <pc:sldMk cId="3013579149" sldId="1181"/>
            <ac:spMk id="32" creationId="{410C7DCC-4102-4C2F-BB3E-461753C4F2C9}"/>
          </ac:spMkLst>
        </pc:spChg>
        <pc:spChg chg="mod">
          <ac:chgData name="Ieva Dzene" userId="36e850b3-6b13-42b6-8b78-9778956e69b6" providerId="ADAL" clId="{2B98E168-295F-4675-91AD-98C27118674C}" dt="2021-08-18T07:42:05.290" v="8350" actId="1076"/>
          <ac:spMkLst>
            <pc:docMk/>
            <pc:sldMk cId="3013579149" sldId="1181"/>
            <ac:spMk id="33" creationId="{0C4CD464-EBF1-47EB-B132-0DA85B524DFF}"/>
          </ac:spMkLst>
        </pc:spChg>
        <pc:spChg chg="mod">
          <ac:chgData name="Ieva Dzene" userId="36e850b3-6b13-42b6-8b78-9778956e69b6" providerId="ADAL" clId="{2B98E168-295F-4675-91AD-98C27118674C}" dt="2021-08-18T07:42:05.290" v="8350" actId="1076"/>
          <ac:spMkLst>
            <pc:docMk/>
            <pc:sldMk cId="3013579149" sldId="1181"/>
            <ac:spMk id="34" creationId="{0CE0A93E-69DE-439E-9006-750E23017D8F}"/>
          </ac:spMkLst>
        </pc:spChg>
        <pc:spChg chg="mod">
          <ac:chgData name="Ieva Dzene" userId="36e850b3-6b13-42b6-8b78-9778956e69b6" providerId="ADAL" clId="{2B98E168-295F-4675-91AD-98C27118674C}" dt="2021-08-18T07:42:05.290" v="8350" actId="1076"/>
          <ac:spMkLst>
            <pc:docMk/>
            <pc:sldMk cId="3013579149" sldId="1181"/>
            <ac:spMk id="35" creationId="{38F01A54-13AA-4071-9685-0B2059D30F49}"/>
          </ac:spMkLst>
        </pc:spChg>
        <pc:spChg chg="mod">
          <ac:chgData name="Ieva Dzene" userId="36e850b3-6b13-42b6-8b78-9778956e69b6" providerId="ADAL" clId="{2B98E168-295F-4675-91AD-98C27118674C}" dt="2021-08-18T07:42:05.290" v="8350" actId="1076"/>
          <ac:spMkLst>
            <pc:docMk/>
            <pc:sldMk cId="3013579149" sldId="1181"/>
            <ac:spMk id="40" creationId="{A0AEAC0F-71C5-47A2-A6E7-B32889F02890}"/>
          </ac:spMkLst>
        </pc:spChg>
        <pc:picChg chg="mod">
          <ac:chgData name="Ieva Dzene" userId="36e850b3-6b13-42b6-8b78-9778956e69b6" providerId="ADAL" clId="{2B98E168-295F-4675-91AD-98C27118674C}" dt="2021-08-18T07:42:05.290" v="8350" actId="1076"/>
          <ac:picMkLst>
            <pc:docMk/>
            <pc:sldMk cId="3013579149" sldId="1181"/>
            <ac:picMk id="36" creationId="{D6A695E2-7249-4F19-B373-EC9863C8309F}"/>
          </ac:picMkLst>
        </pc:picChg>
        <pc:picChg chg="mod">
          <ac:chgData name="Ieva Dzene" userId="36e850b3-6b13-42b6-8b78-9778956e69b6" providerId="ADAL" clId="{2B98E168-295F-4675-91AD-98C27118674C}" dt="2021-08-18T07:42:05.290" v="8350" actId="1076"/>
          <ac:picMkLst>
            <pc:docMk/>
            <pc:sldMk cId="3013579149" sldId="1181"/>
            <ac:picMk id="37" creationId="{5203F7EB-5E24-4C84-94C6-9E6BA30B9715}"/>
          </ac:picMkLst>
        </pc:picChg>
        <pc:picChg chg="mod">
          <ac:chgData name="Ieva Dzene" userId="36e850b3-6b13-42b6-8b78-9778956e69b6" providerId="ADAL" clId="{2B98E168-295F-4675-91AD-98C27118674C}" dt="2021-08-18T07:42:05.290" v="8350" actId="1076"/>
          <ac:picMkLst>
            <pc:docMk/>
            <pc:sldMk cId="3013579149" sldId="1181"/>
            <ac:picMk id="38" creationId="{525DB11C-9139-452C-825D-CA6CA35AC039}"/>
          </ac:picMkLst>
        </pc:picChg>
        <pc:picChg chg="mod">
          <ac:chgData name="Ieva Dzene" userId="36e850b3-6b13-42b6-8b78-9778956e69b6" providerId="ADAL" clId="{2B98E168-295F-4675-91AD-98C27118674C}" dt="2021-08-18T07:42:05.290" v="8350" actId="1076"/>
          <ac:picMkLst>
            <pc:docMk/>
            <pc:sldMk cId="3013579149" sldId="1181"/>
            <ac:picMk id="39" creationId="{19C18DA4-49C0-45A3-834A-5459BDD78C50}"/>
          </ac:picMkLst>
        </pc:picChg>
        <pc:picChg chg="mod">
          <ac:chgData name="Ieva Dzene" userId="36e850b3-6b13-42b6-8b78-9778956e69b6" providerId="ADAL" clId="{2B98E168-295F-4675-91AD-98C27118674C}" dt="2021-08-18T07:42:05.290" v="8350" actId="1076"/>
          <ac:picMkLst>
            <pc:docMk/>
            <pc:sldMk cId="3013579149" sldId="1181"/>
            <ac:picMk id="42" creationId="{24306292-4E01-41F1-84BD-01E0A4D7BCC2}"/>
          </ac:picMkLst>
        </pc:picChg>
        <pc:picChg chg="mod">
          <ac:chgData name="Ieva Dzene" userId="36e850b3-6b13-42b6-8b78-9778956e69b6" providerId="ADAL" clId="{2B98E168-295F-4675-91AD-98C27118674C}" dt="2021-08-18T07:42:05.290" v="8350" actId="1076"/>
          <ac:picMkLst>
            <pc:docMk/>
            <pc:sldMk cId="3013579149" sldId="1181"/>
            <ac:picMk id="43" creationId="{4C62C20E-F94C-4642-B7FD-610D030F6C5C}"/>
          </ac:picMkLst>
        </pc:picChg>
      </pc:sldChg>
      <pc:sldChg chg="addSp delSp modSp mod">
        <pc:chgData name="Ieva Dzene" userId="36e850b3-6b13-42b6-8b78-9778956e69b6" providerId="ADAL" clId="{2B98E168-295F-4675-91AD-98C27118674C}" dt="2021-08-18T07:54:43.914" v="8734" actId="20577"/>
        <pc:sldMkLst>
          <pc:docMk/>
          <pc:sldMk cId="1371926318" sldId="1182"/>
        </pc:sldMkLst>
        <pc:spChg chg="mod">
          <ac:chgData name="Ieva Dzene" userId="36e850b3-6b13-42b6-8b78-9778956e69b6" providerId="ADAL" clId="{2B98E168-295F-4675-91AD-98C27118674C}" dt="2021-08-18T07:42:41.197" v="8362" actId="1076"/>
          <ac:spMkLst>
            <pc:docMk/>
            <pc:sldMk cId="1371926318" sldId="1182"/>
            <ac:spMk id="19" creationId="{EF920EB4-6BD7-47A9-8387-B05D3681E465}"/>
          </ac:spMkLst>
        </pc:spChg>
        <pc:spChg chg="mod">
          <ac:chgData name="Ieva Dzene" userId="36e850b3-6b13-42b6-8b78-9778956e69b6" providerId="ADAL" clId="{2B98E168-295F-4675-91AD-98C27118674C}" dt="2021-08-18T07:54:43.914" v="8734" actId="20577"/>
          <ac:spMkLst>
            <pc:docMk/>
            <pc:sldMk cId="1371926318" sldId="1182"/>
            <ac:spMk id="25" creationId="{1FE475C9-0495-4CE6-8C1A-0B26AE14F282}"/>
          </ac:spMkLst>
        </pc:spChg>
        <pc:spChg chg="add del mod">
          <ac:chgData name="Ieva Dzene" userId="36e850b3-6b13-42b6-8b78-9778956e69b6" providerId="ADAL" clId="{2B98E168-295F-4675-91AD-98C27118674C}" dt="2021-08-18T07:42:28.808" v="8361" actId="478"/>
          <ac:spMkLst>
            <pc:docMk/>
            <pc:sldMk cId="1371926318" sldId="1182"/>
            <ac:spMk id="26" creationId="{3C0CBE11-D696-4940-B0A1-E69B26917BD2}"/>
          </ac:spMkLst>
        </pc:spChg>
        <pc:spChg chg="mod">
          <ac:chgData name="Ieva Dzene" userId="36e850b3-6b13-42b6-8b78-9778956e69b6" providerId="ADAL" clId="{2B98E168-295F-4675-91AD-98C27118674C}" dt="2021-08-18T07:42:15.076" v="8356" actId="20577"/>
          <ac:spMkLst>
            <pc:docMk/>
            <pc:sldMk cId="1371926318" sldId="1182"/>
            <ac:spMk id="27" creationId="{11534EAF-E35C-463A-A837-4564393837BF}"/>
          </ac:spMkLst>
        </pc:spChg>
        <pc:spChg chg="mod">
          <ac:chgData name="Ieva Dzene" userId="36e850b3-6b13-42b6-8b78-9778956e69b6" providerId="ADAL" clId="{2B98E168-295F-4675-91AD-98C27118674C}" dt="2021-08-18T07:42:41.197" v="8362" actId="1076"/>
          <ac:spMkLst>
            <pc:docMk/>
            <pc:sldMk cId="1371926318" sldId="1182"/>
            <ac:spMk id="28" creationId="{B11A716A-5C22-4570-9738-116A5BDA25CA}"/>
          </ac:spMkLst>
        </pc:spChg>
        <pc:spChg chg="mod">
          <ac:chgData name="Ieva Dzene" userId="36e850b3-6b13-42b6-8b78-9778956e69b6" providerId="ADAL" clId="{2B98E168-295F-4675-91AD-98C27118674C}" dt="2021-08-18T07:42:41.197" v="8362" actId="1076"/>
          <ac:spMkLst>
            <pc:docMk/>
            <pc:sldMk cId="1371926318" sldId="1182"/>
            <ac:spMk id="32" creationId="{FEEBDE53-D317-49C3-9F84-A5F099EE3B25}"/>
          </ac:spMkLst>
        </pc:spChg>
        <pc:spChg chg="mod">
          <ac:chgData name="Ieva Dzene" userId="36e850b3-6b13-42b6-8b78-9778956e69b6" providerId="ADAL" clId="{2B98E168-295F-4675-91AD-98C27118674C}" dt="2021-08-18T07:42:41.197" v="8362" actId="1076"/>
          <ac:spMkLst>
            <pc:docMk/>
            <pc:sldMk cId="1371926318" sldId="1182"/>
            <ac:spMk id="33" creationId="{0C4CD464-EBF1-47EB-B132-0DA85B524DFF}"/>
          </ac:spMkLst>
        </pc:spChg>
        <pc:spChg chg="mod">
          <ac:chgData name="Ieva Dzene" userId="36e850b3-6b13-42b6-8b78-9778956e69b6" providerId="ADAL" clId="{2B98E168-295F-4675-91AD-98C27118674C}" dt="2021-08-18T07:42:41.197" v="8362" actId="1076"/>
          <ac:spMkLst>
            <pc:docMk/>
            <pc:sldMk cId="1371926318" sldId="1182"/>
            <ac:spMk id="36" creationId="{1A2FB62A-EE76-45C6-8DF9-0555A8FC7F8A}"/>
          </ac:spMkLst>
        </pc:spChg>
        <pc:spChg chg="mod">
          <ac:chgData name="Ieva Dzene" userId="36e850b3-6b13-42b6-8b78-9778956e69b6" providerId="ADAL" clId="{2B98E168-295F-4675-91AD-98C27118674C}" dt="2021-08-18T07:42:41.197" v="8362" actId="1076"/>
          <ac:spMkLst>
            <pc:docMk/>
            <pc:sldMk cId="1371926318" sldId="1182"/>
            <ac:spMk id="38" creationId="{10C0E066-DC46-44E0-9477-A9C4848F4021}"/>
          </ac:spMkLst>
        </pc:spChg>
        <pc:spChg chg="mod">
          <ac:chgData name="Ieva Dzene" userId="36e850b3-6b13-42b6-8b78-9778956e69b6" providerId="ADAL" clId="{2B98E168-295F-4675-91AD-98C27118674C}" dt="2021-08-18T07:42:41.197" v="8362" actId="1076"/>
          <ac:spMkLst>
            <pc:docMk/>
            <pc:sldMk cId="1371926318" sldId="1182"/>
            <ac:spMk id="42" creationId="{9CA2E164-4C39-4C47-9795-C41788EA9B2C}"/>
          </ac:spMkLst>
        </pc:spChg>
        <pc:spChg chg="mod">
          <ac:chgData name="Ieva Dzene" userId="36e850b3-6b13-42b6-8b78-9778956e69b6" providerId="ADAL" clId="{2B98E168-295F-4675-91AD-98C27118674C}" dt="2021-08-18T07:42:41.197" v="8362" actId="1076"/>
          <ac:spMkLst>
            <pc:docMk/>
            <pc:sldMk cId="1371926318" sldId="1182"/>
            <ac:spMk id="43" creationId="{08ACE9D4-BAFD-4C76-9A63-F5EF19721751}"/>
          </ac:spMkLst>
        </pc:spChg>
        <pc:spChg chg="mod">
          <ac:chgData name="Ieva Dzene" userId="36e850b3-6b13-42b6-8b78-9778956e69b6" providerId="ADAL" clId="{2B98E168-295F-4675-91AD-98C27118674C}" dt="2021-08-18T07:42:41.197" v="8362" actId="1076"/>
          <ac:spMkLst>
            <pc:docMk/>
            <pc:sldMk cId="1371926318" sldId="1182"/>
            <ac:spMk id="44" creationId="{62DF2E9F-6BCD-4F4E-9CDC-5966DB9397E8}"/>
          </ac:spMkLst>
        </pc:spChg>
        <pc:spChg chg="mod">
          <ac:chgData name="Ieva Dzene" userId="36e850b3-6b13-42b6-8b78-9778956e69b6" providerId="ADAL" clId="{2B98E168-295F-4675-91AD-98C27118674C}" dt="2021-08-18T07:42:41.197" v="8362" actId="1076"/>
          <ac:spMkLst>
            <pc:docMk/>
            <pc:sldMk cId="1371926318" sldId="1182"/>
            <ac:spMk id="45" creationId="{B6AAC62B-CABA-4828-B8BF-01431BD71D5C}"/>
          </ac:spMkLst>
        </pc:spChg>
        <pc:spChg chg="mod">
          <ac:chgData name="Ieva Dzene" userId="36e850b3-6b13-42b6-8b78-9778956e69b6" providerId="ADAL" clId="{2B98E168-295F-4675-91AD-98C27118674C}" dt="2021-08-18T07:42:41.197" v="8362" actId="1076"/>
          <ac:spMkLst>
            <pc:docMk/>
            <pc:sldMk cId="1371926318" sldId="1182"/>
            <ac:spMk id="46" creationId="{42B88B15-163F-426F-892F-81E50C705A69}"/>
          </ac:spMkLst>
        </pc:spChg>
        <pc:picChg chg="mod">
          <ac:chgData name="Ieva Dzene" userId="36e850b3-6b13-42b6-8b78-9778956e69b6" providerId="ADAL" clId="{2B98E168-295F-4675-91AD-98C27118674C}" dt="2021-08-18T07:42:41.197" v="8362" actId="1076"/>
          <ac:picMkLst>
            <pc:docMk/>
            <pc:sldMk cId="1371926318" sldId="1182"/>
            <ac:picMk id="7" creationId="{49CAE2EA-CB09-4AD9-B6D4-89F23A91304A}"/>
          </ac:picMkLst>
        </pc:picChg>
        <pc:picChg chg="mod">
          <ac:chgData name="Ieva Dzene" userId="36e850b3-6b13-42b6-8b78-9778956e69b6" providerId="ADAL" clId="{2B98E168-295F-4675-91AD-98C27118674C}" dt="2021-08-18T07:42:41.197" v="8362" actId="1076"/>
          <ac:picMkLst>
            <pc:docMk/>
            <pc:sldMk cId="1371926318" sldId="1182"/>
            <ac:picMk id="11" creationId="{6116D3A4-4F09-4403-A6D0-78A6B38C4A93}"/>
          </ac:picMkLst>
        </pc:picChg>
        <pc:picChg chg="mod">
          <ac:chgData name="Ieva Dzene" userId="36e850b3-6b13-42b6-8b78-9778956e69b6" providerId="ADAL" clId="{2B98E168-295F-4675-91AD-98C27118674C}" dt="2021-08-18T07:42:41.197" v="8362" actId="1076"/>
          <ac:picMkLst>
            <pc:docMk/>
            <pc:sldMk cId="1371926318" sldId="1182"/>
            <ac:picMk id="22" creationId="{5E7176CD-E861-4299-95A0-F34E4BB4CA57}"/>
          </ac:picMkLst>
        </pc:picChg>
        <pc:picChg chg="mod">
          <ac:chgData name="Ieva Dzene" userId="36e850b3-6b13-42b6-8b78-9778956e69b6" providerId="ADAL" clId="{2B98E168-295F-4675-91AD-98C27118674C}" dt="2021-08-18T07:42:41.197" v="8362" actId="1076"/>
          <ac:picMkLst>
            <pc:docMk/>
            <pc:sldMk cId="1371926318" sldId="1182"/>
            <ac:picMk id="23" creationId="{1F87DDD7-F399-492C-8A25-BDBC3F5A93AC}"/>
          </ac:picMkLst>
        </pc:picChg>
        <pc:picChg chg="mod">
          <ac:chgData name="Ieva Dzene" userId="36e850b3-6b13-42b6-8b78-9778956e69b6" providerId="ADAL" clId="{2B98E168-295F-4675-91AD-98C27118674C}" dt="2021-08-18T07:42:41.197" v="8362" actId="1076"/>
          <ac:picMkLst>
            <pc:docMk/>
            <pc:sldMk cId="1371926318" sldId="1182"/>
            <ac:picMk id="24" creationId="{86D9454C-2DA3-4E4F-9298-E712FFFBD632}"/>
          </ac:picMkLst>
        </pc:picChg>
        <pc:picChg chg="mod">
          <ac:chgData name="Ieva Dzene" userId="36e850b3-6b13-42b6-8b78-9778956e69b6" providerId="ADAL" clId="{2B98E168-295F-4675-91AD-98C27118674C}" dt="2021-08-18T07:42:41.197" v="8362" actId="1076"/>
          <ac:picMkLst>
            <pc:docMk/>
            <pc:sldMk cId="1371926318" sldId="1182"/>
            <ac:picMk id="39" creationId="{3BCC4019-681F-467D-B8AA-80D1630BA292}"/>
          </ac:picMkLst>
        </pc:picChg>
      </pc:sldChg>
      <pc:sldChg chg="addSp delSp modSp mod">
        <pc:chgData name="Ieva Dzene" userId="36e850b3-6b13-42b6-8b78-9778956e69b6" providerId="ADAL" clId="{2B98E168-295F-4675-91AD-98C27118674C}" dt="2021-08-09T07:17:25.356" v="221" actId="1076"/>
        <pc:sldMkLst>
          <pc:docMk/>
          <pc:sldMk cId="3626055260" sldId="1200"/>
        </pc:sldMkLst>
        <pc:picChg chg="del">
          <ac:chgData name="Ieva Dzene" userId="36e850b3-6b13-42b6-8b78-9778956e69b6" providerId="ADAL" clId="{2B98E168-295F-4675-91AD-98C27118674C}" dt="2021-08-06T15:49:19.250" v="15" actId="478"/>
          <ac:picMkLst>
            <pc:docMk/>
            <pc:sldMk cId="3626055260" sldId="1200"/>
            <ac:picMk id="4" creationId="{AB622CDD-BC81-4B8D-A862-55F48F8C8241}"/>
          </ac:picMkLst>
        </pc:picChg>
        <pc:picChg chg="add mod">
          <ac:chgData name="Ieva Dzene" userId="36e850b3-6b13-42b6-8b78-9778956e69b6" providerId="ADAL" clId="{2B98E168-295F-4675-91AD-98C27118674C}" dt="2021-08-09T07:17:25.356" v="221" actId="1076"/>
          <ac:picMkLst>
            <pc:docMk/>
            <pc:sldMk cId="3626055260" sldId="1200"/>
            <ac:picMk id="5" creationId="{714D2C33-B3D0-487F-A5D6-D76884BE76B8}"/>
          </ac:picMkLst>
        </pc:picChg>
      </pc:sldChg>
      <pc:sldChg chg="addSp delSp modSp mod">
        <pc:chgData name="Ieva Dzene" userId="36e850b3-6b13-42b6-8b78-9778956e69b6" providerId="ADAL" clId="{2B98E168-295F-4675-91AD-98C27118674C}" dt="2021-08-09T07:17:30.035" v="222" actId="1076"/>
        <pc:sldMkLst>
          <pc:docMk/>
          <pc:sldMk cId="2851628216" sldId="1201"/>
        </pc:sldMkLst>
        <pc:picChg chg="add mod">
          <ac:chgData name="Ieva Dzene" userId="36e850b3-6b13-42b6-8b78-9778956e69b6" providerId="ADAL" clId="{2B98E168-295F-4675-91AD-98C27118674C}" dt="2021-08-09T07:17:30.035" v="222" actId="1076"/>
          <ac:picMkLst>
            <pc:docMk/>
            <pc:sldMk cId="2851628216" sldId="1201"/>
            <ac:picMk id="4" creationId="{A648CE9E-3B0F-43F7-A74A-98095E7ACA3C}"/>
          </ac:picMkLst>
        </pc:picChg>
        <pc:picChg chg="del">
          <ac:chgData name="Ieva Dzene" userId="36e850b3-6b13-42b6-8b78-9778956e69b6" providerId="ADAL" clId="{2B98E168-295F-4675-91AD-98C27118674C}" dt="2021-08-06T15:48:39.361" v="12" actId="478"/>
          <ac:picMkLst>
            <pc:docMk/>
            <pc:sldMk cId="2851628216" sldId="1201"/>
            <ac:picMk id="5" creationId="{85A38E9E-B011-4550-8368-B3263EF4A52B}"/>
          </ac:picMkLst>
        </pc:picChg>
        <pc:picChg chg="add del mod modCrop">
          <ac:chgData name="Ieva Dzene" userId="36e850b3-6b13-42b6-8b78-9778956e69b6" providerId="ADAL" clId="{2B98E168-295F-4675-91AD-98C27118674C}" dt="2021-08-06T15:48:24.519" v="8" actId="478"/>
          <ac:picMkLst>
            <pc:docMk/>
            <pc:sldMk cId="2851628216" sldId="1201"/>
            <ac:picMk id="8" creationId="{4569128E-A73F-4B9D-A537-249C9444A420}"/>
          </ac:picMkLst>
        </pc:picChg>
      </pc:sldChg>
      <pc:sldChg chg="modSp mod">
        <pc:chgData name="Ieva Dzene" userId="36e850b3-6b13-42b6-8b78-9778956e69b6" providerId="ADAL" clId="{2B98E168-295F-4675-91AD-98C27118674C}" dt="2021-08-06T15:51:54.937" v="75" actId="20577"/>
        <pc:sldMkLst>
          <pc:docMk/>
          <pc:sldMk cId="3770443279" sldId="1202"/>
        </pc:sldMkLst>
        <pc:spChg chg="mod">
          <ac:chgData name="Ieva Dzene" userId="36e850b3-6b13-42b6-8b78-9778956e69b6" providerId="ADAL" clId="{2B98E168-295F-4675-91AD-98C27118674C}" dt="2021-08-06T15:51:54.937" v="75" actId="20577"/>
          <ac:spMkLst>
            <pc:docMk/>
            <pc:sldMk cId="3770443279" sldId="1202"/>
            <ac:spMk id="30" creationId="{2E3BCBA8-CEF6-459B-B4AB-074516A6038D}"/>
          </ac:spMkLst>
        </pc:spChg>
      </pc:sldChg>
      <pc:sldChg chg="modSp mod addCm modCm">
        <pc:chgData name="Ieva Dzene" userId="36e850b3-6b13-42b6-8b78-9778956e69b6" providerId="ADAL" clId="{2B98E168-295F-4675-91AD-98C27118674C}" dt="2021-08-17T12:39:54.086" v="7058"/>
        <pc:sldMkLst>
          <pc:docMk/>
          <pc:sldMk cId="652136626" sldId="1205"/>
        </pc:sldMkLst>
        <pc:spChg chg="mod">
          <ac:chgData name="Ieva Dzene" userId="36e850b3-6b13-42b6-8b78-9778956e69b6" providerId="ADAL" clId="{2B98E168-295F-4675-91AD-98C27118674C}" dt="2021-08-09T07:19:07.123" v="228" actId="1076"/>
          <ac:spMkLst>
            <pc:docMk/>
            <pc:sldMk cId="652136626" sldId="1205"/>
            <ac:spMk id="18" creationId="{5F4DD23D-E46E-4F69-B2E6-02003EE12204}"/>
          </ac:spMkLst>
        </pc:spChg>
      </pc:sldChg>
      <pc:sldChg chg="modSp mod addCm modCm">
        <pc:chgData name="Ieva Dzene" userId="36e850b3-6b13-42b6-8b78-9778956e69b6" providerId="ADAL" clId="{2B98E168-295F-4675-91AD-98C27118674C}" dt="2021-08-17T12:39:33.335" v="7056" actId="5900"/>
        <pc:sldMkLst>
          <pc:docMk/>
          <pc:sldMk cId="3718224806" sldId="1206"/>
        </pc:sldMkLst>
        <pc:spChg chg="mod">
          <ac:chgData name="Ieva Dzene" userId="36e850b3-6b13-42b6-8b78-9778956e69b6" providerId="ADAL" clId="{2B98E168-295F-4675-91AD-98C27118674C}" dt="2021-08-09T07:19:00.744" v="227" actId="14100"/>
          <ac:spMkLst>
            <pc:docMk/>
            <pc:sldMk cId="3718224806" sldId="1206"/>
            <ac:spMk id="11" creationId="{FBEDA0A3-89EE-4694-B73A-8DA13E164161}"/>
          </ac:spMkLst>
        </pc:spChg>
      </pc:sldChg>
      <pc:sldChg chg="addSp delSp modSp mod">
        <pc:chgData name="Ieva Dzene" userId="36e850b3-6b13-42b6-8b78-9778956e69b6" providerId="ADAL" clId="{2B98E168-295F-4675-91AD-98C27118674C}" dt="2021-08-17T06:39:25.642" v="5667" actId="20577"/>
        <pc:sldMkLst>
          <pc:docMk/>
          <pc:sldMk cId="2990732986" sldId="1208"/>
        </pc:sldMkLst>
        <pc:spChg chg="mod">
          <ac:chgData name="Ieva Dzene" userId="36e850b3-6b13-42b6-8b78-9778956e69b6" providerId="ADAL" clId="{2B98E168-295F-4675-91AD-98C27118674C}" dt="2021-08-17T06:39:25.642" v="5667" actId="20577"/>
          <ac:spMkLst>
            <pc:docMk/>
            <pc:sldMk cId="2990732986" sldId="1208"/>
            <ac:spMk id="11" creationId="{842666D5-F9FD-45B9-B0DA-684D69D9C6C0}"/>
          </ac:spMkLst>
        </pc:spChg>
        <pc:spChg chg="mod">
          <ac:chgData name="Ieva Dzene" userId="36e850b3-6b13-42b6-8b78-9778956e69b6" providerId="ADAL" clId="{2B98E168-295F-4675-91AD-98C27118674C}" dt="2021-08-17T06:38:34.737" v="5659" actId="1076"/>
          <ac:spMkLst>
            <pc:docMk/>
            <pc:sldMk cId="2990732986" sldId="1208"/>
            <ac:spMk id="16" creationId="{F0E71A77-9C0C-47B8-9CB7-038DB3AD17C3}"/>
          </ac:spMkLst>
        </pc:spChg>
        <pc:spChg chg="mod">
          <ac:chgData name="Ieva Dzene" userId="36e850b3-6b13-42b6-8b78-9778956e69b6" providerId="ADAL" clId="{2B98E168-295F-4675-91AD-98C27118674C}" dt="2021-08-17T06:38:59.227" v="5660" actId="1076"/>
          <ac:spMkLst>
            <pc:docMk/>
            <pc:sldMk cId="2990732986" sldId="1208"/>
            <ac:spMk id="18" creationId="{52A66CA6-756A-4387-9A39-786E8CE04ADD}"/>
          </ac:spMkLst>
        </pc:spChg>
        <pc:spChg chg="mod">
          <ac:chgData name="Ieva Dzene" userId="36e850b3-6b13-42b6-8b78-9778956e69b6" providerId="ADAL" clId="{2B98E168-295F-4675-91AD-98C27118674C}" dt="2021-08-17T06:38:59.227" v="5660" actId="1076"/>
          <ac:spMkLst>
            <pc:docMk/>
            <pc:sldMk cId="2990732986" sldId="1208"/>
            <ac:spMk id="19" creationId="{BF83BB1A-1DB6-407D-98A5-C4E43B96FB8B}"/>
          </ac:spMkLst>
        </pc:spChg>
        <pc:picChg chg="add mod ord">
          <ac:chgData name="Ieva Dzene" userId="36e850b3-6b13-42b6-8b78-9778956e69b6" providerId="ADAL" clId="{2B98E168-295F-4675-91AD-98C27118674C}" dt="2021-08-17T06:38:59.227" v="5660" actId="1076"/>
          <ac:picMkLst>
            <pc:docMk/>
            <pc:sldMk cId="2990732986" sldId="1208"/>
            <ac:picMk id="4" creationId="{FB81C854-4F3A-434B-A2EF-F3CC4D3A898D}"/>
          </ac:picMkLst>
        </pc:picChg>
        <pc:picChg chg="del mod">
          <ac:chgData name="Ieva Dzene" userId="36e850b3-6b13-42b6-8b78-9778956e69b6" providerId="ADAL" clId="{2B98E168-295F-4675-91AD-98C27118674C}" dt="2021-08-17T06:37:06.791" v="5643" actId="478"/>
          <ac:picMkLst>
            <pc:docMk/>
            <pc:sldMk cId="2990732986" sldId="1208"/>
            <ac:picMk id="22" creationId="{0AF70C44-F1F1-4BD9-AEDB-31E55D42C894}"/>
          </ac:picMkLst>
        </pc:picChg>
      </pc:sldChg>
      <pc:sldChg chg="modSp mod">
        <pc:chgData name="Ieva Dzene" userId="36e850b3-6b13-42b6-8b78-9778956e69b6" providerId="ADAL" clId="{2B98E168-295F-4675-91AD-98C27118674C}" dt="2021-08-17T06:38:08.890" v="5656" actId="1076"/>
        <pc:sldMkLst>
          <pc:docMk/>
          <pc:sldMk cId="2524487702" sldId="1209"/>
        </pc:sldMkLst>
        <pc:spChg chg="mod">
          <ac:chgData name="Ieva Dzene" userId="36e850b3-6b13-42b6-8b78-9778956e69b6" providerId="ADAL" clId="{2B98E168-295F-4675-91AD-98C27118674C}" dt="2021-08-09T07:20:47.192" v="231" actId="1076"/>
          <ac:spMkLst>
            <pc:docMk/>
            <pc:sldMk cId="2524487702" sldId="1209"/>
            <ac:spMk id="10" creationId="{7C855309-393E-464D-B10F-23377A323B8B}"/>
          </ac:spMkLst>
        </pc:spChg>
        <pc:grpChg chg="mod">
          <ac:chgData name="Ieva Dzene" userId="36e850b3-6b13-42b6-8b78-9778956e69b6" providerId="ADAL" clId="{2B98E168-295F-4675-91AD-98C27118674C}" dt="2021-08-09T07:20:44.211" v="230" actId="1076"/>
          <ac:grpSpMkLst>
            <pc:docMk/>
            <pc:sldMk cId="2524487702" sldId="1209"/>
            <ac:grpSpMk id="2" creationId="{97837B25-0038-4AE2-9B71-431575F723EA}"/>
          </ac:grpSpMkLst>
        </pc:grpChg>
        <pc:picChg chg="mod">
          <ac:chgData name="Ieva Dzene" userId="36e850b3-6b13-42b6-8b78-9778956e69b6" providerId="ADAL" clId="{2B98E168-295F-4675-91AD-98C27118674C}" dt="2021-08-17T06:38:08.890" v="5656" actId="1076"/>
          <ac:picMkLst>
            <pc:docMk/>
            <pc:sldMk cId="2524487702" sldId="1209"/>
            <ac:picMk id="4" creationId="{8752345F-A720-4387-9120-174218BACDE9}"/>
          </ac:picMkLst>
        </pc:picChg>
      </pc:sldChg>
      <pc:sldChg chg="addSp delSp modSp mod">
        <pc:chgData name="Ieva Dzene" userId="36e850b3-6b13-42b6-8b78-9778956e69b6" providerId="ADAL" clId="{2B98E168-295F-4675-91AD-98C27118674C}" dt="2021-08-17T07:00:25.913" v="5736" actId="1076"/>
        <pc:sldMkLst>
          <pc:docMk/>
          <pc:sldMk cId="2492622638" sldId="1235"/>
        </pc:sldMkLst>
        <pc:spChg chg="mod">
          <ac:chgData name="Ieva Dzene" userId="36e850b3-6b13-42b6-8b78-9778956e69b6" providerId="ADAL" clId="{2B98E168-295F-4675-91AD-98C27118674C}" dt="2021-08-17T06:55:23.916" v="5702" actId="1076"/>
          <ac:spMkLst>
            <pc:docMk/>
            <pc:sldMk cId="2492622638" sldId="1235"/>
            <ac:spMk id="10" creationId="{EF9BA075-5A30-4EE0-A703-2233EEDFCD55}"/>
          </ac:spMkLst>
        </pc:spChg>
        <pc:spChg chg="add mod">
          <ac:chgData name="Ieva Dzene" userId="36e850b3-6b13-42b6-8b78-9778956e69b6" providerId="ADAL" clId="{2B98E168-295F-4675-91AD-98C27118674C}" dt="2021-08-17T07:00:25.913" v="5736" actId="1076"/>
          <ac:spMkLst>
            <pc:docMk/>
            <pc:sldMk cId="2492622638" sldId="1235"/>
            <ac:spMk id="14" creationId="{4D9B23B9-CDC3-4FDB-B0DF-856A93195D5F}"/>
          </ac:spMkLst>
        </pc:spChg>
        <pc:spChg chg="mod">
          <ac:chgData name="Ieva Dzene" userId="36e850b3-6b13-42b6-8b78-9778956e69b6" providerId="ADAL" clId="{2B98E168-295F-4675-91AD-98C27118674C}" dt="2021-08-17T06:55:20.767" v="5701" actId="14100"/>
          <ac:spMkLst>
            <pc:docMk/>
            <pc:sldMk cId="2492622638" sldId="1235"/>
            <ac:spMk id="24" creationId="{64CE230C-2929-449A-A9BE-88AA9755CDBA}"/>
          </ac:spMkLst>
        </pc:spChg>
        <pc:grpChg chg="del">
          <ac:chgData name="Ieva Dzene" userId="36e850b3-6b13-42b6-8b78-9778956e69b6" providerId="ADAL" clId="{2B98E168-295F-4675-91AD-98C27118674C}" dt="2021-08-17T07:00:08.319" v="5732" actId="478"/>
          <ac:grpSpMkLst>
            <pc:docMk/>
            <pc:sldMk cId="2492622638" sldId="1235"/>
            <ac:grpSpMk id="2" creationId="{F4E8971B-F310-454B-9C7E-224FEC772D90}"/>
          </ac:grpSpMkLst>
        </pc:grpChg>
        <pc:picChg chg="del">
          <ac:chgData name="Ieva Dzene" userId="36e850b3-6b13-42b6-8b78-9778956e69b6" providerId="ADAL" clId="{2B98E168-295F-4675-91AD-98C27118674C}" dt="2021-08-17T06:54:25.641" v="5690" actId="478"/>
          <ac:picMkLst>
            <pc:docMk/>
            <pc:sldMk cId="2492622638" sldId="1235"/>
            <ac:picMk id="5" creationId="{A3F0014F-CB50-4E9E-B018-48EDD4F6F66D}"/>
          </ac:picMkLst>
        </pc:picChg>
        <pc:picChg chg="add mod ord">
          <ac:chgData name="Ieva Dzene" userId="36e850b3-6b13-42b6-8b78-9778956e69b6" providerId="ADAL" clId="{2B98E168-295F-4675-91AD-98C27118674C}" dt="2021-08-17T06:55:05.287" v="5699" actId="108"/>
          <ac:picMkLst>
            <pc:docMk/>
            <pc:sldMk cId="2492622638" sldId="1235"/>
            <ac:picMk id="6" creationId="{1B89E18D-C933-4612-A744-BBD749A7479F}"/>
          </ac:picMkLst>
        </pc:picChg>
        <pc:picChg chg="add mod">
          <ac:chgData name="Ieva Dzene" userId="36e850b3-6b13-42b6-8b78-9778956e69b6" providerId="ADAL" clId="{2B98E168-295F-4675-91AD-98C27118674C}" dt="2021-08-17T07:00:12.292" v="5734" actId="1076"/>
          <ac:picMkLst>
            <pc:docMk/>
            <pc:sldMk cId="2492622638" sldId="1235"/>
            <ac:picMk id="13" creationId="{B130A448-2FA1-4239-9682-5D7E6EA6BC82}"/>
          </ac:picMkLst>
        </pc:picChg>
      </pc:sldChg>
      <pc:sldChg chg="modSp mod">
        <pc:chgData name="Ieva Dzene" userId="36e850b3-6b13-42b6-8b78-9778956e69b6" providerId="ADAL" clId="{2B98E168-295F-4675-91AD-98C27118674C}" dt="2021-08-17T07:02:02.865" v="5747" actId="14100"/>
        <pc:sldMkLst>
          <pc:docMk/>
          <pc:sldMk cId="718142970" sldId="1241"/>
        </pc:sldMkLst>
        <pc:spChg chg="mod">
          <ac:chgData name="Ieva Dzene" userId="36e850b3-6b13-42b6-8b78-9778956e69b6" providerId="ADAL" clId="{2B98E168-295F-4675-91AD-98C27118674C}" dt="2021-08-17T07:02:02.865" v="5747" actId="14100"/>
          <ac:spMkLst>
            <pc:docMk/>
            <pc:sldMk cId="718142970" sldId="1241"/>
            <ac:spMk id="19" creationId="{F252C76E-0619-4517-9166-0391EC0513AB}"/>
          </ac:spMkLst>
        </pc:spChg>
        <pc:grpChg chg="mod">
          <ac:chgData name="Ieva Dzene" userId="36e850b3-6b13-42b6-8b78-9778956e69b6" providerId="ADAL" clId="{2B98E168-295F-4675-91AD-98C27118674C}" dt="2021-08-17T07:01:49.044" v="5744" actId="1076"/>
          <ac:grpSpMkLst>
            <pc:docMk/>
            <pc:sldMk cId="718142970" sldId="1241"/>
            <ac:grpSpMk id="6" creationId="{8C4089DD-92EC-4596-98C9-B5D508123DCA}"/>
          </ac:grpSpMkLst>
        </pc:grpChg>
        <pc:picChg chg="mod">
          <ac:chgData name="Ieva Dzene" userId="36e850b3-6b13-42b6-8b78-9778956e69b6" providerId="ADAL" clId="{2B98E168-295F-4675-91AD-98C27118674C}" dt="2021-08-17T07:01:45.170" v="5743" actId="1076"/>
          <ac:picMkLst>
            <pc:docMk/>
            <pc:sldMk cId="718142970" sldId="1241"/>
            <ac:picMk id="5" creationId="{6414ED29-8B96-4DA0-93ED-D2167F258C9D}"/>
          </ac:picMkLst>
        </pc:picChg>
      </pc:sldChg>
      <pc:sldChg chg="addSp delSp modSp mod">
        <pc:chgData name="Ieva Dzene" userId="36e850b3-6b13-42b6-8b78-9778956e69b6" providerId="ADAL" clId="{2B98E168-295F-4675-91AD-98C27118674C}" dt="2021-08-17T07:03:52.187" v="5770" actId="14100"/>
        <pc:sldMkLst>
          <pc:docMk/>
          <pc:sldMk cId="3675731293" sldId="1244"/>
        </pc:sldMkLst>
        <pc:spChg chg="mod">
          <ac:chgData name="Ieva Dzene" userId="36e850b3-6b13-42b6-8b78-9778956e69b6" providerId="ADAL" clId="{2B98E168-295F-4675-91AD-98C27118674C}" dt="2021-08-17T07:03:31.128" v="5763" actId="14100"/>
          <ac:spMkLst>
            <pc:docMk/>
            <pc:sldMk cId="3675731293" sldId="1244"/>
            <ac:spMk id="19" creationId="{7130449C-0A07-4C6E-BCC2-BD50AB1CF34F}"/>
          </ac:spMkLst>
        </pc:spChg>
        <pc:spChg chg="mod">
          <ac:chgData name="Ieva Dzene" userId="36e850b3-6b13-42b6-8b78-9778956e69b6" providerId="ADAL" clId="{2B98E168-295F-4675-91AD-98C27118674C}" dt="2021-08-17T07:03:52.187" v="5770" actId="14100"/>
          <ac:spMkLst>
            <pc:docMk/>
            <pc:sldMk cId="3675731293" sldId="1244"/>
            <ac:spMk id="21" creationId="{84415443-1B98-43A1-81D0-7D105AFB28E8}"/>
          </ac:spMkLst>
        </pc:spChg>
        <pc:picChg chg="add mod ord">
          <ac:chgData name="Ieva Dzene" userId="36e850b3-6b13-42b6-8b78-9778956e69b6" providerId="ADAL" clId="{2B98E168-295F-4675-91AD-98C27118674C}" dt="2021-08-17T07:03:27.539" v="5762" actId="1076"/>
          <ac:picMkLst>
            <pc:docMk/>
            <pc:sldMk cId="3675731293" sldId="1244"/>
            <ac:picMk id="3" creationId="{0C2EC4DB-BD3C-44D3-8478-ADA1293DCE54}"/>
          </ac:picMkLst>
        </pc:picChg>
        <pc:picChg chg="del">
          <ac:chgData name="Ieva Dzene" userId="36e850b3-6b13-42b6-8b78-9778956e69b6" providerId="ADAL" clId="{2B98E168-295F-4675-91AD-98C27118674C}" dt="2021-08-17T07:03:12.866" v="5756" actId="478"/>
          <ac:picMkLst>
            <pc:docMk/>
            <pc:sldMk cId="3675731293" sldId="1244"/>
            <ac:picMk id="9" creationId="{1B34A735-4FD7-4B74-A227-DCE681BCA891}"/>
          </ac:picMkLst>
        </pc:picChg>
        <pc:picChg chg="add mod ord">
          <ac:chgData name="Ieva Dzene" userId="36e850b3-6b13-42b6-8b78-9778956e69b6" providerId="ADAL" clId="{2B98E168-295F-4675-91AD-98C27118674C}" dt="2021-08-17T07:03:35.718" v="5765" actId="14100"/>
          <ac:picMkLst>
            <pc:docMk/>
            <pc:sldMk cId="3675731293" sldId="1244"/>
            <ac:picMk id="11" creationId="{0DCF4F6D-3119-48D7-9B60-AD757B46C09D}"/>
          </ac:picMkLst>
        </pc:picChg>
        <pc:picChg chg="del">
          <ac:chgData name="Ieva Dzene" userId="36e850b3-6b13-42b6-8b78-9778956e69b6" providerId="ADAL" clId="{2B98E168-295F-4675-91AD-98C27118674C}" dt="2021-08-17T07:03:14.022" v="5757" actId="478"/>
          <ac:picMkLst>
            <pc:docMk/>
            <pc:sldMk cId="3675731293" sldId="1244"/>
            <ac:picMk id="20" creationId="{480AB691-E3C3-463F-8844-FC3BC987D410}"/>
          </ac:picMkLst>
        </pc:picChg>
      </pc:sldChg>
      <pc:sldChg chg="addSp delSp modSp mod">
        <pc:chgData name="Ieva Dzene" userId="36e850b3-6b13-42b6-8b78-9778956e69b6" providerId="ADAL" clId="{2B98E168-295F-4675-91AD-98C27118674C}" dt="2021-08-17T07:04:20.615" v="5774" actId="1076"/>
        <pc:sldMkLst>
          <pc:docMk/>
          <pc:sldMk cId="2646104225" sldId="1245"/>
        </pc:sldMkLst>
        <pc:picChg chg="add mod ord">
          <ac:chgData name="Ieva Dzene" userId="36e850b3-6b13-42b6-8b78-9778956e69b6" providerId="ADAL" clId="{2B98E168-295F-4675-91AD-98C27118674C}" dt="2021-08-17T07:04:20.615" v="5774" actId="1076"/>
          <ac:picMkLst>
            <pc:docMk/>
            <pc:sldMk cId="2646104225" sldId="1245"/>
            <ac:picMk id="14" creationId="{6CA4941F-7E3F-49E5-9C7D-4564F055D5AC}"/>
          </ac:picMkLst>
        </pc:picChg>
        <pc:picChg chg="del">
          <ac:chgData name="Ieva Dzene" userId="36e850b3-6b13-42b6-8b78-9778956e69b6" providerId="ADAL" clId="{2B98E168-295F-4675-91AD-98C27118674C}" dt="2021-08-17T07:04:12.649" v="5772" actId="478"/>
          <ac:picMkLst>
            <pc:docMk/>
            <pc:sldMk cId="2646104225" sldId="1245"/>
            <ac:picMk id="19" creationId="{D0129526-63DE-4125-B7F6-58FA0C34D75F}"/>
          </ac:picMkLst>
        </pc:picChg>
      </pc:sldChg>
      <pc:sldChg chg="addSp delSp modSp mod">
        <pc:chgData name="Ieva Dzene" userId="36e850b3-6b13-42b6-8b78-9778956e69b6" providerId="ADAL" clId="{2B98E168-295F-4675-91AD-98C27118674C}" dt="2021-08-17T07:04:45.802" v="5780" actId="1076"/>
        <pc:sldMkLst>
          <pc:docMk/>
          <pc:sldMk cId="2366905453" sldId="1249"/>
        </pc:sldMkLst>
        <pc:picChg chg="add mod ord">
          <ac:chgData name="Ieva Dzene" userId="36e850b3-6b13-42b6-8b78-9778956e69b6" providerId="ADAL" clId="{2B98E168-295F-4675-91AD-98C27118674C}" dt="2021-08-17T07:04:45.802" v="5780" actId="1076"/>
          <ac:picMkLst>
            <pc:docMk/>
            <pc:sldMk cId="2366905453" sldId="1249"/>
            <ac:picMk id="14" creationId="{59C84CA4-A79A-440B-8ADA-CA16963EF121}"/>
          </ac:picMkLst>
        </pc:picChg>
        <pc:picChg chg="del">
          <ac:chgData name="Ieva Dzene" userId="36e850b3-6b13-42b6-8b78-9778956e69b6" providerId="ADAL" clId="{2B98E168-295F-4675-91AD-98C27118674C}" dt="2021-08-17T07:04:31.671" v="5775" actId="478"/>
          <ac:picMkLst>
            <pc:docMk/>
            <pc:sldMk cId="2366905453" sldId="1249"/>
            <ac:picMk id="29" creationId="{5E790E84-251D-4EC2-9F6A-F1E0BF7ACDC2}"/>
          </ac:picMkLst>
        </pc:picChg>
      </pc:sldChg>
      <pc:sldChg chg="addSp delSp modSp mod">
        <pc:chgData name="Ieva Dzene" userId="36e850b3-6b13-42b6-8b78-9778956e69b6" providerId="ADAL" clId="{2B98E168-295F-4675-91AD-98C27118674C}" dt="2021-08-17T07:07:07.718" v="5795" actId="478"/>
        <pc:sldMkLst>
          <pc:docMk/>
          <pc:sldMk cId="902396068" sldId="1257"/>
        </pc:sldMkLst>
        <pc:spChg chg="del mod">
          <ac:chgData name="Ieva Dzene" userId="36e850b3-6b13-42b6-8b78-9778956e69b6" providerId="ADAL" clId="{2B98E168-295F-4675-91AD-98C27118674C}" dt="2021-08-17T07:07:07.718" v="5795" actId="478"/>
          <ac:spMkLst>
            <pc:docMk/>
            <pc:sldMk cId="902396068" sldId="1257"/>
            <ac:spMk id="31" creationId="{061FD2BD-1FD8-4EC0-8FCD-24D088A99E45}"/>
          </ac:spMkLst>
        </pc:spChg>
        <pc:spChg chg="mod">
          <ac:chgData name="Ieva Dzene" userId="36e850b3-6b13-42b6-8b78-9778956e69b6" providerId="ADAL" clId="{2B98E168-295F-4675-91AD-98C27118674C}" dt="2021-08-17T07:07:04.399" v="5794" actId="14100"/>
          <ac:spMkLst>
            <pc:docMk/>
            <pc:sldMk cId="902396068" sldId="1257"/>
            <ac:spMk id="37" creationId="{E67C8C1D-6F83-4DF9-B1D6-25357F1D99BD}"/>
          </ac:spMkLst>
        </pc:spChg>
        <pc:picChg chg="add mod ord">
          <ac:chgData name="Ieva Dzene" userId="36e850b3-6b13-42b6-8b78-9778956e69b6" providerId="ADAL" clId="{2B98E168-295F-4675-91AD-98C27118674C}" dt="2021-08-17T07:06:59.823" v="5792" actId="1076"/>
          <ac:picMkLst>
            <pc:docMk/>
            <pc:sldMk cId="902396068" sldId="1257"/>
            <ac:picMk id="23" creationId="{F38AF71C-8127-46D2-A847-114D25CA7AAC}"/>
          </ac:picMkLst>
        </pc:picChg>
        <pc:picChg chg="del">
          <ac:chgData name="Ieva Dzene" userId="36e850b3-6b13-42b6-8b78-9778956e69b6" providerId="ADAL" clId="{2B98E168-295F-4675-91AD-98C27118674C}" dt="2021-08-17T07:06:44.681" v="5789" actId="478"/>
          <ac:picMkLst>
            <pc:docMk/>
            <pc:sldMk cId="902396068" sldId="1257"/>
            <ac:picMk id="30" creationId="{4D390A8C-1A0D-4F66-B752-C3132D0BD64A}"/>
          </ac:picMkLst>
        </pc:picChg>
      </pc:sldChg>
      <pc:sldChg chg="addSp delSp modSp mod">
        <pc:chgData name="Ieva Dzene" userId="36e850b3-6b13-42b6-8b78-9778956e69b6" providerId="ADAL" clId="{2B98E168-295F-4675-91AD-98C27118674C}" dt="2021-08-17T07:07:53.905" v="5803" actId="14100"/>
        <pc:sldMkLst>
          <pc:docMk/>
          <pc:sldMk cId="472098171" sldId="1261"/>
        </pc:sldMkLst>
        <pc:spChg chg="mod">
          <ac:chgData name="Ieva Dzene" userId="36e850b3-6b13-42b6-8b78-9778956e69b6" providerId="ADAL" clId="{2B98E168-295F-4675-91AD-98C27118674C}" dt="2021-08-17T07:07:53.905" v="5803" actId="14100"/>
          <ac:spMkLst>
            <pc:docMk/>
            <pc:sldMk cId="472098171" sldId="1261"/>
            <ac:spMk id="18" creationId="{45473E86-3F86-41F7-A6E6-0286E9EAAD77}"/>
          </ac:spMkLst>
        </pc:spChg>
        <pc:picChg chg="del">
          <ac:chgData name="Ieva Dzene" userId="36e850b3-6b13-42b6-8b78-9778956e69b6" providerId="ADAL" clId="{2B98E168-295F-4675-91AD-98C27118674C}" dt="2021-08-17T07:07:35.321" v="5799" actId="478"/>
          <ac:picMkLst>
            <pc:docMk/>
            <pc:sldMk cId="472098171" sldId="1261"/>
            <ac:picMk id="5" creationId="{0C8A69B4-0C16-4647-8BEF-2E972C9D09F3}"/>
          </ac:picMkLst>
        </pc:picChg>
        <pc:picChg chg="add mod ord">
          <ac:chgData name="Ieva Dzene" userId="36e850b3-6b13-42b6-8b78-9778956e69b6" providerId="ADAL" clId="{2B98E168-295F-4675-91AD-98C27118674C}" dt="2021-08-17T07:07:47.084" v="5801" actId="1076"/>
          <ac:picMkLst>
            <pc:docMk/>
            <pc:sldMk cId="472098171" sldId="1261"/>
            <ac:picMk id="13" creationId="{8B74BB40-2E4C-49BF-B0FC-8FBEF549E223}"/>
          </ac:picMkLst>
        </pc:picChg>
      </pc:sldChg>
      <pc:sldChg chg="delSp modSp mod">
        <pc:chgData name="Ieva Dzene" userId="36e850b3-6b13-42b6-8b78-9778956e69b6" providerId="ADAL" clId="{2B98E168-295F-4675-91AD-98C27118674C}" dt="2021-08-18T07:51:58.954" v="8676" actId="20577"/>
        <pc:sldMkLst>
          <pc:docMk/>
          <pc:sldMk cId="3784004545" sldId="1264"/>
        </pc:sldMkLst>
        <pc:spChg chg="mod">
          <ac:chgData name="Ieva Dzene" userId="36e850b3-6b13-42b6-8b78-9778956e69b6" providerId="ADAL" clId="{2B98E168-295F-4675-91AD-98C27118674C}" dt="2021-08-18T07:39:57.269" v="8313" actId="20577"/>
          <ac:spMkLst>
            <pc:docMk/>
            <pc:sldMk cId="3784004545" sldId="1264"/>
            <ac:spMk id="3" creationId="{17403686-94D3-4A24-BDEB-07854049E7FA}"/>
          </ac:spMkLst>
        </pc:spChg>
        <pc:spChg chg="mod">
          <ac:chgData name="Ieva Dzene" userId="36e850b3-6b13-42b6-8b78-9778956e69b6" providerId="ADAL" clId="{2B98E168-295F-4675-91AD-98C27118674C}" dt="2021-08-18T07:40:07.262" v="8315" actId="1076"/>
          <ac:spMkLst>
            <pc:docMk/>
            <pc:sldMk cId="3784004545" sldId="1264"/>
            <ac:spMk id="4" creationId="{C15F0967-AE72-425B-B48F-48D65E103DE8}"/>
          </ac:spMkLst>
        </pc:spChg>
        <pc:spChg chg="mod">
          <ac:chgData name="Ieva Dzene" userId="36e850b3-6b13-42b6-8b78-9778956e69b6" providerId="ADAL" clId="{2B98E168-295F-4675-91AD-98C27118674C}" dt="2021-08-18T07:40:07.262" v="8315" actId="1076"/>
          <ac:spMkLst>
            <pc:docMk/>
            <pc:sldMk cId="3784004545" sldId="1264"/>
            <ac:spMk id="5" creationId="{C47AD447-1391-4753-ACE4-E28DE8BDF170}"/>
          </ac:spMkLst>
        </pc:spChg>
        <pc:spChg chg="del mod">
          <ac:chgData name="Ieva Dzene" userId="36e850b3-6b13-42b6-8b78-9778956e69b6" providerId="ADAL" clId="{2B98E168-295F-4675-91AD-98C27118674C}" dt="2021-08-18T07:40:00.839" v="8314" actId="478"/>
          <ac:spMkLst>
            <pc:docMk/>
            <pc:sldMk cId="3784004545" sldId="1264"/>
            <ac:spMk id="6" creationId="{A19744FE-0122-4458-A703-1ED9355A7C5F}"/>
          </ac:spMkLst>
        </pc:spChg>
        <pc:spChg chg="mod">
          <ac:chgData name="Ieva Dzene" userId="36e850b3-6b13-42b6-8b78-9778956e69b6" providerId="ADAL" clId="{2B98E168-295F-4675-91AD-98C27118674C}" dt="2021-08-18T07:40:07.262" v="8315" actId="1076"/>
          <ac:spMkLst>
            <pc:docMk/>
            <pc:sldMk cId="3784004545" sldId="1264"/>
            <ac:spMk id="7" creationId="{B6AC1B17-3F88-4D40-804E-9B0D2C2CA948}"/>
          </ac:spMkLst>
        </pc:spChg>
        <pc:spChg chg="mod">
          <ac:chgData name="Ieva Dzene" userId="36e850b3-6b13-42b6-8b78-9778956e69b6" providerId="ADAL" clId="{2B98E168-295F-4675-91AD-98C27118674C}" dt="2021-08-18T07:40:07.262" v="8315" actId="1076"/>
          <ac:spMkLst>
            <pc:docMk/>
            <pc:sldMk cId="3784004545" sldId="1264"/>
            <ac:spMk id="8" creationId="{71FE1C28-D166-4223-BE2C-947C67DDF362}"/>
          </ac:spMkLst>
        </pc:spChg>
        <pc:spChg chg="mod">
          <ac:chgData name="Ieva Dzene" userId="36e850b3-6b13-42b6-8b78-9778956e69b6" providerId="ADAL" clId="{2B98E168-295F-4675-91AD-98C27118674C}" dt="2021-08-18T07:51:26.528" v="8656" actId="20577"/>
          <ac:spMkLst>
            <pc:docMk/>
            <pc:sldMk cId="3784004545" sldId="1264"/>
            <ac:spMk id="9" creationId="{BF625B3B-054F-492B-BA4C-7613E1C58443}"/>
          </ac:spMkLst>
        </pc:spChg>
        <pc:spChg chg="mod">
          <ac:chgData name="Ieva Dzene" userId="36e850b3-6b13-42b6-8b78-9778956e69b6" providerId="ADAL" clId="{2B98E168-295F-4675-91AD-98C27118674C}" dt="2021-08-18T07:51:40.839" v="8673" actId="20577"/>
          <ac:spMkLst>
            <pc:docMk/>
            <pc:sldMk cId="3784004545" sldId="1264"/>
            <ac:spMk id="10" creationId="{5BDD4101-AC72-4520-97CA-1A59C9205A30}"/>
          </ac:spMkLst>
        </pc:spChg>
        <pc:spChg chg="mod">
          <ac:chgData name="Ieva Dzene" userId="36e850b3-6b13-42b6-8b78-9778956e69b6" providerId="ADAL" clId="{2B98E168-295F-4675-91AD-98C27118674C}" dt="2021-08-18T07:40:07.262" v="8315" actId="1076"/>
          <ac:spMkLst>
            <pc:docMk/>
            <pc:sldMk cId="3784004545" sldId="1264"/>
            <ac:spMk id="11" creationId="{32B56375-6760-4522-A9E4-CDE2E1BD8062}"/>
          </ac:spMkLst>
        </pc:spChg>
        <pc:spChg chg="mod">
          <ac:chgData name="Ieva Dzene" userId="36e850b3-6b13-42b6-8b78-9778956e69b6" providerId="ADAL" clId="{2B98E168-295F-4675-91AD-98C27118674C}" dt="2021-08-18T07:40:07.262" v="8315" actId="1076"/>
          <ac:spMkLst>
            <pc:docMk/>
            <pc:sldMk cId="3784004545" sldId="1264"/>
            <ac:spMk id="13" creationId="{B9E1B828-9B86-439D-ACAD-6BE4179CC0B5}"/>
          </ac:spMkLst>
        </pc:spChg>
        <pc:spChg chg="mod">
          <ac:chgData name="Ieva Dzene" userId="36e850b3-6b13-42b6-8b78-9778956e69b6" providerId="ADAL" clId="{2B98E168-295F-4675-91AD-98C27118674C}" dt="2021-08-18T07:51:58.954" v="8676" actId="20577"/>
          <ac:spMkLst>
            <pc:docMk/>
            <pc:sldMk cId="3784004545" sldId="1264"/>
            <ac:spMk id="15" creationId="{83D75EC2-C7C2-4C77-B789-ACB0F3B7C39A}"/>
          </ac:spMkLst>
        </pc:spChg>
        <pc:spChg chg="mod">
          <ac:chgData name="Ieva Dzene" userId="36e850b3-6b13-42b6-8b78-9778956e69b6" providerId="ADAL" clId="{2B98E168-295F-4675-91AD-98C27118674C}" dt="2021-08-18T07:40:07.262" v="8315" actId="1076"/>
          <ac:spMkLst>
            <pc:docMk/>
            <pc:sldMk cId="3784004545" sldId="1264"/>
            <ac:spMk id="19" creationId="{5302C129-1CC6-456A-A811-227F7DB92178}"/>
          </ac:spMkLst>
        </pc:spChg>
        <pc:spChg chg="mod">
          <ac:chgData name="Ieva Dzene" userId="36e850b3-6b13-42b6-8b78-9778956e69b6" providerId="ADAL" clId="{2B98E168-295F-4675-91AD-98C27118674C}" dt="2021-08-18T07:40:07.262" v="8315" actId="1076"/>
          <ac:spMkLst>
            <pc:docMk/>
            <pc:sldMk cId="3784004545" sldId="1264"/>
            <ac:spMk id="20" creationId="{C51E5346-F2A4-4A8C-B97B-10FB04E44E3C}"/>
          </ac:spMkLst>
        </pc:spChg>
        <pc:spChg chg="mod">
          <ac:chgData name="Ieva Dzene" userId="36e850b3-6b13-42b6-8b78-9778956e69b6" providerId="ADAL" clId="{2B98E168-295F-4675-91AD-98C27118674C}" dt="2021-08-18T07:40:07.262" v="8315" actId="1076"/>
          <ac:spMkLst>
            <pc:docMk/>
            <pc:sldMk cId="3784004545" sldId="1264"/>
            <ac:spMk id="21" creationId="{F9DFBD54-F439-4685-A885-33737D01C33F}"/>
          </ac:spMkLst>
        </pc:spChg>
        <pc:spChg chg="mod">
          <ac:chgData name="Ieva Dzene" userId="36e850b3-6b13-42b6-8b78-9778956e69b6" providerId="ADAL" clId="{2B98E168-295F-4675-91AD-98C27118674C}" dt="2021-08-18T07:40:07.262" v="8315" actId="1076"/>
          <ac:spMkLst>
            <pc:docMk/>
            <pc:sldMk cId="3784004545" sldId="1264"/>
            <ac:spMk id="23" creationId="{BDED44D3-4E2A-4EE3-A30B-5EE24651FE7F}"/>
          </ac:spMkLst>
        </pc:spChg>
        <pc:spChg chg="mod">
          <ac:chgData name="Ieva Dzene" userId="36e850b3-6b13-42b6-8b78-9778956e69b6" providerId="ADAL" clId="{2B98E168-295F-4675-91AD-98C27118674C}" dt="2021-08-18T07:40:07.262" v="8315" actId="1076"/>
          <ac:spMkLst>
            <pc:docMk/>
            <pc:sldMk cId="3784004545" sldId="1264"/>
            <ac:spMk id="25" creationId="{47D081CB-07E5-452F-AF2C-16DD2AC4BEFF}"/>
          </ac:spMkLst>
        </pc:spChg>
        <pc:spChg chg="mod">
          <ac:chgData name="Ieva Dzene" userId="36e850b3-6b13-42b6-8b78-9778956e69b6" providerId="ADAL" clId="{2B98E168-295F-4675-91AD-98C27118674C}" dt="2021-08-18T07:40:07.262" v="8315" actId="1076"/>
          <ac:spMkLst>
            <pc:docMk/>
            <pc:sldMk cId="3784004545" sldId="1264"/>
            <ac:spMk id="26" creationId="{5C61A3D9-BA67-4443-B77F-48944A447AD8}"/>
          </ac:spMkLst>
        </pc:spChg>
        <pc:spChg chg="mod">
          <ac:chgData name="Ieva Dzene" userId="36e850b3-6b13-42b6-8b78-9778956e69b6" providerId="ADAL" clId="{2B98E168-295F-4675-91AD-98C27118674C}" dt="2021-08-18T07:40:07.262" v="8315" actId="1076"/>
          <ac:spMkLst>
            <pc:docMk/>
            <pc:sldMk cId="3784004545" sldId="1264"/>
            <ac:spMk id="28" creationId="{DBD119D8-9C5B-4430-8C09-57AD42A0CA10}"/>
          </ac:spMkLst>
        </pc:spChg>
        <pc:spChg chg="mod">
          <ac:chgData name="Ieva Dzene" userId="36e850b3-6b13-42b6-8b78-9778956e69b6" providerId="ADAL" clId="{2B98E168-295F-4675-91AD-98C27118674C}" dt="2021-08-18T07:40:07.262" v="8315" actId="1076"/>
          <ac:spMkLst>
            <pc:docMk/>
            <pc:sldMk cId="3784004545" sldId="1264"/>
            <ac:spMk id="30" creationId="{4939613C-248B-4DD1-A3A1-83DB2E4A4336}"/>
          </ac:spMkLst>
        </pc:spChg>
        <pc:spChg chg="mod">
          <ac:chgData name="Ieva Dzene" userId="36e850b3-6b13-42b6-8b78-9778956e69b6" providerId="ADAL" clId="{2B98E168-295F-4675-91AD-98C27118674C}" dt="2021-08-18T07:40:07.262" v="8315" actId="1076"/>
          <ac:spMkLst>
            <pc:docMk/>
            <pc:sldMk cId="3784004545" sldId="1264"/>
            <ac:spMk id="31" creationId="{BCBBDAD7-53BC-4220-9F68-3DB7B1D37894}"/>
          </ac:spMkLst>
        </pc:spChg>
        <pc:picChg chg="mod">
          <ac:chgData name="Ieva Dzene" userId="36e850b3-6b13-42b6-8b78-9778956e69b6" providerId="ADAL" clId="{2B98E168-295F-4675-91AD-98C27118674C}" dt="2021-08-18T07:40:07.262" v="8315" actId="1076"/>
          <ac:picMkLst>
            <pc:docMk/>
            <pc:sldMk cId="3784004545" sldId="1264"/>
            <ac:picMk id="12" creationId="{98DBD290-BEC4-4841-B4F3-18C779C04FB7}"/>
          </ac:picMkLst>
        </pc:picChg>
        <pc:picChg chg="mod">
          <ac:chgData name="Ieva Dzene" userId="36e850b3-6b13-42b6-8b78-9778956e69b6" providerId="ADAL" clId="{2B98E168-295F-4675-91AD-98C27118674C}" dt="2021-08-18T07:40:07.262" v="8315" actId="1076"/>
          <ac:picMkLst>
            <pc:docMk/>
            <pc:sldMk cId="3784004545" sldId="1264"/>
            <ac:picMk id="36" creationId="{1287C34D-676E-4ADB-802E-3773377EF013}"/>
          </ac:picMkLst>
        </pc:picChg>
        <pc:picChg chg="mod">
          <ac:chgData name="Ieva Dzene" userId="36e850b3-6b13-42b6-8b78-9778956e69b6" providerId="ADAL" clId="{2B98E168-295F-4675-91AD-98C27118674C}" dt="2021-08-18T07:40:07.262" v="8315" actId="1076"/>
          <ac:picMkLst>
            <pc:docMk/>
            <pc:sldMk cId="3784004545" sldId="1264"/>
            <ac:picMk id="40" creationId="{1953B5BD-82EB-4A12-81BC-DC38332F8F7E}"/>
          </ac:picMkLst>
        </pc:picChg>
        <pc:picChg chg="mod">
          <ac:chgData name="Ieva Dzene" userId="36e850b3-6b13-42b6-8b78-9778956e69b6" providerId="ADAL" clId="{2B98E168-295F-4675-91AD-98C27118674C}" dt="2021-08-18T07:40:07.262" v="8315" actId="1076"/>
          <ac:picMkLst>
            <pc:docMk/>
            <pc:sldMk cId="3784004545" sldId="1264"/>
            <ac:picMk id="42" creationId="{1DBDDE15-5A0A-46B5-8146-47619D4C28EA}"/>
          </ac:picMkLst>
        </pc:picChg>
        <pc:picChg chg="mod">
          <ac:chgData name="Ieva Dzene" userId="36e850b3-6b13-42b6-8b78-9778956e69b6" providerId="ADAL" clId="{2B98E168-295F-4675-91AD-98C27118674C}" dt="2021-08-18T07:40:07.262" v="8315" actId="1076"/>
          <ac:picMkLst>
            <pc:docMk/>
            <pc:sldMk cId="3784004545" sldId="1264"/>
            <ac:picMk id="46" creationId="{DB37006B-2608-4948-B17E-8B940951100D}"/>
          </ac:picMkLst>
        </pc:picChg>
        <pc:picChg chg="mod">
          <ac:chgData name="Ieva Dzene" userId="36e850b3-6b13-42b6-8b78-9778956e69b6" providerId="ADAL" clId="{2B98E168-295F-4675-91AD-98C27118674C}" dt="2021-08-18T07:40:07.262" v="8315" actId="1076"/>
          <ac:picMkLst>
            <pc:docMk/>
            <pc:sldMk cId="3784004545" sldId="1264"/>
            <ac:picMk id="48" creationId="{88DE0281-2530-41C8-80C3-D11163C060D9}"/>
          </ac:picMkLst>
        </pc:picChg>
        <pc:picChg chg="mod">
          <ac:chgData name="Ieva Dzene" userId="36e850b3-6b13-42b6-8b78-9778956e69b6" providerId="ADAL" clId="{2B98E168-295F-4675-91AD-98C27118674C}" dt="2021-08-18T07:40:07.262" v="8315" actId="1076"/>
          <ac:picMkLst>
            <pc:docMk/>
            <pc:sldMk cId="3784004545" sldId="1264"/>
            <ac:picMk id="50" creationId="{4E7A13D9-6DAE-4545-A6A6-946A15BE6542}"/>
          </ac:picMkLst>
        </pc:picChg>
      </pc:sldChg>
      <pc:sldChg chg="addSp delSp modSp mod">
        <pc:chgData name="Ieva Dzene" userId="36e850b3-6b13-42b6-8b78-9778956e69b6" providerId="ADAL" clId="{2B98E168-295F-4675-91AD-98C27118674C}" dt="2021-08-18T07:52:20.807" v="8677" actId="1076"/>
        <pc:sldMkLst>
          <pc:docMk/>
          <pc:sldMk cId="3301526976" sldId="1265"/>
        </pc:sldMkLst>
        <pc:spChg chg="mod">
          <ac:chgData name="Ieva Dzene" userId="36e850b3-6b13-42b6-8b78-9778956e69b6" providerId="ADAL" clId="{2B98E168-295F-4675-91AD-98C27118674C}" dt="2021-08-18T07:45:21.216" v="8391" actId="20577"/>
          <ac:spMkLst>
            <pc:docMk/>
            <pc:sldMk cId="3301526976" sldId="1265"/>
            <ac:spMk id="3" creationId="{17403686-94D3-4A24-BDEB-07854049E7FA}"/>
          </ac:spMkLst>
        </pc:spChg>
        <pc:spChg chg="mod">
          <ac:chgData name="Ieva Dzene" userId="36e850b3-6b13-42b6-8b78-9778956e69b6" providerId="ADAL" clId="{2B98E168-295F-4675-91AD-98C27118674C}" dt="2021-08-18T07:40:52.898" v="8329" actId="1076"/>
          <ac:spMkLst>
            <pc:docMk/>
            <pc:sldMk cId="3301526976" sldId="1265"/>
            <ac:spMk id="4" creationId="{76E46312-65A7-425B-A064-4B86D9BB1403}"/>
          </ac:spMkLst>
        </pc:spChg>
        <pc:spChg chg="mod">
          <ac:chgData name="Ieva Dzene" userId="36e850b3-6b13-42b6-8b78-9778956e69b6" providerId="ADAL" clId="{2B98E168-295F-4675-91AD-98C27118674C}" dt="2021-08-18T07:40:52.898" v="8329" actId="1076"/>
          <ac:spMkLst>
            <pc:docMk/>
            <pc:sldMk cId="3301526976" sldId="1265"/>
            <ac:spMk id="5" creationId="{CECAD65B-A87D-40F5-BAEA-81A65285748D}"/>
          </ac:spMkLst>
        </pc:spChg>
        <pc:spChg chg="add del mod">
          <ac:chgData name="Ieva Dzene" userId="36e850b3-6b13-42b6-8b78-9778956e69b6" providerId="ADAL" clId="{2B98E168-295F-4675-91AD-98C27118674C}" dt="2021-08-18T07:40:40.981" v="8328" actId="478"/>
          <ac:spMkLst>
            <pc:docMk/>
            <pc:sldMk cId="3301526976" sldId="1265"/>
            <ac:spMk id="6" creationId="{A19744FE-0122-4458-A703-1ED9355A7C5F}"/>
          </ac:spMkLst>
        </pc:spChg>
        <pc:spChg chg="mod">
          <ac:chgData name="Ieva Dzene" userId="36e850b3-6b13-42b6-8b78-9778956e69b6" providerId="ADAL" clId="{2B98E168-295F-4675-91AD-98C27118674C}" dt="2021-08-18T07:40:52.898" v="8329" actId="1076"/>
          <ac:spMkLst>
            <pc:docMk/>
            <pc:sldMk cId="3301526976" sldId="1265"/>
            <ac:spMk id="7" creationId="{767C7E67-D531-49ED-8A43-F98FCECB303B}"/>
          </ac:spMkLst>
        </pc:spChg>
        <pc:spChg chg="mod">
          <ac:chgData name="Ieva Dzene" userId="36e850b3-6b13-42b6-8b78-9778956e69b6" providerId="ADAL" clId="{2B98E168-295F-4675-91AD-98C27118674C}" dt="2021-08-18T07:40:52.898" v="8329" actId="1076"/>
          <ac:spMkLst>
            <pc:docMk/>
            <pc:sldMk cId="3301526976" sldId="1265"/>
            <ac:spMk id="9" creationId="{EE5BCEAC-1993-4E61-B666-0DC8AB870660}"/>
          </ac:spMkLst>
        </pc:spChg>
        <pc:spChg chg="mod">
          <ac:chgData name="Ieva Dzene" userId="36e850b3-6b13-42b6-8b78-9778956e69b6" providerId="ADAL" clId="{2B98E168-295F-4675-91AD-98C27118674C}" dt="2021-08-18T07:40:52.898" v="8329" actId="1076"/>
          <ac:spMkLst>
            <pc:docMk/>
            <pc:sldMk cId="3301526976" sldId="1265"/>
            <ac:spMk id="11" creationId="{B8339206-BF6B-4361-9A8F-92191590435C}"/>
          </ac:spMkLst>
        </pc:spChg>
        <pc:spChg chg="mod">
          <ac:chgData name="Ieva Dzene" userId="36e850b3-6b13-42b6-8b78-9778956e69b6" providerId="ADAL" clId="{2B98E168-295F-4675-91AD-98C27118674C}" dt="2021-08-18T07:40:52.898" v="8329" actId="1076"/>
          <ac:spMkLst>
            <pc:docMk/>
            <pc:sldMk cId="3301526976" sldId="1265"/>
            <ac:spMk id="12" creationId="{24204041-51D7-4DD1-B6CC-2BB0894A37AA}"/>
          </ac:spMkLst>
        </pc:spChg>
        <pc:spChg chg="mod">
          <ac:chgData name="Ieva Dzene" userId="36e850b3-6b13-42b6-8b78-9778956e69b6" providerId="ADAL" clId="{2B98E168-295F-4675-91AD-98C27118674C}" dt="2021-08-18T07:52:20.807" v="8677" actId="1076"/>
          <ac:spMkLst>
            <pc:docMk/>
            <pc:sldMk cId="3301526976" sldId="1265"/>
            <ac:spMk id="13" creationId="{80A9C668-B80C-4078-AF55-BD32B345947C}"/>
          </ac:spMkLst>
        </pc:spChg>
        <pc:spChg chg="mod">
          <ac:chgData name="Ieva Dzene" userId="36e850b3-6b13-42b6-8b78-9778956e69b6" providerId="ADAL" clId="{2B98E168-295F-4675-91AD-98C27118674C}" dt="2021-08-18T07:52:20.807" v="8677" actId="1076"/>
          <ac:spMkLst>
            <pc:docMk/>
            <pc:sldMk cId="3301526976" sldId="1265"/>
            <ac:spMk id="14" creationId="{0237BF3A-F90E-4919-8D5A-9012CE32AED7}"/>
          </ac:spMkLst>
        </pc:spChg>
        <pc:spChg chg="mod">
          <ac:chgData name="Ieva Dzene" userId="36e850b3-6b13-42b6-8b78-9778956e69b6" providerId="ADAL" clId="{2B98E168-295F-4675-91AD-98C27118674C}" dt="2021-08-18T07:52:20.807" v="8677" actId="1076"/>
          <ac:spMkLst>
            <pc:docMk/>
            <pc:sldMk cId="3301526976" sldId="1265"/>
            <ac:spMk id="15" creationId="{19D191A9-A5B4-4C41-9BDD-42C843080739}"/>
          </ac:spMkLst>
        </pc:spChg>
        <pc:spChg chg="mod">
          <ac:chgData name="Ieva Dzene" userId="36e850b3-6b13-42b6-8b78-9778956e69b6" providerId="ADAL" clId="{2B98E168-295F-4675-91AD-98C27118674C}" dt="2021-08-18T07:52:20.807" v="8677" actId="1076"/>
          <ac:spMkLst>
            <pc:docMk/>
            <pc:sldMk cId="3301526976" sldId="1265"/>
            <ac:spMk id="16" creationId="{FDDA6F99-A49A-4036-B8E8-4EAE74D6A4BA}"/>
          </ac:spMkLst>
        </pc:spChg>
        <pc:spChg chg="mod">
          <ac:chgData name="Ieva Dzene" userId="36e850b3-6b13-42b6-8b78-9778956e69b6" providerId="ADAL" clId="{2B98E168-295F-4675-91AD-98C27118674C}" dt="2021-08-18T07:52:20.807" v="8677" actId="1076"/>
          <ac:spMkLst>
            <pc:docMk/>
            <pc:sldMk cId="3301526976" sldId="1265"/>
            <ac:spMk id="17" creationId="{6D7325D2-ACC5-4CAA-A50C-15A7930908B6}"/>
          </ac:spMkLst>
        </pc:spChg>
        <pc:spChg chg="mod">
          <ac:chgData name="Ieva Dzene" userId="36e850b3-6b13-42b6-8b78-9778956e69b6" providerId="ADAL" clId="{2B98E168-295F-4675-91AD-98C27118674C}" dt="2021-08-18T07:52:20.807" v="8677" actId="1076"/>
          <ac:spMkLst>
            <pc:docMk/>
            <pc:sldMk cId="3301526976" sldId="1265"/>
            <ac:spMk id="18" creationId="{267F9382-0561-4724-9547-62774AB471AD}"/>
          </ac:spMkLst>
        </pc:spChg>
        <pc:spChg chg="mod">
          <ac:chgData name="Ieva Dzene" userId="36e850b3-6b13-42b6-8b78-9778956e69b6" providerId="ADAL" clId="{2B98E168-295F-4675-91AD-98C27118674C}" dt="2021-08-18T07:40:52.898" v="8329" actId="1076"/>
          <ac:spMkLst>
            <pc:docMk/>
            <pc:sldMk cId="3301526976" sldId="1265"/>
            <ac:spMk id="19" creationId="{BD62C548-CB9C-46F9-B13F-C4D1DCEE7C11}"/>
          </ac:spMkLst>
        </pc:spChg>
        <pc:spChg chg="mod">
          <ac:chgData name="Ieva Dzene" userId="36e850b3-6b13-42b6-8b78-9778956e69b6" providerId="ADAL" clId="{2B98E168-295F-4675-91AD-98C27118674C}" dt="2021-08-18T07:40:52.898" v="8329" actId="1076"/>
          <ac:spMkLst>
            <pc:docMk/>
            <pc:sldMk cId="3301526976" sldId="1265"/>
            <ac:spMk id="21" creationId="{A2BB358D-BDDF-4090-9501-334CF807D50B}"/>
          </ac:spMkLst>
        </pc:spChg>
        <pc:spChg chg="mod">
          <ac:chgData name="Ieva Dzene" userId="36e850b3-6b13-42b6-8b78-9778956e69b6" providerId="ADAL" clId="{2B98E168-295F-4675-91AD-98C27118674C}" dt="2021-08-18T07:40:52.898" v="8329" actId="1076"/>
          <ac:spMkLst>
            <pc:docMk/>
            <pc:sldMk cId="3301526976" sldId="1265"/>
            <ac:spMk id="27" creationId="{76BAF44F-3BFF-4CD6-B289-4471287818C8}"/>
          </ac:spMkLst>
        </pc:spChg>
        <pc:picChg chg="mod">
          <ac:chgData name="Ieva Dzene" userId="36e850b3-6b13-42b6-8b78-9778956e69b6" providerId="ADAL" clId="{2B98E168-295F-4675-91AD-98C27118674C}" dt="2021-08-18T07:40:52.898" v="8329" actId="1076"/>
          <ac:picMkLst>
            <pc:docMk/>
            <pc:sldMk cId="3301526976" sldId="1265"/>
            <ac:picMk id="20" creationId="{9F34F351-65D9-4815-A81D-F05450359B5D}"/>
          </ac:picMkLst>
        </pc:picChg>
        <pc:picChg chg="mod">
          <ac:chgData name="Ieva Dzene" userId="36e850b3-6b13-42b6-8b78-9778956e69b6" providerId="ADAL" clId="{2B98E168-295F-4675-91AD-98C27118674C}" dt="2021-08-18T07:40:52.898" v="8329" actId="1076"/>
          <ac:picMkLst>
            <pc:docMk/>
            <pc:sldMk cId="3301526976" sldId="1265"/>
            <ac:picMk id="22" creationId="{03C2BFA0-B0D3-4BC7-BE49-4AFCE1512D9A}"/>
          </ac:picMkLst>
        </pc:picChg>
        <pc:picChg chg="mod">
          <ac:chgData name="Ieva Dzene" userId="36e850b3-6b13-42b6-8b78-9778956e69b6" providerId="ADAL" clId="{2B98E168-295F-4675-91AD-98C27118674C}" dt="2021-08-18T07:40:52.898" v="8329" actId="1076"/>
          <ac:picMkLst>
            <pc:docMk/>
            <pc:sldMk cId="3301526976" sldId="1265"/>
            <ac:picMk id="23" creationId="{96CDECA8-E6DC-4848-AC8D-23FDCD23E6F0}"/>
          </ac:picMkLst>
        </pc:picChg>
        <pc:picChg chg="mod">
          <ac:chgData name="Ieva Dzene" userId="36e850b3-6b13-42b6-8b78-9778956e69b6" providerId="ADAL" clId="{2B98E168-295F-4675-91AD-98C27118674C}" dt="2021-08-18T07:40:52.898" v="8329" actId="1076"/>
          <ac:picMkLst>
            <pc:docMk/>
            <pc:sldMk cId="3301526976" sldId="1265"/>
            <ac:picMk id="24" creationId="{952992B4-386F-4A50-900F-738B545535CC}"/>
          </ac:picMkLst>
        </pc:picChg>
        <pc:picChg chg="mod">
          <ac:chgData name="Ieva Dzene" userId="36e850b3-6b13-42b6-8b78-9778956e69b6" providerId="ADAL" clId="{2B98E168-295F-4675-91AD-98C27118674C}" dt="2021-08-18T07:40:52.898" v="8329" actId="1076"/>
          <ac:picMkLst>
            <pc:docMk/>
            <pc:sldMk cId="3301526976" sldId="1265"/>
            <ac:picMk id="25" creationId="{99FBB0D7-8B42-4A3A-86E6-A169E27D17AD}"/>
          </ac:picMkLst>
        </pc:picChg>
        <pc:picChg chg="mod">
          <ac:chgData name="Ieva Dzene" userId="36e850b3-6b13-42b6-8b78-9778956e69b6" providerId="ADAL" clId="{2B98E168-295F-4675-91AD-98C27118674C}" dt="2021-08-18T07:40:52.898" v="8329" actId="1076"/>
          <ac:picMkLst>
            <pc:docMk/>
            <pc:sldMk cId="3301526976" sldId="1265"/>
            <ac:picMk id="26" creationId="{1657DE1B-FC17-431F-AC61-C94DB865B549}"/>
          </ac:picMkLst>
        </pc:picChg>
      </pc:sldChg>
      <pc:sldChg chg="delSp modSp del mod ord">
        <pc:chgData name="Ieva Dzene" userId="36e850b3-6b13-42b6-8b78-9778956e69b6" providerId="ADAL" clId="{2B98E168-295F-4675-91AD-98C27118674C}" dt="2021-08-18T07:51:10.577" v="8652" actId="2696"/>
        <pc:sldMkLst>
          <pc:docMk/>
          <pc:sldMk cId="926567963" sldId="1266"/>
        </pc:sldMkLst>
        <pc:spChg chg="mod">
          <ac:chgData name="Ieva Dzene" userId="36e850b3-6b13-42b6-8b78-9778956e69b6" providerId="ADAL" clId="{2B98E168-295F-4675-91AD-98C27118674C}" dt="2021-08-18T07:43:21.852" v="8368" actId="20577"/>
          <ac:spMkLst>
            <pc:docMk/>
            <pc:sldMk cId="926567963" sldId="1266"/>
            <ac:spMk id="3" creationId="{17403686-94D3-4A24-BDEB-07854049E7FA}"/>
          </ac:spMkLst>
        </pc:spChg>
        <pc:spChg chg="del mod">
          <ac:chgData name="Ieva Dzene" userId="36e850b3-6b13-42b6-8b78-9778956e69b6" providerId="ADAL" clId="{2B98E168-295F-4675-91AD-98C27118674C}" dt="2021-08-18T07:43:24.070" v="8369" actId="478"/>
          <ac:spMkLst>
            <pc:docMk/>
            <pc:sldMk cId="926567963" sldId="1266"/>
            <ac:spMk id="6" creationId="{A19744FE-0122-4458-A703-1ED9355A7C5F}"/>
          </ac:spMkLst>
        </pc:spChg>
        <pc:spChg chg="mod">
          <ac:chgData name="Ieva Dzene" userId="36e850b3-6b13-42b6-8b78-9778956e69b6" providerId="ADAL" clId="{2B98E168-295F-4675-91AD-98C27118674C}" dt="2021-08-18T07:50:26.361" v="8651" actId="20577"/>
          <ac:spMkLst>
            <pc:docMk/>
            <pc:sldMk cId="926567963" sldId="1266"/>
            <ac:spMk id="27" creationId="{82C1FBD4-E916-4C3E-BE64-6D5AB2E4B4DD}"/>
          </ac:spMkLst>
        </pc:spChg>
      </pc:sldChg>
      <pc:sldChg chg="addSp delSp modSp mod">
        <pc:chgData name="Ieva Dzene" userId="36e850b3-6b13-42b6-8b78-9778956e69b6" providerId="ADAL" clId="{2B98E168-295F-4675-91AD-98C27118674C}" dt="2021-08-18T07:54:01.647" v="8716" actId="33524"/>
        <pc:sldMkLst>
          <pc:docMk/>
          <pc:sldMk cId="3655601750" sldId="1270"/>
        </pc:sldMkLst>
        <pc:spChg chg="mod">
          <ac:chgData name="Ieva Dzene" userId="36e850b3-6b13-42b6-8b78-9778956e69b6" providerId="ADAL" clId="{2B98E168-295F-4675-91AD-98C27118674C}" dt="2021-08-18T07:53:10.026" v="8695" actId="20577"/>
          <ac:spMkLst>
            <pc:docMk/>
            <pc:sldMk cId="3655601750" sldId="1270"/>
            <ac:spMk id="3" creationId="{17403686-94D3-4A24-BDEB-07854049E7FA}"/>
          </ac:spMkLst>
        </pc:spChg>
        <pc:spChg chg="add del mod">
          <ac:chgData name="Ieva Dzene" userId="36e850b3-6b13-42b6-8b78-9778956e69b6" providerId="ADAL" clId="{2B98E168-295F-4675-91AD-98C27118674C}" dt="2021-08-18T07:41:23.454" v="8341" actId="478"/>
          <ac:spMkLst>
            <pc:docMk/>
            <pc:sldMk cId="3655601750" sldId="1270"/>
            <ac:spMk id="6" creationId="{A19744FE-0122-4458-A703-1ED9355A7C5F}"/>
          </ac:spMkLst>
        </pc:spChg>
        <pc:spChg chg="mod">
          <ac:chgData name="Ieva Dzene" userId="36e850b3-6b13-42b6-8b78-9778956e69b6" providerId="ADAL" clId="{2B98E168-295F-4675-91AD-98C27118674C}" dt="2021-08-18T07:54:01.647" v="8716" actId="33524"/>
          <ac:spMkLst>
            <pc:docMk/>
            <pc:sldMk cId="3655601750" sldId="1270"/>
            <ac:spMk id="23" creationId="{68431A46-294E-4004-9457-5DB9E469C778}"/>
          </ac:spMkLst>
        </pc:spChg>
        <pc:spChg chg="mod">
          <ac:chgData name="Ieva Dzene" userId="36e850b3-6b13-42b6-8b78-9778956e69b6" providerId="ADAL" clId="{2B98E168-295F-4675-91AD-98C27118674C}" dt="2021-08-18T07:41:37.443" v="8342" actId="1076"/>
          <ac:spMkLst>
            <pc:docMk/>
            <pc:sldMk cId="3655601750" sldId="1270"/>
            <ac:spMk id="24" creationId="{ABE7559C-E786-4260-9A1E-E10744B7425B}"/>
          </ac:spMkLst>
        </pc:spChg>
        <pc:spChg chg="mod">
          <ac:chgData name="Ieva Dzene" userId="36e850b3-6b13-42b6-8b78-9778956e69b6" providerId="ADAL" clId="{2B98E168-295F-4675-91AD-98C27118674C}" dt="2021-08-18T07:41:37.443" v="8342" actId="1076"/>
          <ac:spMkLst>
            <pc:docMk/>
            <pc:sldMk cId="3655601750" sldId="1270"/>
            <ac:spMk id="25" creationId="{27840079-BC70-43E1-B13E-AC1D959A1CFE}"/>
          </ac:spMkLst>
        </pc:spChg>
        <pc:spChg chg="mod">
          <ac:chgData name="Ieva Dzene" userId="36e850b3-6b13-42b6-8b78-9778956e69b6" providerId="ADAL" clId="{2B98E168-295F-4675-91AD-98C27118674C}" dt="2021-08-18T07:41:37.443" v="8342" actId="1076"/>
          <ac:spMkLst>
            <pc:docMk/>
            <pc:sldMk cId="3655601750" sldId="1270"/>
            <ac:spMk id="26" creationId="{B1D423DC-B2DE-40DC-8044-7BF9ED1BA936}"/>
          </ac:spMkLst>
        </pc:spChg>
        <pc:spChg chg="mod">
          <ac:chgData name="Ieva Dzene" userId="36e850b3-6b13-42b6-8b78-9778956e69b6" providerId="ADAL" clId="{2B98E168-295F-4675-91AD-98C27118674C}" dt="2021-08-18T07:41:37.443" v="8342" actId="1076"/>
          <ac:spMkLst>
            <pc:docMk/>
            <pc:sldMk cId="3655601750" sldId="1270"/>
            <ac:spMk id="64" creationId="{43B3A7CD-034A-484D-8135-75E57851235D}"/>
          </ac:spMkLst>
        </pc:spChg>
        <pc:spChg chg="mod">
          <ac:chgData name="Ieva Dzene" userId="36e850b3-6b13-42b6-8b78-9778956e69b6" providerId="ADAL" clId="{2B98E168-295F-4675-91AD-98C27118674C}" dt="2021-08-18T07:41:37.443" v="8342" actId="1076"/>
          <ac:spMkLst>
            <pc:docMk/>
            <pc:sldMk cId="3655601750" sldId="1270"/>
            <ac:spMk id="65" creationId="{167C8E0C-3FA1-43A5-A237-319C6E17B7FE}"/>
          </ac:spMkLst>
        </pc:spChg>
        <pc:spChg chg="mod">
          <ac:chgData name="Ieva Dzene" userId="36e850b3-6b13-42b6-8b78-9778956e69b6" providerId="ADAL" clId="{2B98E168-295F-4675-91AD-98C27118674C}" dt="2021-08-18T07:52:58.812" v="8678" actId="1076"/>
          <ac:spMkLst>
            <pc:docMk/>
            <pc:sldMk cId="3655601750" sldId="1270"/>
            <ac:spMk id="66" creationId="{62443C34-2F63-4BA2-BD47-61015E31769C}"/>
          </ac:spMkLst>
        </pc:spChg>
        <pc:spChg chg="mod">
          <ac:chgData name="Ieva Dzene" userId="36e850b3-6b13-42b6-8b78-9778956e69b6" providerId="ADAL" clId="{2B98E168-295F-4675-91AD-98C27118674C}" dt="2021-08-18T07:41:37.443" v="8342" actId="1076"/>
          <ac:spMkLst>
            <pc:docMk/>
            <pc:sldMk cId="3655601750" sldId="1270"/>
            <ac:spMk id="69" creationId="{CA9F602D-5F15-4814-90B1-40EFE3104D19}"/>
          </ac:spMkLst>
        </pc:spChg>
        <pc:spChg chg="mod">
          <ac:chgData name="Ieva Dzene" userId="36e850b3-6b13-42b6-8b78-9778956e69b6" providerId="ADAL" clId="{2B98E168-295F-4675-91AD-98C27118674C}" dt="2021-08-18T07:41:37.443" v="8342" actId="1076"/>
          <ac:spMkLst>
            <pc:docMk/>
            <pc:sldMk cId="3655601750" sldId="1270"/>
            <ac:spMk id="73" creationId="{AC18D74D-4E0C-482E-BBB7-425B84DA2662}"/>
          </ac:spMkLst>
        </pc:spChg>
        <pc:spChg chg="mod">
          <ac:chgData name="Ieva Dzene" userId="36e850b3-6b13-42b6-8b78-9778956e69b6" providerId="ADAL" clId="{2B98E168-295F-4675-91AD-98C27118674C}" dt="2021-08-18T07:41:37.443" v="8342" actId="1076"/>
          <ac:spMkLst>
            <pc:docMk/>
            <pc:sldMk cId="3655601750" sldId="1270"/>
            <ac:spMk id="78" creationId="{975FC97E-9D9F-48E8-8D3C-27E9413ABFC8}"/>
          </ac:spMkLst>
        </pc:spChg>
        <pc:spChg chg="del mod">
          <ac:chgData name="Ieva Dzene" userId="36e850b3-6b13-42b6-8b78-9778956e69b6" providerId="ADAL" clId="{2B98E168-295F-4675-91AD-98C27118674C}" dt="2021-08-17T11:21:08.344" v="6744" actId="478"/>
          <ac:spMkLst>
            <pc:docMk/>
            <pc:sldMk cId="3655601750" sldId="1270"/>
            <ac:spMk id="79" creationId="{2753DE5A-D165-4E10-9906-CFC5EECD244C}"/>
          </ac:spMkLst>
        </pc:spChg>
        <pc:spChg chg="del">
          <ac:chgData name="Ieva Dzene" userId="36e850b3-6b13-42b6-8b78-9778956e69b6" providerId="ADAL" clId="{2B98E168-295F-4675-91AD-98C27118674C}" dt="2021-08-17T11:21:10.616" v="6746" actId="478"/>
          <ac:spMkLst>
            <pc:docMk/>
            <pc:sldMk cId="3655601750" sldId="1270"/>
            <ac:spMk id="82" creationId="{36E95910-F2D2-47B0-B00C-9E4EE4FCD180}"/>
          </ac:spMkLst>
        </pc:spChg>
        <pc:picChg chg="del">
          <ac:chgData name="Ieva Dzene" userId="36e850b3-6b13-42b6-8b78-9778956e69b6" providerId="ADAL" clId="{2B98E168-295F-4675-91AD-98C27118674C}" dt="2021-08-17T11:21:09.310" v="6745" actId="478"/>
          <ac:picMkLst>
            <pc:docMk/>
            <pc:sldMk cId="3655601750" sldId="1270"/>
            <ac:picMk id="4" creationId="{E6A9F56D-13B7-4B37-A670-6C5D9052658F}"/>
          </ac:picMkLst>
        </pc:picChg>
        <pc:picChg chg="mod">
          <ac:chgData name="Ieva Dzene" userId="36e850b3-6b13-42b6-8b78-9778956e69b6" providerId="ADAL" clId="{2B98E168-295F-4675-91AD-98C27118674C}" dt="2021-08-18T07:41:37.443" v="8342" actId="1076"/>
          <ac:picMkLst>
            <pc:docMk/>
            <pc:sldMk cId="3655601750" sldId="1270"/>
            <ac:picMk id="27" creationId="{EBDE41A6-640D-45D5-93EB-7291ADB9A073}"/>
          </ac:picMkLst>
        </pc:picChg>
        <pc:picChg chg="mod">
          <ac:chgData name="Ieva Dzene" userId="36e850b3-6b13-42b6-8b78-9778956e69b6" providerId="ADAL" clId="{2B98E168-295F-4675-91AD-98C27118674C}" dt="2021-08-18T07:41:37.443" v="8342" actId="1076"/>
          <ac:picMkLst>
            <pc:docMk/>
            <pc:sldMk cId="3655601750" sldId="1270"/>
            <ac:picMk id="74" creationId="{ED2B98DF-B5CD-4024-A85C-AF7B35F07E82}"/>
          </ac:picMkLst>
        </pc:picChg>
        <pc:picChg chg="mod">
          <ac:chgData name="Ieva Dzene" userId="36e850b3-6b13-42b6-8b78-9778956e69b6" providerId="ADAL" clId="{2B98E168-295F-4675-91AD-98C27118674C}" dt="2021-08-18T07:41:37.443" v="8342" actId="1076"/>
          <ac:picMkLst>
            <pc:docMk/>
            <pc:sldMk cId="3655601750" sldId="1270"/>
            <ac:picMk id="75" creationId="{91C27EEB-1F6D-4CC3-9BF9-626403C115E4}"/>
          </ac:picMkLst>
        </pc:picChg>
        <pc:picChg chg="mod">
          <ac:chgData name="Ieva Dzene" userId="36e850b3-6b13-42b6-8b78-9778956e69b6" providerId="ADAL" clId="{2B98E168-295F-4675-91AD-98C27118674C}" dt="2021-08-18T07:41:37.443" v="8342" actId="1076"/>
          <ac:picMkLst>
            <pc:docMk/>
            <pc:sldMk cId="3655601750" sldId="1270"/>
            <ac:picMk id="76" creationId="{16F62885-6663-4290-AAE9-51E9E93363F2}"/>
          </ac:picMkLst>
        </pc:picChg>
        <pc:picChg chg="mod">
          <ac:chgData name="Ieva Dzene" userId="36e850b3-6b13-42b6-8b78-9778956e69b6" providerId="ADAL" clId="{2B98E168-295F-4675-91AD-98C27118674C}" dt="2021-08-18T07:41:37.443" v="8342" actId="1076"/>
          <ac:picMkLst>
            <pc:docMk/>
            <pc:sldMk cId="3655601750" sldId="1270"/>
            <ac:picMk id="77" creationId="{B6669832-41E3-49D5-B506-8E97687E23B8}"/>
          </ac:picMkLst>
        </pc:picChg>
        <pc:picChg chg="del">
          <ac:chgData name="Ieva Dzene" userId="36e850b3-6b13-42b6-8b78-9778956e69b6" providerId="ADAL" clId="{2B98E168-295F-4675-91AD-98C27118674C}" dt="2021-08-17T11:21:11.400" v="6747" actId="478"/>
          <ac:picMkLst>
            <pc:docMk/>
            <pc:sldMk cId="3655601750" sldId="1270"/>
            <ac:picMk id="80" creationId="{CB16DFD9-3460-4798-A5FB-8C845F745040}"/>
          </ac:picMkLst>
        </pc:picChg>
      </pc:sldChg>
      <pc:sldChg chg="modSp mod addCm delCm">
        <pc:chgData name="Ieva Dzene" userId="36e850b3-6b13-42b6-8b78-9778956e69b6" providerId="ADAL" clId="{2B98E168-295F-4675-91AD-98C27118674C}" dt="2021-08-20T09:27:51.995" v="11121" actId="1592"/>
        <pc:sldMkLst>
          <pc:docMk/>
          <pc:sldMk cId="3315475924" sldId="1272"/>
        </pc:sldMkLst>
        <pc:spChg chg="mod">
          <ac:chgData name="Ieva Dzene" userId="36e850b3-6b13-42b6-8b78-9778956e69b6" providerId="ADAL" clId="{2B98E168-295F-4675-91AD-98C27118674C}" dt="2021-08-17T06:34:40.070" v="5639" actId="20577"/>
          <ac:spMkLst>
            <pc:docMk/>
            <pc:sldMk cId="3315475924" sldId="1272"/>
            <ac:spMk id="3" creationId="{7716F4FB-E2A6-4989-A910-CBF8CC87B56B}"/>
          </ac:spMkLst>
        </pc:spChg>
      </pc:sldChg>
      <pc:sldChg chg="modSp mod">
        <pc:chgData name="Ieva Dzene" userId="36e850b3-6b13-42b6-8b78-9778956e69b6" providerId="ADAL" clId="{2B98E168-295F-4675-91AD-98C27118674C}" dt="2021-08-17T07:05:47.724" v="5782" actId="14100"/>
        <pc:sldMkLst>
          <pc:docMk/>
          <pc:sldMk cId="3010360863" sldId="1280"/>
        </pc:sldMkLst>
        <pc:picChg chg="mod">
          <ac:chgData name="Ieva Dzene" userId="36e850b3-6b13-42b6-8b78-9778956e69b6" providerId="ADAL" clId="{2B98E168-295F-4675-91AD-98C27118674C}" dt="2021-08-17T07:05:47.724" v="5782" actId="14100"/>
          <ac:picMkLst>
            <pc:docMk/>
            <pc:sldMk cId="3010360863" sldId="1280"/>
            <ac:picMk id="22" creationId="{7849251A-7E77-488E-A228-D24EFDAB41F8}"/>
          </ac:picMkLst>
        </pc:picChg>
      </pc:sldChg>
      <pc:sldChg chg="modSp mod delCm">
        <pc:chgData name="Ieva Dzene" userId="36e850b3-6b13-42b6-8b78-9778956e69b6" providerId="ADAL" clId="{2B98E168-295F-4675-91AD-98C27118674C}" dt="2021-08-17T12:41:52.761" v="7066" actId="20577"/>
        <pc:sldMkLst>
          <pc:docMk/>
          <pc:sldMk cId="4185054735" sldId="1285"/>
        </pc:sldMkLst>
        <pc:spChg chg="mod">
          <ac:chgData name="Ieva Dzene" userId="36e850b3-6b13-42b6-8b78-9778956e69b6" providerId="ADAL" clId="{2B98E168-295F-4675-91AD-98C27118674C}" dt="2021-08-17T12:41:52.761" v="7066" actId="20577"/>
          <ac:spMkLst>
            <pc:docMk/>
            <pc:sldMk cId="4185054735" sldId="1285"/>
            <ac:spMk id="9" creationId="{0C2B2AB8-6896-40D7-929E-45176AC0F18E}"/>
          </ac:spMkLst>
        </pc:spChg>
      </pc:sldChg>
      <pc:sldChg chg="modSp mod addCm">
        <pc:chgData name="Ieva Dzene" userId="36e850b3-6b13-42b6-8b78-9778956e69b6" providerId="ADAL" clId="{2B98E168-295F-4675-91AD-98C27118674C}" dt="2021-08-17T12:41:36.498" v="7064" actId="1589"/>
        <pc:sldMkLst>
          <pc:docMk/>
          <pc:sldMk cId="1593946341" sldId="1287"/>
        </pc:sldMkLst>
        <pc:picChg chg="mod">
          <ac:chgData name="Ieva Dzene" userId="36e850b3-6b13-42b6-8b78-9778956e69b6" providerId="ADAL" clId="{2B98E168-295F-4675-91AD-98C27118674C}" dt="2021-08-17T12:41:06.468" v="7063" actId="14100"/>
          <ac:picMkLst>
            <pc:docMk/>
            <pc:sldMk cId="1593946341" sldId="1287"/>
            <ac:picMk id="42" creationId="{847E9438-3FF1-489E-A17F-FA5729D7449D}"/>
          </ac:picMkLst>
        </pc:picChg>
      </pc:sldChg>
      <pc:sldChg chg="modSp mod">
        <pc:chgData name="Ieva Dzene" userId="36e850b3-6b13-42b6-8b78-9778956e69b6" providerId="ADAL" clId="{2B98E168-295F-4675-91AD-98C27118674C}" dt="2021-08-09T14:38:44.298" v="233" actId="20577"/>
        <pc:sldMkLst>
          <pc:docMk/>
          <pc:sldMk cId="6323355" sldId="1290"/>
        </pc:sldMkLst>
        <pc:spChg chg="mod">
          <ac:chgData name="Ieva Dzene" userId="36e850b3-6b13-42b6-8b78-9778956e69b6" providerId="ADAL" clId="{2B98E168-295F-4675-91AD-98C27118674C}" dt="2021-08-09T14:38:44.298" v="233" actId="20577"/>
          <ac:spMkLst>
            <pc:docMk/>
            <pc:sldMk cId="6323355" sldId="1290"/>
            <ac:spMk id="3" creationId="{3F5685DE-5CDA-48CF-8110-2F734E749111}"/>
          </ac:spMkLst>
        </pc:spChg>
      </pc:sldChg>
      <pc:sldChg chg="addSp delSp modSp mod">
        <pc:chgData name="Ieva Dzene" userId="36e850b3-6b13-42b6-8b78-9778956e69b6" providerId="ADAL" clId="{2B98E168-295F-4675-91AD-98C27118674C}" dt="2021-08-18T07:57:16.989" v="8756" actId="12"/>
        <pc:sldMkLst>
          <pc:docMk/>
          <pc:sldMk cId="683684442" sldId="1292"/>
        </pc:sldMkLst>
        <pc:spChg chg="mod">
          <ac:chgData name="Ieva Dzene" userId="36e850b3-6b13-42b6-8b78-9778956e69b6" providerId="ADAL" clId="{2B98E168-295F-4675-91AD-98C27118674C}" dt="2021-08-18T07:43:45.030" v="8375" actId="20577"/>
          <ac:spMkLst>
            <pc:docMk/>
            <pc:sldMk cId="683684442" sldId="1292"/>
            <ac:spMk id="3" creationId="{17403686-94D3-4A24-BDEB-07854049E7FA}"/>
          </ac:spMkLst>
        </pc:spChg>
        <pc:spChg chg="del mod">
          <ac:chgData name="Ieva Dzene" userId="36e850b3-6b13-42b6-8b78-9778956e69b6" providerId="ADAL" clId="{2B98E168-295F-4675-91AD-98C27118674C}" dt="2021-08-18T07:43:47.486" v="8376" actId="478"/>
          <ac:spMkLst>
            <pc:docMk/>
            <pc:sldMk cId="683684442" sldId="1292"/>
            <ac:spMk id="6" creationId="{A19744FE-0122-4458-A703-1ED9355A7C5F}"/>
          </ac:spMkLst>
        </pc:spChg>
        <pc:spChg chg="mod">
          <ac:chgData name="Ieva Dzene" userId="36e850b3-6b13-42b6-8b78-9778956e69b6" providerId="ADAL" clId="{2B98E168-295F-4675-91AD-98C27118674C}" dt="2021-08-18T07:57:16.989" v="8756" actId="12"/>
          <ac:spMkLst>
            <pc:docMk/>
            <pc:sldMk cId="683684442" sldId="1292"/>
            <ac:spMk id="27" creationId="{82C1FBD4-E916-4C3E-BE64-6D5AB2E4B4DD}"/>
          </ac:spMkLst>
        </pc:spChg>
        <pc:picChg chg="add mod">
          <ac:chgData name="Ieva Dzene" userId="36e850b3-6b13-42b6-8b78-9778956e69b6" providerId="ADAL" clId="{2B98E168-295F-4675-91AD-98C27118674C}" dt="2021-08-18T07:57:03.669" v="8752" actId="1076"/>
          <ac:picMkLst>
            <pc:docMk/>
            <pc:sldMk cId="683684442" sldId="1292"/>
            <ac:picMk id="4" creationId="{B5990CE1-0790-4C63-9E5D-0DCB8348AAB0}"/>
          </ac:picMkLst>
        </pc:picChg>
      </pc:sldChg>
      <pc:sldChg chg="addSp delSp modSp add mod modAnim">
        <pc:chgData name="Ieva Dzene" userId="36e850b3-6b13-42b6-8b78-9778956e69b6" providerId="ADAL" clId="{2B98E168-295F-4675-91AD-98C27118674C}" dt="2021-08-31T14:20:23.191" v="11157" actId="14100"/>
        <pc:sldMkLst>
          <pc:docMk/>
          <pc:sldMk cId="785397179" sldId="1293"/>
        </pc:sldMkLst>
        <pc:spChg chg="mod">
          <ac:chgData name="Ieva Dzene" userId="36e850b3-6b13-42b6-8b78-9778956e69b6" providerId="ADAL" clId="{2B98E168-295F-4675-91AD-98C27118674C}" dt="2021-08-18T07:27:04.976" v="7961" actId="20577"/>
          <ac:spMkLst>
            <pc:docMk/>
            <pc:sldMk cId="785397179" sldId="1293"/>
            <ac:spMk id="3" creationId="{17403686-94D3-4A24-BDEB-07854049E7FA}"/>
          </ac:spMkLst>
        </pc:spChg>
        <pc:spChg chg="del mod">
          <ac:chgData name="Ieva Dzene" userId="36e850b3-6b13-42b6-8b78-9778956e69b6" providerId="ADAL" clId="{2B98E168-295F-4675-91AD-98C27118674C}" dt="2021-08-18T07:27:10.728" v="7963" actId="478"/>
          <ac:spMkLst>
            <pc:docMk/>
            <pc:sldMk cId="785397179" sldId="1293"/>
            <ac:spMk id="6" creationId="{A19744FE-0122-4458-A703-1ED9355A7C5F}"/>
          </ac:spMkLst>
        </pc:spChg>
        <pc:spChg chg="add mod">
          <ac:chgData name="Ieva Dzene" userId="36e850b3-6b13-42b6-8b78-9778956e69b6" providerId="ADAL" clId="{2B98E168-295F-4675-91AD-98C27118674C}" dt="2021-08-18T07:27:31.102" v="7966" actId="1076"/>
          <ac:spMkLst>
            <pc:docMk/>
            <pc:sldMk cId="785397179" sldId="1293"/>
            <ac:spMk id="7" creationId="{3841C564-663B-44D7-A1DF-4C6CEC04B4C3}"/>
          </ac:spMkLst>
        </pc:spChg>
        <pc:spChg chg="add del mod">
          <ac:chgData name="Ieva Dzene" userId="36e850b3-6b13-42b6-8b78-9778956e69b6" providerId="ADAL" clId="{2B98E168-295F-4675-91AD-98C27118674C}" dt="2021-08-18T07:27:11.922" v="7964" actId="478"/>
          <ac:spMkLst>
            <pc:docMk/>
            <pc:sldMk cId="785397179" sldId="1293"/>
            <ac:spMk id="8" creationId="{CB4A2006-64D3-46CE-B072-AC8E90EEB449}"/>
          </ac:spMkLst>
        </pc:spChg>
        <pc:spChg chg="add mod">
          <ac:chgData name="Ieva Dzene" userId="36e850b3-6b13-42b6-8b78-9778956e69b6" providerId="ADAL" clId="{2B98E168-295F-4675-91AD-98C27118674C}" dt="2021-08-18T07:27:31.102" v="7966" actId="1076"/>
          <ac:spMkLst>
            <pc:docMk/>
            <pc:sldMk cId="785397179" sldId="1293"/>
            <ac:spMk id="9" creationId="{83FE15E9-CE32-4FEF-BD6B-7F5A16C8E5C3}"/>
          </ac:spMkLst>
        </pc:spChg>
        <pc:spChg chg="mod">
          <ac:chgData name="Ieva Dzene" userId="36e850b3-6b13-42b6-8b78-9778956e69b6" providerId="ADAL" clId="{2B98E168-295F-4675-91AD-98C27118674C}" dt="2021-08-18T07:27:16.434" v="7965" actId="1076"/>
          <ac:spMkLst>
            <pc:docMk/>
            <pc:sldMk cId="785397179" sldId="1293"/>
            <ac:spMk id="27" creationId="{82C1FBD4-E916-4C3E-BE64-6D5AB2E4B4DD}"/>
          </ac:spMkLst>
        </pc:spChg>
        <pc:picChg chg="add mod modCrop">
          <ac:chgData name="Ieva Dzene" userId="36e850b3-6b13-42b6-8b78-9778956e69b6" providerId="ADAL" clId="{2B98E168-295F-4675-91AD-98C27118674C}" dt="2021-08-18T07:27:31.102" v="7966" actId="1076"/>
          <ac:picMkLst>
            <pc:docMk/>
            <pc:sldMk cId="785397179" sldId="1293"/>
            <ac:picMk id="5" creationId="{9B0E0323-D5D1-43ED-913E-E63C30112F84}"/>
          </ac:picMkLst>
        </pc:picChg>
        <pc:cxnChg chg="add mod">
          <ac:chgData name="Ieva Dzene" userId="36e850b3-6b13-42b6-8b78-9778956e69b6" providerId="ADAL" clId="{2B98E168-295F-4675-91AD-98C27118674C}" dt="2021-08-31T14:20:23.191" v="11157" actId="14100"/>
          <ac:cxnSpMkLst>
            <pc:docMk/>
            <pc:sldMk cId="785397179" sldId="1293"/>
            <ac:cxnSpMk id="4" creationId="{4034ACD3-97C8-4A16-95D3-5A040778F127}"/>
          </ac:cxnSpMkLst>
        </pc:cxnChg>
        <pc:cxnChg chg="add del">
          <ac:chgData name="Ieva Dzene" userId="36e850b3-6b13-42b6-8b78-9778956e69b6" providerId="ADAL" clId="{2B98E168-295F-4675-91AD-98C27118674C}" dt="2021-08-11T07:03:49.482" v="4935" actId="11529"/>
          <ac:cxnSpMkLst>
            <pc:docMk/>
            <pc:sldMk cId="785397179" sldId="1293"/>
            <ac:cxnSpMk id="13" creationId="{9C980285-0454-4447-A577-9638B695C44D}"/>
          </ac:cxnSpMkLst>
        </pc:cxnChg>
      </pc:sldChg>
      <pc:sldChg chg="addSp delSp modSp add mod addAnim delAnim modAnim">
        <pc:chgData name="Ieva Dzene" userId="36e850b3-6b13-42b6-8b78-9778956e69b6" providerId="ADAL" clId="{2B98E168-295F-4675-91AD-98C27118674C}" dt="2021-08-18T08:51:31.901" v="9783"/>
        <pc:sldMkLst>
          <pc:docMk/>
          <pc:sldMk cId="826215798" sldId="1294"/>
        </pc:sldMkLst>
        <pc:spChg chg="mod">
          <ac:chgData name="Ieva Dzene" userId="36e850b3-6b13-42b6-8b78-9778956e69b6" providerId="ADAL" clId="{2B98E168-295F-4675-91AD-98C27118674C}" dt="2021-08-18T07:33:50.760" v="8231"/>
          <ac:spMkLst>
            <pc:docMk/>
            <pc:sldMk cId="826215798" sldId="1294"/>
            <ac:spMk id="3" creationId="{17403686-94D3-4A24-BDEB-07854049E7FA}"/>
          </ac:spMkLst>
        </pc:spChg>
        <pc:spChg chg="add del mod">
          <ac:chgData name="Ieva Dzene" userId="36e850b3-6b13-42b6-8b78-9778956e69b6" providerId="ADAL" clId="{2B98E168-295F-4675-91AD-98C27118674C}" dt="2021-08-18T07:33:58.238" v="8233" actId="478"/>
          <ac:spMkLst>
            <pc:docMk/>
            <pc:sldMk cId="826215798" sldId="1294"/>
            <ac:spMk id="4" creationId="{638AC100-D745-4C19-8A68-58A168DD31B6}"/>
          </ac:spMkLst>
        </pc:spChg>
        <pc:spChg chg="del mod">
          <ac:chgData name="Ieva Dzene" userId="36e850b3-6b13-42b6-8b78-9778956e69b6" providerId="ADAL" clId="{2B98E168-295F-4675-91AD-98C27118674C}" dt="2021-08-18T07:33:56.551" v="8232" actId="478"/>
          <ac:spMkLst>
            <pc:docMk/>
            <pc:sldMk cId="826215798" sldId="1294"/>
            <ac:spMk id="6" creationId="{A19744FE-0122-4458-A703-1ED9355A7C5F}"/>
          </ac:spMkLst>
        </pc:spChg>
        <pc:spChg chg="add del mod ord">
          <ac:chgData name="Ieva Dzene" userId="36e850b3-6b13-42b6-8b78-9778956e69b6" providerId="ADAL" clId="{2B98E168-295F-4675-91AD-98C27118674C}" dt="2021-08-17T08:51:27.452" v="6410" actId="478"/>
          <ac:spMkLst>
            <pc:docMk/>
            <pc:sldMk cId="826215798" sldId="1294"/>
            <ac:spMk id="9" creationId="{D68BCFB4-B632-4765-91BB-D4B7CFFE4227}"/>
          </ac:spMkLst>
        </pc:spChg>
        <pc:spChg chg="add mod ord">
          <ac:chgData name="Ieva Dzene" userId="36e850b3-6b13-42b6-8b78-9778956e69b6" providerId="ADAL" clId="{2B98E168-295F-4675-91AD-98C27118674C}" dt="2021-08-18T07:34:05.210" v="8235" actId="1076"/>
          <ac:spMkLst>
            <pc:docMk/>
            <pc:sldMk cId="826215798" sldId="1294"/>
            <ac:spMk id="10" creationId="{CE0C404A-E8C2-4FCF-9DBC-DDBDE8444FF5}"/>
          </ac:spMkLst>
        </pc:spChg>
        <pc:spChg chg="add del mod">
          <ac:chgData name="Ieva Dzene" userId="36e850b3-6b13-42b6-8b78-9778956e69b6" providerId="ADAL" clId="{2B98E168-295F-4675-91AD-98C27118674C}" dt="2021-08-10T07:39:03.872" v="627"/>
          <ac:spMkLst>
            <pc:docMk/>
            <pc:sldMk cId="826215798" sldId="1294"/>
            <ac:spMk id="11" creationId="{768AF3EF-0B97-4F67-B6A2-B36926D7139E}"/>
          </ac:spMkLst>
        </pc:spChg>
        <pc:spChg chg="add mod ord">
          <ac:chgData name="Ieva Dzene" userId="36e850b3-6b13-42b6-8b78-9778956e69b6" providerId="ADAL" clId="{2B98E168-295F-4675-91AD-98C27118674C}" dt="2021-08-18T07:34:05.210" v="8235" actId="1076"/>
          <ac:spMkLst>
            <pc:docMk/>
            <pc:sldMk cId="826215798" sldId="1294"/>
            <ac:spMk id="12" creationId="{AA0B6366-D75C-461E-8FC1-D1E37611540D}"/>
          </ac:spMkLst>
        </pc:spChg>
        <pc:spChg chg="add mod">
          <ac:chgData name="Ieva Dzene" userId="36e850b3-6b13-42b6-8b78-9778956e69b6" providerId="ADAL" clId="{2B98E168-295F-4675-91AD-98C27118674C}" dt="2021-08-18T07:34:05.210" v="8235" actId="1076"/>
          <ac:spMkLst>
            <pc:docMk/>
            <pc:sldMk cId="826215798" sldId="1294"/>
            <ac:spMk id="19" creationId="{05A8C11F-E6EB-4F15-A5AC-54274DB0F8B3}"/>
          </ac:spMkLst>
        </pc:spChg>
        <pc:spChg chg="mod">
          <ac:chgData name="Ieva Dzene" userId="36e850b3-6b13-42b6-8b78-9778956e69b6" providerId="ADAL" clId="{2B98E168-295F-4675-91AD-98C27118674C}" dt="2021-08-18T07:34:00.759" v="8234" actId="1076"/>
          <ac:spMkLst>
            <pc:docMk/>
            <pc:sldMk cId="826215798" sldId="1294"/>
            <ac:spMk id="27" creationId="{82C1FBD4-E916-4C3E-BE64-6D5AB2E4B4DD}"/>
          </ac:spMkLst>
        </pc:spChg>
        <pc:picChg chg="add del mod">
          <ac:chgData name="Ieva Dzene" userId="36e850b3-6b13-42b6-8b78-9778956e69b6" providerId="ADAL" clId="{2B98E168-295F-4675-91AD-98C27118674C}" dt="2021-08-10T06:46:33.353" v="404" actId="478"/>
          <ac:picMkLst>
            <pc:docMk/>
            <pc:sldMk cId="826215798" sldId="1294"/>
            <ac:picMk id="4" creationId="{A81F3BB5-6857-4E70-A896-13841F6BD1B1}"/>
          </ac:picMkLst>
        </pc:picChg>
        <pc:picChg chg="add del mod ord">
          <ac:chgData name="Ieva Dzene" userId="36e850b3-6b13-42b6-8b78-9778956e69b6" providerId="ADAL" clId="{2B98E168-295F-4675-91AD-98C27118674C}" dt="2021-08-17T08:01:54.817" v="6315" actId="478"/>
          <ac:picMkLst>
            <pc:docMk/>
            <pc:sldMk cId="826215798" sldId="1294"/>
            <ac:picMk id="4" creationId="{E980B546-C344-4CDC-979B-DDB23DEC0983}"/>
          </ac:picMkLst>
        </pc:picChg>
        <pc:picChg chg="add del mod">
          <ac:chgData name="Ieva Dzene" userId="36e850b3-6b13-42b6-8b78-9778956e69b6" providerId="ADAL" clId="{2B98E168-295F-4675-91AD-98C27118674C}" dt="2021-08-17T08:18:26.325" v="6317" actId="478"/>
          <ac:picMkLst>
            <pc:docMk/>
            <pc:sldMk cId="826215798" sldId="1294"/>
            <ac:picMk id="5" creationId="{01DDBE73-DE14-4B1B-A954-8F93D4BDF08E}"/>
          </ac:picMkLst>
        </pc:picChg>
        <pc:picChg chg="add del mod">
          <ac:chgData name="Ieva Dzene" userId="36e850b3-6b13-42b6-8b78-9778956e69b6" providerId="ADAL" clId="{2B98E168-295F-4675-91AD-98C27118674C}" dt="2021-08-17T08:18:25.145" v="6316" actId="478"/>
          <ac:picMkLst>
            <pc:docMk/>
            <pc:sldMk cId="826215798" sldId="1294"/>
            <ac:picMk id="8" creationId="{BC81C7EF-420D-4F10-B64B-47D815D7055B}"/>
          </ac:picMkLst>
        </pc:picChg>
        <pc:picChg chg="add del mod ord">
          <ac:chgData name="Ieva Dzene" userId="36e850b3-6b13-42b6-8b78-9778956e69b6" providerId="ADAL" clId="{2B98E168-295F-4675-91AD-98C27118674C}" dt="2021-08-17T08:19:12.023" v="6324" actId="478"/>
          <ac:picMkLst>
            <pc:docMk/>
            <pc:sldMk cId="826215798" sldId="1294"/>
            <ac:picMk id="11" creationId="{D6AEB57F-9B5D-4B20-A2D9-5E9EDA677DBA}"/>
          </ac:picMkLst>
        </pc:picChg>
        <pc:picChg chg="add del mod">
          <ac:chgData name="Ieva Dzene" userId="36e850b3-6b13-42b6-8b78-9778956e69b6" providerId="ADAL" clId="{2B98E168-295F-4675-91AD-98C27118674C}" dt="2021-08-17T07:49:09.261" v="6292"/>
          <ac:picMkLst>
            <pc:docMk/>
            <pc:sldMk cId="826215798" sldId="1294"/>
            <ac:picMk id="13" creationId="{B1181A60-B166-4A2B-A6C7-364E470E7C99}"/>
          </ac:picMkLst>
        </pc:picChg>
        <pc:picChg chg="add del mod modCrop">
          <ac:chgData name="Ieva Dzene" userId="36e850b3-6b13-42b6-8b78-9778956e69b6" providerId="ADAL" clId="{2B98E168-295F-4675-91AD-98C27118674C}" dt="2021-08-17T08:49:55.385" v="6380" actId="478"/>
          <ac:picMkLst>
            <pc:docMk/>
            <pc:sldMk cId="826215798" sldId="1294"/>
            <ac:picMk id="15" creationId="{676C5595-2256-4851-A581-5871879C320A}"/>
          </ac:picMkLst>
        </pc:picChg>
        <pc:picChg chg="add mod ord">
          <ac:chgData name="Ieva Dzene" userId="36e850b3-6b13-42b6-8b78-9778956e69b6" providerId="ADAL" clId="{2B98E168-295F-4675-91AD-98C27118674C}" dt="2021-08-18T07:34:05.210" v="8235" actId="1076"/>
          <ac:picMkLst>
            <pc:docMk/>
            <pc:sldMk cId="826215798" sldId="1294"/>
            <ac:picMk id="17" creationId="{795FEDD3-0CDB-41B2-B2B4-8361F32987F5}"/>
          </ac:picMkLst>
        </pc:picChg>
      </pc:sldChg>
      <pc:sldChg chg="addSp delSp modSp add mod ord delAnim modAnim addCm delCm modCm">
        <pc:chgData name="Ieva Dzene" userId="36e850b3-6b13-42b6-8b78-9778956e69b6" providerId="ADAL" clId="{2B98E168-295F-4675-91AD-98C27118674C}" dt="2021-08-18T12:26:57.975" v="11119" actId="1592"/>
        <pc:sldMkLst>
          <pc:docMk/>
          <pc:sldMk cId="2336422869" sldId="1295"/>
        </pc:sldMkLst>
        <pc:spChg chg="mod">
          <ac:chgData name="Ieva Dzene" userId="36e850b3-6b13-42b6-8b78-9778956e69b6" providerId="ADAL" clId="{2B98E168-295F-4675-91AD-98C27118674C}" dt="2021-08-18T07:31:28.956" v="8152" actId="20577"/>
          <ac:spMkLst>
            <pc:docMk/>
            <pc:sldMk cId="2336422869" sldId="1295"/>
            <ac:spMk id="3" creationId="{17403686-94D3-4A24-BDEB-07854049E7FA}"/>
          </ac:spMkLst>
        </pc:spChg>
        <pc:spChg chg="add del mod">
          <ac:chgData name="Ieva Dzene" userId="36e850b3-6b13-42b6-8b78-9778956e69b6" providerId="ADAL" clId="{2B98E168-295F-4675-91AD-98C27118674C}" dt="2021-08-18T07:31:34.293" v="8155" actId="478"/>
          <ac:spMkLst>
            <pc:docMk/>
            <pc:sldMk cId="2336422869" sldId="1295"/>
            <ac:spMk id="4" creationId="{9D5D0EF4-20A4-4131-BE1B-A9C09FD906FB}"/>
          </ac:spMkLst>
        </pc:spChg>
        <pc:spChg chg="del mod">
          <ac:chgData name="Ieva Dzene" userId="36e850b3-6b13-42b6-8b78-9778956e69b6" providerId="ADAL" clId="{2B98E168-295F-4675-91AD-98C27118674C}" dt="2021-08-18T07:31:32.411" v="8154" actId="478"/>
          <ac:spMkLst>
            <pc:docMk/>
            <pc:sldMk cId="2336422869" sldId="1295"/>
            <ac:spMk id="6" creationId="{A19744FE-0122-4458-A703-1ED9355A7C5F}"/>
          </ac:spMkLst>
        </pc:spChg>
        <pc:spChg chg="add mod ord">
          <ac:chgData name="Ieva Dzene" userId="36e850b3-6b13-42b6-8b78-9778956e69b6" providerId="ADAL" clId="{2B98E168-295F-4675-91AD-98C27118674C}" dt="2021-08-18T08:24:32.153" v="9237" actId="14100"/>
          <ac:spMkLst>
            <pc:docMk/>
            <pc:sldMk cId="2336422869" sldId="1295"/>
            <ac:spMk id="15" creationId="{2B24B593-15DD-43BD-A803-4D48647CED90}"/>
          </ac:spMkLst>
        </pc:spChg>
        <pc:spChg chg="add mod ord">
          <ac:chgData name="Ieva Dzene" userId="36e850b3-6b13-42b6-8b78-9778956e69b6" providerId="ADAL" clId="{2B98E168-295F-4675-91AD-98C27118674C}" dt="2021-08-18T08:24:19.227" v="9234" actId="14100"/>
          <ac:spMkLst>
            <pc:docMk/>
            <pc:sldMk cId="2336422869" sldId="1295"/>
            <ac:spMk id="16" creationId="{1C305D3B-EBEA-4A02-9812-5501F0FE1D7F}"/>
          </ac:spMkLst>
        </pc:spChg>
        <pc:spChg chg="add del mod ord">
          <ac:chgData name="Ieva Dzene" userId="36e850b3-6b13-42b6-8b78-9778956e69b6" providerId="ADAL" clId="{2B98E168-295F-4675-91AD-98C27118674C}" dt="2021-08-18T08:12:14.305" v="9125" actId="478"/>
          <ac:spMkLst>
            <pc:docMk/>
            <pc:sldMk cId="2336422869" sldId="1295"/>
            <ac:spMk id="17" creationId="{5A12DD47-3434-4D06-BDE7-A12C149DCD99}"/>
          </ac:spMkLst>
        </pc:spChg>
        <pc:spChg chg="add mod">
          <ac:chgData name="Ieva Dzene" userId="36e850b3-6b13-42b6-8b78-9778956e69b6" providerId="ADAL" clId="{2B98E168-295F-4675-91AD-98C27118674C}" dt="2021-08-18T08:24:28.362" v="9236" actId="14100"/>
          <ac:spMkLst>
            <pc:docMk/>
            <pc:sldMk cId="2336422869" sldId="1295"/>
            <ac:spMk id="18" creationId="{551CC4D3-A85B-4CDC-8B43-01D64EDC30EC}"/>
          </ac:spMkLst>
        </pc:spChg>
        <pc:spChg chg="add mod">
          <ac:chgData name="Ieva Dzene" userId="36e850b3-6b13-42b6-8b78-9778956e69b6" providerId="ADAL" clId="{2B98E168-295F-4675-91AD-98C27118674C}" dt="2021-08-18T08:23:01.896" v="9200" actId="1076"/>
          <ac:spMkLst>
            <pc:docMk/>
            <pc:sldMk cId="2336422869" sldId="1295"/>
            <ac:spMk id="19" creationId="{B907FC42-4B2D-4119-AEA0-F2A3EA0C4ED5}"/>
          </ac:spMkLst>
        </pc:spChg>
        <pc:spChg chg="add mod">
          <ac:chgData name="Ieva Dzene" userId="36e850b3-6b13-42b6-8b78-9778956e69b6" providerId="ADAL" clId="{2B98E168-295F-4675-91AD-98C27118674C}" dt="2021-08-18T08:49:57.008" v="9782" actId="20577"/>
          <ac:spMkLst>
            <pc:docMk/>
            <pc:sldMk cId="2336422869" sldId="1295"/>
            <ac:spMk id="20" creationId="{2C51D116-5837-48BE-9818-8A44F6297464}"/>
          </ac:spMkLst>
        </pc:spChg>
        <pc:spChg chg="mod">
          <ac:chgData name="Ieva Dzene" userId="36e850b3-6b13-42b6-8b78-9778956e69b6" providerId="ADAL" clId="{2B98E168-295F-4675-91AD-98C27118674C}" dt="2021-08-18T08:23:25.069" v="9225" actId="5793"/>
          <ac:spMkLst>
            <pc:docMk/>
            <pc:sldMk cId="2336422869" sldId="1295"/>
            <ac:spMk id="27" creationId="{82C1FBD4-E916-4C3E-BE64-6D5AB2E4B4DD}"/>
          </ac:spMkLst>
        </pc:spChg>
        <pc:picChg chg="add del mod">
          <ac:chgData name="Ieva Dzene" userId="36e850b3-6b13-42b6-8b78-9778956e69b6" providerId="ADAL" clId="{2B98E168-295F-4675-91AD-98C27118674C}" dt="2021-08-10T06:46:30.797" v="402" actId="478"/>
          <ac:picMkLst>
            <pc:docMk/>
            <pc:sldMk cId="2336422869" sldId="1295"/>
            <ac:picMk id="4" creationId="{2CF50860-D37C-4A01-AC26-C131D4B8B509}"/>
          </ac:picMkLst>
        </pc:picChg>
        <pc:picChg chg="add del">
          <ac:chgData name="Ieva Dzene" userId="36e850b3-6b13-42b6-8b78-9778956e69b6" providerId="ADAL" clId="{2B98E168-295F-4675-91AD-98C27118674C}" dt="2021-08-10T06:46:48.817" v="406" actId="22"/>
          <ac:picMkLst>
            <pc:docMk/>
            <pc:sldMk cId="2336422869" sldId="1295"/>
            <ac:picMk id="5" creationId="{2B165383-3B70-4F3B-A052-FBF7BDACD97F}"/>
          </ac:picMkLst>
        </pc:picChg>
        <pc:picChg chg="add mod">
          <ac:chgData name="Ieva Dzene" userId="36e850b3-6b13-42b6-8b78-9778956e69b6" providerId="ADAL" clId="{2B98E168-295F-4675-91AD-98C27118674C}" dt="2021-08-18T08:23:35.681" v="9227" actId="1076"/>
          <ac:picMkLst>
            <pc:docMk/>
            <pc:sldMk cId="2336422869" sldId="1295"/>
            <ac:picMk id="7" creationId="{767C362C-3A79-47A1-9ABD-E11C6224CD93}"/>
          </ac:picMkLst>
        </pc:picChg>
        <pc:picChg chg="add del mod">
          <ac:chgData name="Ieva Dzene" userId="36e850b3-6b13-42b6-8b78-9778956e69b6" providerId="ADAL" clId="{2B98E168-295F-4675-91AD-98C27118674C}" dt="2021-08-10T06:46:31.736" v="403" actId="478"/>
          <ac:picMkLst>
            <pc:docMk/>
            <pc:sldMk cId="2336422869" sldId="1295"/>
            <ac:picMk id="7" creationId="{DDFBBD98-BF65-4C92-9B24-D66E8BC125F1}"/>
          </ac:picMkLst>
        </pc:picChg>
        <pc:picChg chg="add del mod">
          <ac:chgData name="Ieva Dzene" userId="36e850b3-6b13-42b6-8b78-9778956e69b6" providerId="ADAL" clId="{2B98E168-295F-4675-91AD-98C27118674C}" dt="2021-08-18T08:10:15.998" v="9098" actId="478"/>
          <ac:picMkLst>
            <pc:docMk/>
            <pc:sldMk cId="2336422869" sldId="1295"/>
            <ac:picMk id="9" creationId="{29DBAF6E-0A39-474F-B993-7EB0F1F16CE2}"/>
          </ac:picMkLst>
        </pc:picChg>
        <pc:picChg chg="add del mod">
          <ac:chgData name="Ieva Dzene" userId="36e850b3-6b13-42b6-8b78-9778956e69b6" providerId="ADAL" clId="{2B98E168-295F-4675-91AD-98C27118674C}" dt="2021-08-09T14:55:27.844" v="326" actId="22"/>
          <ac:picMkLst>
            <pc:docMk/>
            <pc:sldMk cId="2336422869" sldId="1295"/>
            <ac:picMk id="9" creationId="{563E24EA-8E81-4976-9727-5FE6E54442FA}"/>
          </ac:picMkLst>
        </pc:picChg>
        <pc:picChg chg="add del mod ord">
          <ac:chgData name="Ieva Dzene" userId="36e850b3-6b13-42b6-8b78-9778956e69b6" providerId="ADAL" clId="{2B98E168-295F-4675-91AD-98C27118674C}" dt="2021-08-18T07:59:23.910" v="8764" actId="478"/>
          <ac:picMkLst>
            <pc:docMk/>
            <pc:sldMk cId="2336422869" sldId="1295"/>
            <ac:picMk id="11" creationId="{D9D8ED44-FBB8-410F-B6FE-EF7E9BA7E754}"/>
          </ac:picMkLst>
        </pc:picChg>
        <pc:picChg chg="add del mod ord">
          <ac:chgData name="Ieva Dzene" userId="36e850b3-6b13-42b6-8b78-9778956e69b6" providerId="ADAL" clId="{2B98E168-295F-4675-91AD-98C27118674C}" dt="2021-08-18T07:59:19.027" v="8761" actId="478"/>
          <ac:picMkLst>
            <pc:docMk/>
            <pc:sldMk cId="2336422869" sldId="1295"/>
            <ac:picMk id="13" creationId="{136CE461-38F6-4CC7-92D3-F18B07D473F5}"/>
          </ac:picMkLst>
        </pc:picChg>
      </pc:sldChg>
      <pc:sldChg chg="addSp delSp modSp add del mod ord setBg addAnim delAnim modAnim">
        <pc:chgData name="Ieva Dzene" userId="36e850b3-6b13-42b6-8b78-9778956e69b6" providerId="ADAL" clId="{2B98E168-295F-4675-91AD-98C27118674C}" dt="2021-08-11T06:53:16.262" v="4843" actId="2696"/>
        <pc:sldMkLst>
          <pc:docMk/>
          <pc:sldMk cId="2696813582" sldId="1296"/>
        </pc:sldMkLst>
        <pc:spChg chg="mod">
          <ac:chgData name="Ieva Dzene" userId="36e850b3-6b13-42b6-8b78-9778956e69b6" providerId="ADAL" clId="{2B98E168-295F-4675-91AD-98C27118674C}" dt="2021-08-11T06:41:17.518" v="4669"/>
          <ac:spMkLst>
            <pc:docMk/>
            <pc:sldMk cId="2696813582" sldId="1296"/>
            <ac:spMk id="3" creationId="{17403686-94D3-4A24-BDEB-07854049E7FA}"/>
          </ac:spMkLst>
        </pc:spChg>
        <pc:spChg chg="mod">
          <ac:chgData name="Ieva Dzene" userId="36e850b3-6b13-42b6-8b78-9778956e69b6" providerId="ADAL" clId="{2B98E168-295F-4675-91AD-98C27118674C}" dt="2021-08-11T06:41:17.518" v="4669"/>
          <ac:spMkLst>
            <pc:docMk/>
            <pc:sldMk cId="2696813582" sldId="1296"/>
            <ac:spMk id="6" creationId="{A19744FE-0122-4458-A703-1ED9355A7C5F}"/>
          </ac:spMkLst>
        </pc:spChg>
        <pc:spChg chg="add del">
          <ac:chgData name="Ieva Dzene" userId="36e850b3-6b13-42b6-8b78-9778956e69b6" providerId="ADAL" clId="{2B98E168-295F-4675-91AD-98C27118674C}" dt="2021-08-10T07:31:54.711" v="592" actId="478"/>
          <ac:spMkLst>
            <pc:docMk/>
            <pc:sldMk cId="2696813582" sldId="1296"/>
            <ac:spMk id="10" creationId="{CE0C404A-E8C2-4FCF-9DBC-DDBDE8444FF5}"/>
          </ac:spMkLst>
        </pc:spChg>
        <pc:spChg chg="add del mod">
          <ac:chgData name="Ieva Dzene" userId="36e850b3-6b13-42b6-8b78-9778956e69b6" providerId="ADAL" clId="{2B98E168-295F-4675-91AD-98C27118674C}" dt="2021-08-10T10:01:47.801" v="2230" actId="478"/>
          <ac:spMkLst>
            <pc:docMk/>
            <pc:sldMk cId="2696813582" sldId="1296"/>
            <ac:spMk id="11" creationId="{AC5A708B-0751-4059-B420-B5DB2D983032}"/>
          </ac:spMkLst>
        </pc:spChg>
        <pc:spChg chg="add del mod">
          <ac:chgData name="Ieva Dzene" userId="36e850b3-6b13-42b6-8b78-9778956e69b6" providerId="ADAL" clId="{2B98E168-295F-4675-91AD-98C27118674C}" dt="2021-08-10T10:01:42.106" v="2229" actId="478"/>
          <ac:spMkLst>
            <pc:docMk/>
            <pc:sldMk cId="2696813582" sldId="1296"/>
            <ac:spMk id="13" creationId="{EDC38E80-4437-4B3C-8A7E-AA84319C42AD}"/>
          </ac:spMkLst>
        </pc:spChg>
        <pc:spChg chg="add del mod">
          <ac:chgData name="Ieva Dzene" userId="36e850b3-6b13-42b6-8b78-9778956e69b6" providerId="ADAL" clId="{2B98E168-295F-4675-91AD-98C27118674C}" dt="2021-08-11T06:39:09.071" v="4646" actId="478"/>
          <ac:spMkLst>
            <pc:docMk/>
            <pc:sldMk cId="2696813582" sldId="1296"/>
            <ac:spMk id="14" creationId="{E8105B38-795E-499F-8EB5-9A3CA9759175}"/>
          </ac:spMkLst>
        </pc:spChg>
        <pc:spChg chg="add del mod">
          <ac:chgData name="Ieva Dzene" userId="36e850b3-6b13-42b6-8b78-9778956e69b6" providerId="ADAL" clId="{2B98E168-295F-4675-91AD-98C27118674C}" dt="2021-08-11T06:39:11.611" v="4648" actId="478"/>
          <ac:spMkLst>
            <pc:docMk/>
            <pc:sldMk cId="2696813582" sldId="1296"/>
            <ac:spMk id="15" creationId="{56A6E66A-B05A-4BA5-93E6-F287F4E2BB6D}"/>
          </ac:spMkLst>
        </pc:spChg>
        <pc:spChg chg="add del mod">
          <ac:chgData name="Ieva Dzene" userId="36e850b3-6b13-42b6-8b78-9778956e69b6" providerId="ADAL" clId="{2B98E168-295F-4675-91AD-98C27118674C}" dt="2021-08-11T06:39:12.728" v="4649" actId="478"/>
          <ac:spMkLst>
            <pc:docMk/>
            <pc:sldMk cId="2696813582" sldId="1296"/>
            <ac:spMk id="16" creationId="{11579AF8-D443-46EB-838D-97DB77F1EC89}"/>
          </ac:spMkLst>
        </pc:spChg>
        <pc:spChg chg="add del mod">
          <ac:chgData name="Ieva Dzene" userId="36e850b3-6b13-42b6-8b78-9778956e69b6" providerId="ADAL" clId="{2B98E168-295F-4675-91AD-98C27118674C}" dt="2021-08-10T11:53:32.135" v="4421"/>
          <ac:spMkLst>
            <pc:docMk/>
            <pc:sldMk cId="2696813582" sldId="1296"/>
            <ac:spMk id="17" creationId="{6637DAC3-E6E4-437C-8A94-817E7E3CAE42}"/>
          </ac:spMkLst>
        </pc:spChg>
        <pc:spChg chg="add del mod">
          <ac:chgData name="Ieva Dzene" userId="36e850b3-6b13-42b6-8b78-9778956e69b6" providerId="ADAL" clId="{2B98E168-295F-4675-91AD-98C27118674C}" dt="2021-08-10T10:10:51.455" v="2536" actId="478"/>
          <ac:spMkLst>
            <pc:docMk/>
            <pc:sldMk cId="2696813582" sldId="1296"/>
            <ac:spMk id="17" creationId="{D57120D8-7AB5-4668-A5B1-969CC278D8E0}"/>
          </ac:spMkLst>
        </pc:spChg>
        <pc:spChg chg="add del mod">
          <ac:chgData name="Ieva Dzene" userId="36e850b3-6b13-42b6-8b78-9778956e69b6" providerId="ADAL" clId="{2B98E168-295F-4675-91AD-98C27118674C}" dt="2021-08-10T10:10:38.098" v="2528" actId="478"/>
          <ac:spMkLst>
            <pc:docMk/>
            <pc:sldMk cId="2696813582" sldId="1296"/>
            <ac:spMk id="18" creationId="{80F02F53-15FC-4964-97FF-83CFD80B7B94}"/>
          </ac:spMkLst>
        </pc:spChg>
        <pc:spChg chg="add del mod">
          <ac:chgData name="Ieva Dzene" userId="36e850b3-6b13-42b6-8b78-9778956e69b6" providerId="ADAL" clId="{2B98E168-295F-4675-91AD-98C27118674C}" dt="2021-08-10T10:10:44.135" v="2532" actId="478"/>
          <ac:spMkLst>
            <pc:docMk/>
            <pc:sldMk cId="2696813582" sldId="1296"/>
            <ac:spMk id="19" creationId="{D207A4EB-B695-46B6-8F7F-8DE0366EFBDF}"/>
          </ac:spMkLst>
        </pc:spChg>
        <pc:spChg chg="add del mod">
          <ac:chgData name="Ieva Dzene" userId="36e850b3-6b13-42b6-8b78-9778956e69b6" providerId="ADAL" clId="{2B98E168-295F-4675-91AD-98C27118674C}" dt="2021-08-10T10:10:39.063" v="2529" actId="478"/>
          <ac:spMkLst>
            <pc:docMk/>
            <pc:sldMk cId="2696813582" sldId="1296"/>
            <ac:spMk id="20" creationId="{BBA68B19-0255-4F8E-A5C9-12C3FBF499A9}"/>
          </ac:spMkLst>
        </pc:spChg>
        <pc:spChg chg="add del mod">
          <ac:chgData name="Ieva Dzene" userId="36e850b3-6b13-42b6-8b78-9778956e69b6" providerId="ADAL" clId="{2B98E168-295F-4675-91AD-98C27118674C}" dt="2021-08-10T10:10:41.561" v="2531" actId="478"/>
          <ac:spMkLst>
            <pc:docMk/>
            <pc:sldMk cId="2696813582" sldId="1296"/>
            <ac:spMk id="21" creationId="{7F657E5E-9913-4BA6-81DF-A547CAF422B6}"/>
          </ac:spMkLst>
        </pc:spChg>
        <pc:spChg chg="add del mod">
          <ac:chgData name="Ieva Dzene" userId="36e850b3-6b13-42b6-8b78-9778956e69b6" providerId="ADAL" clId="{2B98E168-295F-4675-91AD-98C27118674C}" dt="2021-08-10T10:16:06.566" v="2674" actId="478"/>
          <ac:spMkLst>
            <pc:docMk/>
            <pc:sldMk cId="2696813582" sldId="1296"/>
            <ac:spMk id="22" creationId="{3B36D4A7-BF87-44FF-B126-E356FFE727BF}"/>
          </ac:spMkLst>
        </pc:spChg>
        <pc:spChg chg="add del mod">
          <ac:chgData name="Ieva Dzene" userId="36e850b3-6b13-42b6-8b78-9778956e69b6" providerId="ADAL" clId="{2B98E168-295F-4675-91AD-98C27118674C}" dt="2021-08-10T10:11:20.314" v="2546"/>
          <ac:spMkLst>
            <pc:docMk/>
            <pc:sldMk cId="2696813582" sldId="1296"/>
            <ac:spMk id="23" creationId="{8E4264D4-344A-4152-925C-ADC0BC84B8B0}"/>
          </ac:spMkLst>
        </pc:spChg>
        <pc:spChg chg="add del mod">
          <ac:chgData name="Ieva Dzene" userId="36e850b3-6b13-42b6-8b78-9778956e69b6" providerId="ADAL" clId="{2B98E168-295F-4675-91AD-98C27118674C}" dt="2021-08-11T06:39:41.364" v="4659" actId="478"/>
          <ac:spMkLst>
            <pc:docMk/>
            <pc:sldMk cId="2696813582" sldId="1296"/>
            <ac:spMk id="24" creationId="{9352B23F-D0A7-441F-9588-9F580594ECFC}"/>
          </ac:spMkLst>
        </pc:spChg>
        <pc:spChg chg="add del mod">
          <ac:chgData name="Ieva Dzene" userId="36e850b3-6b13-42b6-8b78-9778956e69b6" providerId="ADAL" clId="{2B98E168-295F-4675-91AD-98C27118674C}" dt="2021-08-11T06:39:41.364" v="4659" actId="478"/>
          <ac:spMkLst>
            <pc:docMk/>
            <pc:sldMk cId="2696813582" sldId="1296"/>
            <ac:spMk id="25" creationId="{EC67DA6D-AB9F-4E6B-A33D-D67A42DB9C97}"/>
          </ac:spMkLst>
        </pc:spChg>
        <pc:spChg chg="add del mod">
          <ac:chgData name="Ieva Dzene" userId="36e850b3-6b13-42b6-8b78-9778956e69b6" providerId="ADAL" clId="{2B98E168-295F-4675-91AD-98C27118674C}" dt="2021-08-11T06:39:41.364" v="4659" actId="478"/>
          <ac:spMkLst>
            <pc:docMk/>
            <pc:sldMk cId="2696813582" sldId="1296"/>
            <ac:spMk id="26" creationId="{A0F915BD-F1A1-473B-9515-FFDAF00DD942}"/>
          </ac:spMkLst>
        </pc:spChg>
        <pc:spChg chg="mod">
          <ac:chgData name="Ieva Dzene" userId="36e850b3-6b13-42b6-8b78-9778956e69b6" providerId="ADAL" clId="{2B98E168-295F-4675-91AD-98C27118674C}" dt="2021-08-11T06:44:06.875" v="4758" actId="20577"/>
          <ac:spMkLst>
            <pc:docMk/>
            <pc:sldMk cId="2696813582" sldId="1296"/>
            <ac:spMk id="27" creationId="{82C1FBD4-E916-4C3E-BE64-6D5AB2E4B4DD}"/>
          </ac:spMkLst>
        </pc:spChg>
        <pc:spChg chg="add del mod">
          <ac:chgData name="Ieva Dzene" userId="36e850b3-6b13-42b6-8b78-9778956e69b6" providerId="ADAL" clId="{2B98E168-295F-4675-91AD-98C27118674C}" dt="2021-08-11T06:39:41.364" v="4659" actId="478"/>
          <ac:spMkLst>
            <pc:docMk/>
            <pc:sldMk cId="2696813582" sldId="1296"/>
            <ac:spMk id="28" creationId="{976D2326-704B-49D2-B395-D7F16ECFE2B8}"/>
          </ac:spMkLst>
        </pc:spChg>
        <pc:spChg chg="add del mod">
          <ac:chgData name="Ieva Dzene" userId="36e850b3-6b13-42b6-8b78-9778956e69b6" providerId="ADAL" clId="{2B98E168-295F-4675-91AD-98C27118674C}" dt="2021-08-11T06:39:41.364" v="4659" actId="478"/>
          <ac:spMkLst>
            <pc:docMk/>
            <pc:sldMk cId="2696813582" sldId="1296"/>
            <ac:spMk id="29" creationId="{F095CAD6-4EA8-41A8-A4FC-93A60BBFEEDD}"/>
          </ac:spMkLst>
        </pc:spChg>
        <pc:spChg chg="add del mod">
          <ac:chgData name="Ieva Dzene" userId="36e850b3-6b13-42b6-8b78-9778956e69b6" providerId="ADAL" clId="{2B98E168-295F-4675-91AD-98C27118674C}" dt="2021-08-11T06:39:10.625" v="4647" actId="478"/>
          <ac:spMkLst>
            <pc:docMk/>
            <pc:sldMk cId="2696813582" sldId="1296"/>
            <ac:spMk id="30" creationId="{E26F54A1-9D53-40F8-B84E-AFDCCA5B59EE}"/>
          </ac:spMkLst>
        </pc:spChg>
        <pc:spChg chg="add del mod">
          <ac:chgData name="Ieva Dzene" userId="36e850b3-6b13-42b6-8b78-9778956e69b6" providerId="ADAL" clId="{2B98E168-295F-4675-91AD-98C27118674C}" dt="2021-08-11T06:39:13.745" v="4650" actId="478"/>
          <ac:spMkLst>
            <pc:docMk/>
            <pc:sldMk cId="2696813582" sldId="1296"/>
            <ac:spMk id="31" creationId="{D94123A4-8E34-461C-B20D-173B1E902C2C}"/>
          </ac:spMkLst>
        </pc:spChg>
        <pc:picChg chg="add del mod">
          <ac:chgData name="Ieva Dzene" userId="36e850b3-6b13-42b6-8b78-9778956e69b6" providerId="ADAL" clId="{2B98E168-295F-4675-91AD-98C27118674C}" dt="2021-08-11T06:39:07.646" v="4645" actId="478"/>
          <ac:picMkLst>
            <pc:docMk/>
            <pc:sldMk cId="2696813582" sldId="1296"/>
            <ac:picMk id="4" creationId="{49B707BA-4B3E-4649-A0D6-614BD42AF1F4}"/>
          </ac:picMkLst>
        </pc:picChg>
        <pc:picChg chg="del">
          <ac:chgData name="Ieva Dzene" userId="36e850b3-6b13-42b6-8b78-9778956e69b6" providerId="ADAL" clId="{2B98E168-295F-4675-91AD-98C27118674C}" dt="2021-08-10T07:31:02.472" v="577" actId="478"/>
          <ac:picMkLst>
            <pc:docMk/>
            <pc:sldMk cId="2696813582" sldId="1296"/>
            <ac:picMk id="5" creationId="{01DDBE73-DE14-4B1B-A954-8F93D4BDF08E}"/>
          </ac:picMkLst>
        </pc:picChg>
        <pc:picChg chg="add del mod">
          <ac:chgData name="Ieva Dzene" userId="36e850b3-6b13-42b6-8b78-9778956e69b6" providerId="ADAL" clId="{2B98E168-295F-4675-91AD-98C27118674C}" dt="2021-08-11T06:43:05.830" v="4676" actId="478"/>
          <ac:picMkLst>
            <pc:docMk/>
            <pc:sldMk cId="2696813582" sldId="1296"/>
            <ac:picMk id="5" creationId="{FE1FDEB2-52B4-43CF-AF40-20FF047C6012}"/>
          </ac:picMkLst>
        </pc:picChg>
        <pc:picChg chg="add mod">
          <ac:chgData name="Ieva Dzene" userId="36e850b3-6b13-42b6-8b78-9778956e69b6" providerId="ADAL" clId="{2B98E168-295F-4675-91AD-98C27118674C}" dt="2021-08-11T06:51:45.911" v="4842" actId="1076"/>
          <ac:picMkLst>
            <pc:docMk/>
            <pc:sldMk cId="2696813582" sldId="1296"/>
            <ac:picMk id="8" creationId="{0DF5F686-4037-4E93-9F2C-3854B369F933}"/>
          </ac:picMkLst>
        </pc:picChg>
        <pc:picChg chg="del">
          <ac:chgData name="Ieva Dzene" userId="36e850b3-6b13-42b6-8b78-9778956e69b6" providerId="ADAL" clId="{2B98E168-295F-4675-91AD-98C27118674C}" dt="2021-08-10T07:31:01.420" v="576" actId="478"/>
          <ac:picMkLst>
            <pc:docMk/>
            <pc:sldMk cId="2696813582" sldId="1296"/>
            <ac:picMk id="8" creationId="{BC81C7EF-420D-4F10-B64B-47D815D7055B}"/>
          </ac:picMkLst>
        </pc:picChg>
        <pc:picChg chg="add del mod">
          <ac:chgData name="Ieva Dzene" userId="36e850b3-6b13-42b6-8b78-9778956e69b6" providerId="ADAL" clId="{2B98E168-295F-4675-91AD-98C27118674C}" dt="2021-08-10T10:01:39.537" v="2228" actId="478"/>
          <ac:picMkLst>
            <pc:docMk/>
            <pc:sldMk cId="2696813582" sldId="1296"/>
            <ac:picMk id="9" creationId="{FF9CFE1A-A048-47BB-8C4F-B2F00DC162C0}"/>
          </ac:picMkLst>
        </pc:picChg>
      </pc:sldChg>
      <pc:sldChg chg="delSp add mod">
        <pc:chgData name="Ieva Dzene" userId="36e850b3-6b13-42b6-8b78-9778956e69b6" providerId="ADAL" clId="{2B98E168-295F-4675-91AD-98C27118674C}" dt="2021-08-09T14:55:35.933" v="328" actId="478"/>
        <pc:sldMkLst>
          <pc:docMk/>
          <pc:sldMk cId="2995492355" sldId="1296"/>
        </pc:sldMkLst>
        <pc:picChg chg="del">
          <ac:chgData name="Ieva Dzene" userId="36e850b3-6b13-42b6-8b78-9778956e69b6" providerId="ADAL" clId="{2B98E168-295F-4675-91AD-98C27118674C}" dt="2021-08-09T14:55:35.933" v="328" actId="478"/>
          <ac:picMkLst>
            <pc:docMk/>
            <pc:sldMk cId="2995492355" sldId="1296"/>
            <ac:picMk id="4" creationId="{A81F3BB5-6857-4E70-A896-13841F6BD1B1}"/>
          </ac:picMkLst>
        </pc:picChg>
      </pc:sldChg>
      <pc:sldChg chg="addSp delSp modSp add mod setBg delAnim modAnim addCm delCm modCm">
        <pc:chgData name="Ieva Dzene" userId="36e850b3-6b13-42b6-8b78-9778956e69b6" providerId="ADAL" clId="{2B98E168-295F-4675-91AD-98C27118674C}" dt="2021-08-18T12:27:08.611" v="11120" actId="1592"/>
        <pc:sldMkLst>
          <pc:docMk/>
          <pc:sldMk cId="1651772397" sldId="1297"/>
        </pc:sldMkLst>
        <pc:spChg chg="mod">
          <ac:chgData name="Ieva Dzene" userId="36e850b3-6b13-42b6-8b78-9778956e69b6" providerId="ADAL" clId="{2B98E168-295F-4675-91AD-98C27118674C}" dt="2021-08-18T07:35:39.815" v="8248"/>
          <ac:spMkLst>
            <pc:docMk/>
            <pc:sldMk cId="1651772397" sldId="1297"/>
            <ac:spMk id="3" creationId="{17403686-94D3-4A24-BDEB-07854049E7FA}"/>
          </ac:spMkLst>
        </pc:spChg>
        <pc:spChg chg="add del mod">
          <ac:chgData name="Ieva Dzene" userId="36e850b3-6b13-42b6-8b78-9778956e69b6" providerId="ADAL" clId="{2B98E168-295F-4675-91AD-98C27118674C}" dt="2021-08-18T07:35:44.943" v="8250" actId="478"/>
          <ac:spMkLst>
            <pc:docMk/>
            <pc:sldMk cId="1651772397" sldId="1297"/>
            <ac:spMk id="4" creationId="{277D30C7-B9BB-42E9-BEFC-0638379EF250}"/>
          </ac:spMkLst>
        </pc:spChg>
        <pc:spChg chg="del mod">
          <ac:chgData name="Ieva Dzene" userId="36e850b3-6b13-42b6-8b78-9778956e69b6" providerId="ADAL" clId="{2B98E168-295F-4675-91AD-98C27118674C}" dt="2021-08-18T07:35:42.618" v="8249" actId="478"/>
          <ac:spMkLst>
            <pc:docMk/>
            <pc:sldMk cId="1651772397" sldId="1297"/>
            <ac:spMk id="6" creationId="{A19744FE-0122-4458-A703-1ED9355A7C5F}"/>
          </ac:spMkLst>
        </pc:spChg>
        <pc:spChg chg="del">
          <ac:chgData name="Ieva Dzene" userId="36e850b3-6b13-42b6-8b78-9778956e69b6" providerId="ADAL" clId="{2B98E168-295F-4675-91AD-98C27118674C}" dt="2021-08-10T07:38:10.362" v="621" actId="478"/>
          <ac:spMkLst>
            <pc:docMk/>
            <pc:sldMk cId="1651772397" sldId="1297"/>
            <ac:spMk id="11" creationId="{AC5A708B-0751-4059-B420-B5DB2D983032}"/>
          </ac:spMkLst>
        </pc:spChg>
        <pc:spChg chg="add mod">
          <ac:chgData name="Ieva Dzene" userId="36e850b3-6b13-42b6-8b78-9778956e69b6" providerId="ADAL" clId="{2B98E168-295F-4675-91AD-98C27118674C}" dt="2021-08-18T11:08:24.512" v="9785" actId="1076"/>
          <ac:spMkLst>
            <pc:docMk/>
            <pc:sldMk cId="1651772397" sldId="1297"/>
            <ac:spMk id="12" creationId="{507D9C77-7B0A-45BE-A7AB-E487B4651689}"/>
          </ac:spMkLst>
        </pc:spChg>
        <pc:spChg chg="add mod">
          <ac:chgData name="Ieva Dzene" userId="36e850b3-6b13-42b6-8b78-9778956e69b6" providerId="ADAL" clId="{2B98E168-295F-4675-91AD-98C27118674C}" dt="2021-08-18T11:08:24.512" v="9785" actId="1076"/>
          <ac:spMkLst>
            <pc:docMk/>
            <pc:sldMk cId="1651772397" sldId="1297"/>
            <ac:spMk id="13" creationId="{6382E474-E53D-45F6-8217-BC43C233F78E}"/>
          </ac:spMkLst>
        </pc:spChg>
        <pc:spChg chg="add mod">
          <ac:chgData name="Ieva Dzene" userId="36e850b3-6b13-42b6-8b78-9778956e69b6" providerId="ADAL" clId="{2B98E168-295F-4675-91AD-98C27118674C}" dt="2021-08-18T11:08:24.512" v="9785" actId="1076"/>
          <ac:spMkLst>
            <pc:docMk/>
            <pc:sldMk cId="1651772397" sldId="1297"/>
            <ac:spMk id="14" creationId="{4845C1FE-9669-4A78-97E0-5035FD9D66C9}"/>
          </ac:spMkLst>
        </pc:spChg>
        <pc:spChg chg="mod">
          <ac:chgData name="Ieva Dzene" userId="36e850b3-6b13-42b6-8b78-9778956e69b6" providerId="ADAL" clId="{2B98E168-295F-4675-91AD-98C27118674C}" dt="2021-08-18T11:19:37.889" v="9831" actId="27636"/>
          <ac:spMkLst>
            <pc:docMk/>
            <pc:sldMk cId="1651772397" sldId="1297"/>
            <ac:spMk id="27" creationId="{82C1FBD4-E916-4C3E-BE64-6D5AB2E4B4DD}"/>
          </ac:spMkLst>
        </pc:spChg>
        <pc:picChg chg="del">
          <ac:chgData name="Ieva Dzene" userId="36e850b3-6b13-42b6-8b78-9778956e69b6" providerId="ADAL" clId="{2B98E168-295F-4675-91AD-98C27118674C}" dt="2021-08-10T07:38:08.823" v="620" actId="478"/>
          <ac:picMkLst>
            <pc:docMk/>
            <pc:sldMk cId="1651772397" sldId="1297"/>
            <ac:picMk id="4" creationId="{49B707BA-4B3E-4649-A0D6-614BD42AF1F4}"/>
          </ac:picMkLst>
        </pc:picChg>
        <pc:picChg chg="add mod">
          <ac:chgData name="Ieva Dzene" userId="36e850b3-6b13-42b6-8b78-9778956e69b6" providerId="ADAL" clId="{2B98E168-295F-4675-91AD-98C27118674C}" dt="2021-08-18T11:08:24.512" v="9785" actId="1076"/>
          <ac:picMkLst>
            <pc:docMk/>
            <pc:sldMk cId="1651772397" sldId="1297"/>
            <ac:picMk id="5" creationId="{3BEF1BA0-72C3-483E-9697-33CCC3E26570}"/>
          </ac:picMkLst>
        </pc:picChg>
        <pc:picChg chg="add mod">
          <ac:chgData name="Ieva Dzene" userId="36e850b3-6b13-42b6-8b78-9778956e69b6" providerId="ADAL" clId="{2B98E168-295F-4675-91AD-98C27118674C}" dt="2021-08-18T11:08:24.512" v="9785" actId="1076"/>
          <ac:picMkLst>
            <pc:docMk/>
            <pc:sldMk cId="1651772397" sldId="1297"/>
            <ac:picMk id="8" creationId="{75350C1D-E236-4EE5-9349-E4499E860013}"/>
          </ac:picMkLst>
        </pc:picChg>
        <pc:picChg chg="del">
          <ac:chgData name="Ieva Dzene" userId="36e850b3-6b13-42b6-8b78-9778956e69b6" providerId="ADAL" clId="{2B98E168-295F-4675-91AD-98C27118674C}" dt="2021-08-10T07:38:07.960" v="619" actId="478"/>
          <ac:picMkLst>
            <pc:docMk/>
            <pc:sldMk cId="1651772397" sldId="1297"/>
            <ac:picMk id="9" creationId="{FF9CFE1A-A048-47BB-8C4F-B2F00DC162C0}"/>
          </ac:picMkLst>
        </pc:picChg>
      </pc:sldChg>
      <pc:sldChg chg="addSp delSp modSp add mod delAnim modAnim addCm delCm modCm">
        <pc:chgData name="Ieva Dzene" userId="36e850b3-6b13-42b6-8b78-9778956e69b6" providerId="ADAL" clId="{2B98E168-295F-4675-91AD-98C27118674C}" dt="2021-08-31T15:39:05.201" v="11158" actId="14100"/>
        <pc:sldMkLst>
          <pc:docMk/>
          <pc:sldMk cId="3780738077" sldId="1298"/>
        </pc:sldMkLst>
        <pc:spChg chg="mod">
          <ac:chgData name="Ieva Dzene" userId="36e850b3-6b13-42b6-8b78-9778956e69b6" providerId="ADAL" clId="{2B98E168-295F-4675-91AD-98C27118674C}" dt="2021-08-18T07:36:25.519" v="8262"/>
          <ac:spMkLst>
            <pc:docMk/>
            <pc:sldMk cId="3780738077" sldId="1298"/>
            <ac:spMk id="3" creationId="{17403686-94D3-4A24-BDEB-07854049E7FA}"/>
          </ac:spMkLst>
        </pc:spChg>
        <pc:spChg chg="add del mod">
          <ac:chgData name="Ieva Dzene" userId="36e850b3-6b13-42b6-8b78-9778956e69b6" providerId="ADAL" clId="{2B98E168-295F-4675-91AD-98C27118674C}" dt="2021-08-18T07:36:40.447" v="8267" actId="478"/>
          <ac:spMkLst>
            <pc:docMk/>
            <pc:sldMk cId="3780738077" sldId="1298"/>
            <ac:spMk id="4" creationId="{83BD1225-FEE5-40D8-9CF4-EE4B122B25D9}"/>
          </ac:spMkLst>
        </pc:spChg>
        <pc:spChg chg="del mod">
          <ac:chgData name="Ieva Dzene" userId="36e850b3-6b13-42b6-8b78-9778956e69b6" providerId="ADAL" clId="{2B98E168-295F-4675-91AD-98C27118674C}" dt="2021-08-18T07:36:38.645" v="8266" actId="478"/>
          <ac:spMkLst>
            <pc:docMk/>
            <pc:sldMk cId="3780738077" sldId="1298"/>
            <ac:spMk id="6" creationId="{A19744FE-0122-4458-A703-1ED9355A7C5F}"/>
          </ac:spMkLst>
        </pc:spChg>
        <pc:spChg chg="add mod">
          <ac:chgData name="Ieva Dzene" userId="36e850b3-6b13-42b6-8b78-9778956e69b6" providerId="ADAL" clId="{2B98E168-295F-4675-91AD-98C27118674C}" dt="2021-08-18T07:36:50.932" v="8269" actId="1076"/>
          <ac:spMkLst>
            <pc:docMk/>
            <pc:sldMk cId="3780738077" sldId="1298"/>
            <ac:spMk id="10" creationId="{A77046A8-3300-4825-9DCA-B7BB8B8ABBED}"/>
          </ac:spMkLst>
        </pc:spChg>
        <pc:spChg chg="add del mod">
          <ac:chgData name="Ieva Dzene" userId="36e850b3-6b13-42b6-8b78-9778956e69b6" providerId="ADAL" clId="{2B98E168-295F-4675-91AD-98C27118674C}" dt="2021-08-10T11:26:11.206" v="4177" actId="478"/>
          <ac:spMkLst>
            <pc:docMk/>
            <pc:sldMk cId="3780738077" sldId="1298"/>
            <ac:spMk id="10" creationId="{C8B74958-E1A4-46AD-B22A-2B53F056B8ED}"/>
          </ac:spMkLst>
        </pc:spChg>
        <pc:spChg chg="del">
          <ac:chgData name="Ieva Dzene" userId="36e850b3-6b13-42b6-8b78-9778956e69b6" providerId="ADAL" clId="{2B98E168-295F-4675-91AD-98C27118674C}" dt="2021-08-10T08:53:37.776" v="1018" actId="478"/>
          <ac:spMkLst>
            <pc:docMk/>
            <pc:sldMk cId="3780738077" sldId="1298"/>
            <ac:spMk id="12" creationId="{507D9C77-7B0A-45BE-A7AB-E487B4651689}"/>
          </ac:spMkLst>
        </pc:spChg>
        <pc:spChg chg="add mod">
          <ac:chgData name="Ieva Dzene" userId="36e850b3-6b13-42b6-8b78-9778956e69b6" providerId="ADAL" clId="{2B98E168-295F-4675-91AD-98C27118674C}" dt="2021-08-18T11:21:10.168" v="9845" actId="1076"/>
          <ac:spMkLst>
            <pc:docMk/>
            <pc:sldMk cId="3780738077" sldId="1298"/>
            <ac:spMk id="12" creationId="{DA308E6A-EAB1-451F-ABBF-D58C3CB5B543}"/>
          </ac:spMkLst>
        </pc:spChg>
        <pc:spChg chg="mod ord">
          <ac:chgData name="Ieva Dzene" userId="36e850b3-6b13-42b6-8b78-9778956e69b6" providerId="ADAL" clId="{2B98E168-295F-4675-91AD-98C27118674C}" dt="2021-08-18T07:36:50.932" v="8269" actId="1076"/>
          <ac:spMkLst>
            <pc:docMk/>
            <pc:sldMk cId="3780738077" sldId="1298"/>
            <ac:spMk id="13" creationId="{6382E474-E53D-45F6-8217-BC43C233F78E}"/>
          </ac:spMkLst>
        </pc:spChg>
        <pc:spChg chg="add mod">
          <ac:chgData name="Ieva Dzene" userId="36e850b3-6b13-42b6-8b78-9778956e69b6" providerId="ADAL" clId="{2B98E168-295F-4675-91AD-98C27118674C}" dt="2021-08-18T11:21:22.261" v="9849" actId="1076"/>
          <ac:spMkLst>
            <pc:docMk/>
            <pc:sldMk cId="3780738077" sldId="1298"/>
            <ac:spMk id="14" creationId="{33D8DBF5-DD03-4934-94CA-116B5A9F806A}"/>
          </ac:spMkLst>
        </pc:spChg>
        <pc:spChg chg="add mod">
          <ac:chgData name="Ieva Dzene" userId="36e850b3-6b13-42b6-8b78-9778956e69b6" providerId="ADAL" clId="{2B98E168-295F-4675-91AD-98C27118674C}" dt="2021-08-10T15:47:57.033" v="4629" actId="571"/>
          <ac:spMkLst>
            <pc:docMk/>
            <pc:sldMk cId="3780738077" sldId="1298"/>
            <ac:spMk id="14" creationId="{9EC1555F-4946-4F18-90FB-9B70ABEBC027}"/>
          </ac:spMkLst>
        </pc:spChg>
        <pc:spChg chg="add mod">
          <ac:chgData name="Ieva Dzene" userId="36e850b3-6b13-42b6-8b78-9778956e69b6" providerId="ADAL" clId="{2B98E168-295F-4675-91AD-98C27118674C}" dt="2021-08-10T09:46:03.407" v="1996" actId="1076"/>
          <ac:spMkLst>
            <pc:docMk/>
            <pc:sldMk cId="3780738077" sldId="1298"/>
            <ac:spMk id="15" creationId="{82AF398F-11CD-4FD3-BBDE-E72EB2A68832}"/>
          </ac:spMkLst>
        </pc:spChg>
        <pc:spChg chg="mod">
          <ac:chgData name="Ieva Dzene" userId="36e850b3-6b13-42b6-8b78-9778956e69b6" providerId="ADAL" clId="{2B98E168-295F-4675-91AD-98C27118674C}" dt="2021-08-31T15:39:05.201" v="11158" actId="14100"/>
          <ac:spMkLst>
            <pc:docMk/>
            <pc:sldMk cId="3780738077" sldId="1298"/>
            <ac:spMk id="27" creationId="{82C1FBD4-E916-4C3E-BE64-6D5AB2E4B4DD}"/>
          </ac:spMkLst>
        </pc:spChg>
        <pc:picChg chg="add del mod">
          <ac:chgData name="Ieva Dzene" userId="36e850b3-6b13-42b6-8b78-9778956e69b6" providerId="ADAL" clId="{2B98E168-295F-4675-91AD-98C27118674C}" dt="2021-08-10T09:04:53.101" v="1220" actId="478"/>
          <ac:picMkLst>
            <pc:docMk/>
            <pc:sldMk cId="3780738077" sldId="1298"/>
            <ac:picMk id="4" creationId="{31D92FCC-07C4-4B61-922C-40EF07F97210}"/>
          </ac:picMkLst>
        </pc:picChg>
        <pc:picChg chg="del">
          <ac:chgData name="Ieva Dzene" userId="36e850b3-6b13-42b6-8b78-9778956e69b6" providerId="ADAL" clId="{2B98E168-295F-4675-91AD-98C27118674C}" dt="2021-08-10T08:53:36.493" v="1017" actId="478"/>
          <ac:picMkLst>
            <pc:docMk/>
            <pc:sldMk cId="3780738077" sldId="1298"/>
            <ac:picMk id="5" creationId="{3BEF1BA0-72C3-483E-9697-33CCC3E26570}"/>
          </ac:picMkLst>
        </pc:picChg>
        <pc:picChg chg="del">
          <ac:chgData name="Ieva Dzene" userId="36e850b3-6b13-42b6-8b78-9778956e69b6" providerId="ADAL" clId="{2B98E168-295F-4675-91AD-98C27118674C}" dt="2021-08-10T08:53:38.518" v="1019" actId="478"/>
          <ac:picMkLst>
            <pc:docMk/>
            <pc:sldMk cId="3780738077" sldId="1298"/>
            <ac:picMk id="8" creationId="{75350C1D-E236-4EE5-9349-E4499E860013}"/>
          </ac:picMkLst>
        </pc:picChg>
        <pc:picChg chg="add mod">
          <ac:chgData name="Ieva Dzene" userId="36e850b3-6b13-42b6-8b78-9778956e69b6" providerId="ADAL" clId="{2B98E168-295F-4675-91AD-98C27118674C}" dt="2021-08-10T09:47:22.956" v="2005" actId="108"/>
          <ac:picMkLst>
            <pc:docMk/>
            <pc:sldMk cId="3780738077" sldId="1298"/>
            <ac:picMk id="9" creationId="{C7A33756-77FE-48C9-B88C-9717EC915037}"/>
          </ac:picMkLst>
        </pc:picChg>
        <pc:picChg chg="add mod">
          <ac:chgData name="Ieva Dzene" userId="36e850b3-6b13-42b6-8b78-9778956e69b6" providerId="ADAL" clId="{2B98E168-295F-4675-91AD-98C27118674C}" dt="2021-08-18T07:36:50.932" v="8269" actId="1076"/>
          <ac:picMkLst>
            <pc:docMk/>
            <pc:sldMk cId="3780738077" sldId="1298"/>
            <ac:picMk id="11" creationId="{85AF35B3-44E9-4516-80B2-32618B34E20B}"/>
          </ac:picMkLst>
        </pc:picChg>
        <pc:picChg chg="add mod">
          <ac:chgData name="Ieva Dzene" userId="36e850b3-6b13-42b6-8b78-9778956e69b6" providerId="ADAL" clId="{2B98E168-295F-4675-91AD-98C27118674C}" dt="2021-08-10T15:47:57.033" v="4629" actId="571"/>
          <ac:picMkLst>
            <pc:docMk/>
            <pc:sldMk cId="3780738077" sldId="1298"/>
            <ac:picMk id="12" creationId="{E7E08827-DAC6-4C75-B369-B49F14810B03}"/>
          </ac:picMkLst>
        </pc:picChg>
      </pc:sldChg>
      <pc:sldChg chg="addSp delSp modSp add mod delAnim modAnim">
        <pc:chgData name="Ieva Dzene" userId="36e850b3-6b13-42b6-8b78-9778956e69b6" providerId="ADAL" clId="{2B98E168-295F-4675-91AD-98C27118674C}" dt="2021-08-18T07:38:16.329" v="8294" actId="12"/>
        <pc:sldMkLst>
          <pc:docMk/>
          <pc:sldMk cId="2174108700" sldId="1299"/>
        </pc:sldMkLst>
        <pc:spChg chg="mod">
          <ac:chgData name="Ieva Dzene" userId="36e850b3-6b13-42b6-8b78-9778956e69b6" providerId="ADAL" clId="{2B98E168-295F-4675-91AD-98C27118674C}" dt="2021-08-18T07:38:01.583" v="8290" actId="20577"/>
          <ac:spMkLst>
            <pc:docMk/>
            <pc:sldMk cId="2174108700" sldId="1299"/>
            <ac:spMk id="3" creationId="{17403686-94D3-4A24-BDEB-07854049E7FA}"/>
          </ac:spMkLst>
        </pc:spChg>
        <pc:spChg chg="add del mod">
          <ac:chgData name="Ieva Dzene" userId="36e850b3-6b13-42b6-8b78-9778956e69b6" providerId="ADAL" clId="{2B98E168-295F-4675-91AD-98C27118674C}" dt="2021-08-18T07:38:07.937" v="8292" actId="478"/>
          <ac:spMkLst>
            <pc:docMk/>
            <pc:sldMk cId="2174108700" sldId="1299"/>
            <ac:spMk id="5" creationId="{5D1031DF-7BE5-4A98-8C8F-69691944275C}"/>
          </ac:spMkLst>
        </pc:spChg>
        <pc:spChg chg="del mod">
          <ac:chgData name="Ieva Dzene" userId="36e850b3-6b13-42b6-8b78-9778956e69b6" providerId="ADAL" clId="{2B98E168-295F-4675-91AD-98C27118674C}" dt="2021-08-18T07:38:06.204" v="8291" actId="478"/>
          <ac:spMkLst>
            <pc:docMk/>
            <pc:sldMk cId="2174108700" sldId="1299"/>
            <ac:spMk id="6" creationId="{A19744FE-0122-4458-A703-1ED9355A7C5F}"/>
          </ac:spMkLst>
        </pc:spChg>
        <pc:spChg chg="del">
          <ac:chgData name="Ieva Dzene" userId="36e850b3-6b13-42b6-8b78-9778956e69b6" providerId="ADAL" clId="{2B98E168-295F-4675-91AD-98C27118674C}" dt="2021-08-10T09:14:43.680" v="1302" actId="478"/>
          <ac:spMkLst>
            <pc:docMk/>
            <pc:sldMk cId="2174108700" sldId="1299"/>
            <ac:spMk id="13" creationId="{6382E474-E53D-45F6-8217-BC43C233F78E}"/>
          </ac:spMkLst>
        </pc:spChg>
        <pc:spChg chg="mod ord">
          <ac:chgData name="Ieva Dzene" userId="36e850b3-6b13-42b6-8b78-9778956e69b6" providerId="ADAL" clId="{2B98E168-295F-4675-91AD-98C27118674C}" dt="2021-08-17T08:54:06.607" v="6421" actId="14100"/>
          <ac:spMkLst>
            <pc:docMk/>
            <pc:sldMk cId="2174108700" sldId="1299"/>
            <ac:spMk id="15" creationId="{82AF398F-11CD-4FD3-BBDE-E72EB2A68832}"/>
          </ac:spMkLst>
        </pc:spChg>
        <pc:spChg chg="add mod">
          <ac:chgData name="Ieva Dzene" userId="36e850b3-6b13-42b6-8b78-9778956e69b6" providerId="ADAL" clId="{2B98E168-295F-4675-91AD-98C27118674C}" dt="2021-08-17T08:54:42.072" v="6429" actId="1076"/>
          <ac:spMkLst>
            <pc:docMk/>
            <pc:sldMk cId="2174108700" sldId="1299"/>
            <ac:spMk id="17" creationId="{AB15ED1F-D880-4769-B33C-09703788A2A2}"/>
          </ac:spMkLst>
        </pc:spChg>
        <pc:spChg chg="add del mod">
          <ac:chgData name="Ieva Dzene" userId="36e850b3-6b13-42b6-8b78-9778956e69b6" providerId="ADAL" clId="{2B98E168-295F-4675-91AD-98C27118674C}" dt="2021-08-17T08:54:36.148" v="6427" actId="478"/>
          <ac:spMkLst>
            <pc:docMk/>
            <pc:sldMk cId="2174108700" sldId="1299"/>
            <ac:spMk id="18" creationId="{DFECF833-A461-4178-951F-A304A4527256}"/>
          </ac:spMkLst>
        </pc:spChg>
        <pc:spChg chg="add mod">
          <ac:chgData name="Ieva Dzene" userId="36e850b3-6b13-42b6-8b78-9778956e69b6" providerId="ADAL" clId="{2B98E168-295F-4675-91AD-98C27118674C}" dt="2021-08-17T08:53:54.349" v="6417" actId="1076"/>
          <ac:spMkLst>
            <pc:docMk/>
            <pc:sldMk cId="2174108700" sldId="1299"/>
            <ac:spMk id="19" creationId="{2ACDA362-2B79-477D-B0B5-F7F0537F38F3}"/>
          </ac:spMkLst>
        </pc:spChg>
        <pc:spChg chg="mod">
          <ac:chgData name="Ieva Dzene" userId="36e850b3-6b13-42b6-8b78-9778956e69b6" providerId="ADAL" clId="{2B98E168-295F-4675-91AD-98C27118674C}" dt="2021-08-18T07:38:16.329" v="8294" actId="12"/>
          <ac:spMkLst>
            <pc:docMk/>
            <pc:sldMk cId="2174108700" sldId="1299"/>
            <ac:spMk id="27" creationId="{82C1FBD4-E916-4C3E-BE64-6D5AB2E4B4DD}"/>
          </ac:spMkLst>
        </pc:spChg>
        <pc:picChg chg="add del mod">
          <ac:chgData name="Ieva Dzene" userId="36e850b3-6b13-42b6-8b78-9778956e69b6" providerId="ADAL" clId="{2B98E168-295F-4675-91AD-98C27118674C}" dt="2021-08-10T09:22:12.829" v="1399" actId="478"/>
          <ac:picMkLst>
            <pc:docMk/>
            <pc:sldMk cId="2174108700" sldId="1299"/>
            <ac:picMk id="4" creationId="{7A43DA18-B636-42C2-9909-34D88EB197DC}"/>
          </ac:picMkLst>
        </pc:picChg>
        <pc:picChg chg="add mod ord">
          <ac:chgData name="Ieva Dzene" userId="36e850b3-6b13-42b6-8b78-9778956e69b6" providerId="ADAL" clId="{2B98E168-295F-4675-91AD-98C27118674C}" dt="2021-08-17T08:53:47.454" v="6416" actId="108"/>
          <ac:picMkLst>
            <pc:docMk/>
            <pc:sldMk cId="2174108700" sldId="1299"/>
            <ac:picMk id="4" creationId="{CA1B9E36-C0CB-4F82-B2DA-54C7FB6D00F2}"/>
          </ac:picMkLst>
        </pc:picChg>
        <pc:picChg chg="add del mod modCrop">
          <ac:chgData name="Ieva Dzene" userId="36e850b3-6b13-42b6-8b78-9778956e69b6" providerId="ADAL" clId="{2B98E168-295F-4675-91AD-98C27118674C}" dt="2021-08-17T08:53:30.970" v="6412" actId="478"/>
          <ac:picMkLst>
            <pc:docMk/>
            <pc:sldMk cId="2174108700" sldId="1299"/>
            <ac:picMk id="7" creationId="{C6209B05-0147-45BA-A6DF-A0BF416AF85C}"/>
          </ac:picMkLst>
        </pc:picChg>
        <pc:picChg chg="del">
          <ac:chgData name="Ieva Dzene" userId="36e850b3-6b13-42b6-8b78-9778956e69b6" providerId="ADAL" clId="{2B98E168-295F-4675-91AD-98C27118674C}" dt="2021-08-10T09:14:44.330" v="1303" actId="478"/>
          <ac:picMkLst>
            <pc:docMk/>
            <pc:sldMk cId="2174108700" sldId="1299"/>
            <ac:picMk id="9" creationId="{C7A33756-77FE-48C9-B88C-9717EC915037}"/>
          </ac:picMkLst>
        </pc:picChg>
        <pc:picChg chg="del">
          <ac:chgData name="Ieva Dzene" userId="36e850b3-6b13-42b6-8b78-9778956e69b6" providerId="ADAL" clId="{2B98E168-295F-4675-91AD-98C27118674C}" dt="2021-08-10T09:14:42.617" v="1301" actId="478"/>
          <ac:picMkLst>
            <pc:docMk/>
            <pc:sldMk cId="2174108700" sldId="1299"/>
            <ac:picMk id="11" creationId="{85AF35B3-44E9-4516-80B2-32618B34E20B}"/>
          </ac:picMkLst>
        </pc:picChg>
        <pc:picChg chg="add del mod">
          <ac:chgData name="Ieva Dzene" userId="36e850b3-6b13-42b6-8b78-9778956e69b6" providerId="ADAL" clId="{2B98E168-295F-4675-91AD-98C27118674C}" dt="2021-08-10T09:23:23.619" v="1428" actId="478"/>
          <ac:picMkLst>
            <pc:docMk/>
            <pc:sldMk cId="2174108700" sldId="1299"/>
            <ac:picMk id="14" creationId="{0397D637-EB18-4552-96FE-FE2914009040}"/>
          </ac:picMkLst>
        </pc:picChg>
        <pc:picChg chg="add del mod">
          <ac:chgData name="Ieva Dzene" userId="36e850b3-6b13-42b6-8b78-9778956e69b6" providerId="ADAL" clId="{2B98E168-295F-4675-91AD-98C27118674C}" dt="2021-08-10T09:26:44.225" v="1450" actId="478"/>
          <ac:picMkLst>
            <pc:docMk/>
            <pc:sldMk cId="2174108700" sldId="1299"/>
            <ac:picMk id="16" creationId="{ACA0ADB8-42D1-4910-BBAE-E91E0F5F3294}"/>
          </ac:picMkLst>
        </pc:picChg>
      </pc:sldChg>
      <pc:sldChg chg="addSp delSp modSp add mod">
        <pc:chgData name="Ieva Dzene" userId="36e850b3-6b13-42b6-8b78-9778956e69b6" providerId="ADAL" clId="{2B98E168-295F-4675-91AD-98C27118674C}" dt="2021-09-01T06:52:44.217" v="11166" actId="20577"/>
        <pc:sldMkLst>
          <pc:docMk/>
          <pc:sldMk cId="2557956988" sldId="1300"/>
        </pc:sldMkLst>
        <pc:spChg chg="mod">
          <ac:chgData name="Ieva Dzene" userId="36e850b3-6b13-42b6-8b78-9778956e69b6" providerId="ADAL" clId="{2B98E168-295F-4675-91AD-98C27118674C}" dt="2021-08-18T07:39:04.894" v="8302" actId="1076"/>
          <ac:spMkLst>
            <pc:docMk/>
            <pc:sldMk cId="2557956988" sldId="1300"/>
            <ac:spMk id="2" creationId="{C3535710-5BB9-4932-85F6-68F5FE66BDA7}"/>
          </ac:spMkLst>
        </pc:spChg>
        <pc:spChg chg="mod">
          <ac:chgData name="Ieva Dzene" userId="36e850b3-6b13-42b6-8b78-9778956e69b6" providerId="ADAL" clId="{2B98E168-295F-4675-91AD-98C27118674C}" dt="2021-09-01T06:52:44.217" v="11166" actId="20577"/>
          <ac:spMkLst>
            <pc:docMk/>
            <pc:sldMk cId="2557956988" sldId="1300"/>
            <ac:spMk id="3" creationId="{17403686-94D3-4A24-BDEB-07854049E7FA}"/>
          </ac:spMkLst>
        </pc:spChg>
        <pc:spChg chg="del mod">
          <ac:chgData name="Ieva Dzene" userId="36e850b3-6b13-42b6-8b78-9778956e69b6" providerId="ADAL" clId="{2B98E168-295F-4675-91AD-98C27118674C}" dt="2021-08-18T07:38:35.611" v="8296" actId="478"/>
          <ac:spMkLst>
            <pc:docMk/>
            <pc:sldMk cId="2557956988" sldId="1300"/>
            <ac:spMk id="6" creationId="{A19744FE-0122-4458-A703-1ED9355A7C5F}"/>
          </ac:spMkLst>
        </pc:spChg>
        <pc:spChg chg="add del mod">
          <ac:chgData name="Ieva Dzene" userId="36e850b3-6b13-42b6-8b78-9778956e69b6" providerId="ADAL" clId="{2B98E168-295F-4675-91AD-98C27118674C}" dt="2021-08-18T07:38:36.944" v="8297" actId="478"/>
          <ac:spMkLst>
            <pc:docMk/>
            <pc:sldMk cId="2557956988" sldId="1300"/>
            <ac:spMk id="7" creationId="{120167ED-F867-4BB5-A011-120B5F991492}"/>
          </ac:spMkLst>
        </pc:spChg>
        <pc:spChg chg="add del mod">
          <ac:chgData name="Ieva Dzene" userId="36e850b3-6b13-42b6-8b78-9778956e69b6" providerId="ADAL" clId="{2B98E168-295F-4675-91AD-98C27118674C}" dt="2021-08-10T09:58:35.741" v="2204" actId="478"/>
          <ac:spMkLst>
            <pc:docMk/>
            <pc:sldMk cId="2557956988" sldId="1300"/>
            <ac:spMk id="8" creationId="{D5222B6A-B939-4BA6-88BE-A4A5C92DCBB1}"/>
          </ac:spMkLst>
        </pc:spChg>
        <pc:spChg chg="mod">
          <ac:chgData name="Ieva Dzene" userId="36e850b3-6b13-42b6-8b78-9778956e69b6" providerId="ADAL" clId="{2B98E168-295F-4675-91AD-98C27118674C}" dt="2021-08-18T07:39:04.894" v="8302" actId="1076"/>
          <ac:spMkLst>
            <pc:docMk/>
            <pc:sldMk cId="2557956988" sldId="1300"/>
            <ac:spMk id="8" creationId="{F8319F06-E22E-441F-8F1F-81815469842B}"/>
          </ac:spMkLst>
        </pc:spChg>
        <pc:spChg chg="mod">
          <ac:chgData name="Ieva Dzene" userId="36e850b3-6b13-42b6-8b78-9778956e69b6" providerId="ADAL" clId="{2B98E168-295F-4675-91AD-98C27118674C}" dt="2021-08-18T07:39:08.250" v="8303" actId="1076"/>
          <ac:spMkLst>
            <pc:docMk/>
            <pc:sldMk cId="2557956988" sldId="1300"/>
            <ac:spMk id="9" creationId="{5C0F2C15-0F3C-4678-9211-4F607E6ED5CF}"/>
          </ac:spMkLst>
        </pc:spChg>
        <pc:spChg chg="add del mod">
          <ac:chgData name="Ieva Dzene" userId="36e850b3-6b13-42b6-8b78-9778956e69b6" providerId="ADAL" clId="{2B98E168-295F-4675-91AD-98C27118674C}" dt="2021-08-10T09:58:38.277" v="2205" actId="478"/>
          <ac:spMkLst>
            <pc:docMk/>
            <pc:sldMk cId="2557956988" sldId="1300"/>
            <ac:spMk id="9" creationId="{C41E3D8B-3C35-4AEF-94C8-2B774C7576D0}"/>
          </ac:spMkLst>
        </pc:spChg>
        <pc:spChg chg="add mod ord">
          <ac:chgData name="Ieva Dzene" userId="36e850b3-6b13-42b6-8b78-9778956e69b6" providerId="ADAL" clId="{2B98E168-295F-4675-91AD-98C27118674C}" dt="2021-08-18T07:39:22.542" v="8305" actId="1076"/>
          <ac:spMkLst>
            <pc:docMk/>
            <pc:sldMk cId="2557956988" sldId="1300"/>
            <ac:spMk id="10" creationId="{D0E64E4F-FF81-4412-83AC-BCAB289F8FA9}"/>
          </ac:spMkLst>
        </pc:spChg>
        <pc:spChg chg="mod">
          <ac:chgData name="Ieva Dzene" userId="36e850b3-6b13-42b6-8b78-9778956e69b6" providerId="ADAL" clId="{2B98E168-295F-4675-91AD-98C27118674C}" dt="2021-08-18T07:39:11.053" v="8304" actId="1076"/>
          <ac:spMkLst>
            <pc:docMk/>
            <pc:sldMk cId="2557956988" sldId="1300"/>
            <ac:spMk id="11" creationId="{6662B5C3-871E-4A76-B6DC-FB3496E89B0A}"/>
          </ac:spMkLst>
        </pc:spChg>
        <pc:spChg chg="add del mod">
          <ac:chgData name="Ieva Dzene" userId="36e850b3-6b13-42b6-8b78-9778956e69b6" providerId="ADAL" clId="{2B98E168-295F-4675-91AD-98C27118674C}" dt="2021-08-10T09:58:31.267" v="2203" actId="478"/>
          <ac:spMkLst>
            <pc:docMk/>
            <pc:sldMk cId="2557956988" sldId="1300"/>
            <ac:spMk id="12" creationId="{84F37595-4238-491E-B4F3-AB56C04AF1F3}"/>
          </ac:spMkLst>
        </pc:spChg>
        <pc:spChg chg="add mod">
          <ac:chgData name="Ieva Dzene" userId="36e850b3-6b13-42b6-8b78-9778956e69b6" providerId="ADAL" clId="{2B98E168-295F-4675-91AD-98C27118674C}" dt="2021-08-18T07:39:22.542" v="8305" actId="1076"/>
          <ac:spMkLst>
            <pc:docMk/>
            <pc:sldMk cId="2557956988" sldId="1300"/>
            <ac:spMk id="13" creationId="{96B7432B-EB0C-4118-8F26-10165C9A935D}"/>
          </ac:spMkLst>
        </pc:spChg>
        <pc:spChg chg="add mod">
          <ac:chgData name="Ieva Dzene" userId="36e850b3-6b13-42b6-8b78-9778956e69b6" providerId="ADAL" clId="{2B98E168-295F-4675-91AD-98C27118674C}" dt="2021-08-18T07:39:22.542" v="8305" actId="1076"/>
          <ac:spMkLst>
            <pc:docMk/>
            <pc:sldMk cId="2557956988" sldId="1300"/>
            <ac:spMk id="14" creationId="{2F661CE2-3925-4DFE-83AE-247F5177E52F}"/>
          </ac:spMkLst>
        </pc:spChg>
        <pc:spChg chg="add del mod ord">
          <ac:chgData name="Ieva Dzene" userId="36e850b3-6b13-42b6-8b78-9778956e69b6" providerId="ADAL" clId="{2B98E168-295F-4675-91AD-98C27118674C}" dt="2021-08-10T09:58:40.062" v="2206" actId="478"/>
          <ac:spMkLst>
            <pc:docMk/>
            <pc:sldMk cId="2557956988" sldId="1300"/>
            <ac:spMk id="15" creationId="{82AF398F-11CD-4FD3-BBDE-E72EB2A68832}"/>
          </ac:spMkLst>
        </pc:spChg>
        <pc:spChg chg="add mod">
          <ac:chgData name="Ieva Dzene" userId="36e850b3-6b13-42b6-8b78-9778956e69b6" providerId="ADAL" clId="{2B98E168-295F-4675-91AD-98C27118674C}" dt="2021-08-18T07:39:22.542" v="8305" actId="1076"/>
          <ac:spMkLst>
            <pc:docMk/>
            <pc:sldMk cId="2557956988" sldId="1300"/>
            <ac:spMk id="16" creationId="{B8F674EC-5DCC-4BB5-956B-96B57E5D4DF3}"/>
          </ac:spMkLst>
        </pc:spChg>
        <pc:spChg chg="add mod">
          <ac:chgData name="Ieva Dzene" userId="36e850b3-6b13-42b6-8b78-9778956e69b6" providerId="ADAL" clId="{2B98E168-295F-4675-91AD-98C27118674C}" dt="2021-08-18T07:39:22.542" v="8305" actId="1076"/>
          <ac:spMkLst>
            <pc:docMk/>
            <pc:sldMk cId="2557956988" sldId="1300"/>
            <ac:spMk id="17" creationId="{75A1CDB7-882D-4766-A164-F6FC41D39D93}"/>
          </ac:spMkLst>
        </pc:spChg>
        <pc:spChg chg="add del mod">
          <ac:chgData name="Ieva Dzene" userId="36e850b3-6b13-42b6-8b78-9778956e69b6" providerId="ADAL" clId="{2B98E168-295F-4675-91AD-98C27118674C}" dt="2021-08-18T07:38:42.897" v="8298" actId="1076"/>
          <ac:spMkLst>
            <pc:docMk/>
            <pc:sldMk cId="2557956988" sldId="1300"/>
            <ac:spMk id="27" creationId="{82C1FBD4-E916-4C3E-BE64-6D5AB2E4B4DD}"/>
          </ac:spMkLst>
        </pc:spChg>
        <pc:picChg chg="del mod">
          <ac:chgData name="Ieva Dzene" userId="36e850b3-6b13-42b6-8b78-9778956e69b6" providerId="ADAL" clId="{2B98E168-295F-4675-91AD-98C27118674C}" dt="2021-08-10T09:54:59.574" v="2033" actId="478"/>
          <ac:picMkLst>
            <pc:docMk/>
            <pc:sldMk cId="2557956988" sldId="1300"/>
            <ac:picMk id="4" creationId="{7A43DA18-B636-42C2-9909-34D88EB197DC}"/>
          </ac:picMkLst>
        </pc:picChg>
        <pc:picChg chg="add mod modCrop">
          <ac:chgData name="Ieva Dzene" userId="36e850b3-6b13-42b6-8b78-9778956e69b6" providerId="ADAL" clId="{2B98E168-295F-4675-91AD-98C27118674C}" dt="2021-08-18T07:39:22.542" v="8305" actId="1076"/>
          <ac:picMkLst>
            <pc:docMk/>
            <pc:sldMk cId="2557956988" sldId="1300"/>
            <ac:picMk id="5" creationId="{F570B64F-2D30-4084-B630-D10B53CABE8D}"/>
          </ac:picMkLst>
        </pc:picChg>
        <pc:picChg chg="del">
          <ac:chgData name="Ieva Dzene" userId="36e850b3-6b13-42b6-8b78-9778956e69b6" providerId="ADAL" clId="{2B98E168-295F-4675-91AD-98C27118674C}" dt="2021-08-10T09:37:07.438" v="1707" actId="478"/>
          <ac:picMkLst>
            <pc:docMk/>
            <pc:sldMk cId="2557956988" sldId="1300"/>
            <ac:picMk id="7" creationId="{C6209B05-0147-45BA-A6DF-A0BF416AF85C}"/>
          </ac:picMkLst>
        </pc:picChg>
      </pc:sldChg>
      <pc:sldChg chg="addSp delSp modSp add mod modAnim">
        <pc:chgData name="Ieva Dzene" userId="36e850b3-6b13-42b6-8b78-9778956e69b6" providerId="ADAL" clId="{2B98E168-295F-4675-91AD-98C27118674C}" dt="2021-08-18T08:51:59.615" v="9784"/>
        <pc:sldMkLst>
          <pc:docMk/>
          <pc:sldMk cId="1311348952" sldId="1301"/>
        </pc:sldMkLst>
        <pc:spChg chg="mod">
          <ac:chgData name="Ieva Dzene" userId="36e850b3-6b13-42b6-8b78-9778956e69b6" providerId="ADAL" clId="{2B98E168-295F-4675-91AD-98C27118674C}" dt="2021-08-18T07:35:04.372" v="8243"/>
          <ac:spMkLst>
            <pc:docMk/>
            <pc:sldMk cId="1311348952" sldId="1301"/>
            <ac:spMk id="3" creationId="{17403686-94D3-4A24-BDEB-07854049E7FA}"/>
          </ac:spMkLst>
        </pc:spChg>
        <pc:spChg chg="add del mod">
          <ac:chgData name="Ieva Dzene" userId="36e850b3-6b13-42b6-8b78-9778956e69b6" providerId="ADAL" clId="{2B98E168-295F-4675-91AD-98C27118674C}" dt="2021-08-18T07:35:11.360" v="8245" actId="478"/>
          <ac:spMkLst>
            <pc:docMk/>
            <pc:sldMk cId="1311348952" sldId="1301"/>
            <ac:spMk id="5" creationId="{04EB3030-BEE1-4FDA-9925-FA074AB9689F}"/>
          </ac:spMkLst>
        </pc:spChg>
        <pc:spChg chg="del">
          <ac:chgData name="Ieva Dzene" userId="36e850b3-6b13-42b6-8b78-9778956e69b6" providerId="ADAL" clId="{2B98E168-295F-4675-91AD-98C27118674C}" dt="2021-08-18T07:35:07.872" v="8244" actId="478"/>
          <ac:spMkLst>
            <pc:docMk/>
            <pc:sldMk cId="1311348952" sldId="1301"/>
            <ac:spMk id="6" creationId="{A19744FE-0122-4458-A703-1ED9355A7C5F}"/>
          </ac:spMkLst>
        </pc:spChg>
        <pc:spChg chg="mod">
          <ac:chgData name="Ieva Dzene" userId="36e850b3-6b13-42b6-8b78-9778956e69b6" providerId="ADAL" clId="{2B98E168-295F-4675-91AD-98C27118674C}" dt="2021-08-18T07:35:27.826" v="8247" actId="1076"/>
          <ac:spMkLst>
            <pc:docMk/>
            <pc:sldMk cId="1311348952" sldId="1301"/>
            <ac:spMk id="11" creationId="{AC5A708B-0751-4059-B420-B5DB2D983032}"/>
          </ac:spMkLst>
        </pc:spChg>
        <pc:spChg chg="mod">
          <ac:chgData name="Ieva Dzene" userId="36e850b3-6b13-42b6-8b78-9778956e69b6" providerId="ADAL" clId="{2B98E168-295F-4675-91AD-98C27118674C}" dt="2021-08-18T07:35:16.966" v="8246" actId="1076"/>
          <ac:spMkLst>
            <pc:docMk/>
            <pc:sldMk cId="1311348952" sldId="1301"/>
            <ac:spMk id="27" creationId="{82C1FBD4-E916-4C3E-BE64-6D5AB2E4B4DD}"/>
          </ac:spMkLst>
        </pc:spChg>
        <pc:picChg chg="mod">
          <ac:chgData name="Ieva Dzene" userId="36e850b3-6b13-42b6-8b78-9778956e69b6" providerId="ADAL" clId="{2B98E168-295F-4675-91AD-98C27118674C}" dt="2021-08-18T07:35:27.826" v="8247" actId="1076"/>
          <ac:picMkLst>
            <pc:docMk/>
            <pc:sldMk cId="1311348952" sldId="1301"/>
            <ac:picMk id="4" creationId="{49B707BA-4B3E-4649-A0D6-614BD42AF1F4}"/>
          </ac:picMkLst>
        </pc:picChg>
      </pc:sldChg>
      <pc:sldChg chg="addSp delSp modSp add mod ord setBg delAnim modAnim">
        <pc:chgData name="Ieva Dzene" userId="36e850b3-6b13-42b6-8b78-9778956e69b6" providerId="ADAL" clId="{2B98E168-295F-4675-91AD-98C27118674C}" dt="2021-08-18T07:30:44.501" v="8059" actId="14100"/>
        <pc:sldMkLst>
          <pc:docMk/>
          <pc:sldMk cId="3643150018" sldId="1302"/>
        </pc:sldMkLst>
        <pc:spChg chg="mod">
          <ac:chgData name="Ieva Dzene" userId="36e850b3-6b13-42b6-8b78-9778956e69b6" providerId="ADAL" clId="{2B98E168-295F-4675-91AD-98C27118674C}" dt="2021-08-18T07:29:43.030" v="8049" actId="20577"/>
          <ac:spMkLst>
            <pc:docMk/>
            <pc:sldMk cId="3643150018" sldId="1302"/>
            <ac:spMk id="3" creationId="{17403686-94D3-4A24-BDEB-07854049E7FA}"/>
          </ac:spMkLst>
        </pc:spChg>
        <pc:spChg chg="del mod">
          <ac:chgData name="Ieva Dzene" userId="36e850b3-6b13-42b6-8b78-9778956e69b6" providerId="ADAL" clId="{2B98E168-295F-4675-91AD-98C27118674C}" dt="2021-08-18T07:29:48.125" v="8050" actId="478"/>
          <ac:spMkLst>
            <pc:docMk/>
            <pc:sldMk cId="3643150018" sldId="1302"/>
            <ac:spMk id="6" creationId="{A19744FE-0122-4458-A703-1ED9355A7C5F}"/>
          </ac:spMkLst>
        </pc:spChg>
        <pc:spChg chg="add del mod">
          <ac:chgData name="Ieva Dzene" userId="36e850b3-6b13-42b6-8b78-9778956e69b6" providerId="ADAL" clId="{2B98E168-295F-4675-91AD-98C27118674C}" dt="2021-08-11T09:24:41.911" v="5011" actId="478"/>
          <ac:spMkLst>
            <pc:docMk/>
            <pc:sldMk cId="3643150018" sldId="1302"/>
            <ac:spMk id="7" creationId="{354E00ED-9B3A-48CE-A286-EDE5B69DB942}"/>
          </ac:spMkLst>
        </pc:spChg>
        <pc:spChg chg="add del mod">
          <ac:chgData name="Ieva Dzene" userId="36e850b3-6b13-42b6-8b78-9778956e69b6" providerId="ADAL" clId="{2B98E168-295F-4675-91AD-98C27118674C}" dt="2021-08-18T07:29:49.542" v="8051" actId="478"/>
          <ac:spMkLst>
            <pc:docMk/>
            <pc:sldMk cId="3643150018" sldId="1302"/>
            <ac:spMk id="7" creationId="{35D5DDF8-46BC-4AA8-8D94-A206A6D654D8}"/>
          </ac:spMkLst>
        </pc:spChg>
        <pc:spChg chg="add mod">
          <ac:chgData name="Ieva Dzene" userId="36e850b3-6b13-42b6-8b78-9778956e69b6" providerId="ADAL" clId="{2B98E168-295F-4675-91AD-98C27118674C}" dt="2021-08-18T07:30:13.703" v="8056" actId="1076"/>
          <ac:spMkLst>
            <pc:docMk/>
            <pc:sldMk cId="3643150018" sldId="1302"/>
            <ac:spMk id="8" creationId="{0B99FBE0-26FA-49A4-9CEF-1339024C2F7A}"/>
          </ac:spMkLst>
        </pc:spChg>
        <pc:spChg chg="add mod">
          <ac:chgData name="Ieva Dzene" userId="36e850b3-6b13-42b6-8b78-9778956e69b6" providerId="ADAL" clId="{2B98E168-295F-4675-91AD-98C27118674C}" dt="2021-08-18T07:30:13.703" v="8056" actId="1076"/>
          <ac:spMkLst>
            <pc:docMk/>
            <pc:sldMk cId="3643150018" sldId="1302"/>
            <ac:spMk id="9" creationId="{AD8A2925-BF12-4C3F-A74B-8C2367A8E60A}"/>
          </ac:spMkLst>
        </pc:spChg>
        <pc:spChg chg="add mod">
          <ac:chgData name="Ieva Dzene" userId="36e850b3-6b13-42b6-8b78-9778956e69b6" providerId="ADAL" clId="{2B98E168-295F-4675-91AD-98C27118674C}" dt="2021-08-11T09:25:37.506" v="5042" actId="20577"/>
          <ac:spMkLst>
            <pc:docMk/>
            <pc:sldMk cId="3643150018" sldId="1302"/>
            <ac:spMk id="10" creationId="{46252018-71BE-46B9-A320-0E17CAB90630}"/>
          </ac:spMkLst>
        </pc:spChg>
        <pc:spChg chg="mod">
          <ac:chgData name="Ieva Dzene" userId="36e850b3-6b13-42b6-8b78-9778956e69b6" providerId="ADAL" clId="{2B98E168-295F-4675-91AD-98C27118674C}" dt="2021-08-18T07:30:13.703" v="8056" actId="1076"/>
          <ac:spMkLst>
            <pc:docMk/>
            <pc:sldMk cId="3643150018" sldId="1302"/>
            <ac:spMk id="11" creationId="{445889AB-4FAE-4A11-A432-238E4D425409}"/>
          </ac:spMkLst>
        </pc:spChg>
        <pc:spChg chg="add del mod">
          <ac:chgData name="Ieva Dzene" userId="36e850b3-6b13-42b6-8b78-9778956e69b6" providerId="ADAL" clId="{2B98E168-295F-4675-91AD-98C27118674C}" dt="2021-08-11T09:26:21.437" v="5056"/>
          <ac:spMkLst>
            <pc:docMk/>
            <pc:sldMk cId="3643150018" sldId="1302"/>
            <ac:spMk id="11" creationId="{8C33F067-E856-4A45-B480-9A0420950B71}"/>
          </ac:spMkLst>
        </pc:spChg>
        <pc:spChg chg="mod">
          <ac:chgData name="Ieva Dzene" userId="36e850b3-6b13-42b6-8b78-9778956e69b6" providerId="ADAL" clId="{2B98E168-295F-4675-91AD-98C27118674C}" dt="2021-08-18T07:30:13.703" v="8056" actId="1076"/>
          <ac:spMkLst>
            <pc:docMk/>
            <pc:sldMk cId="3643150018" sldId="1302"/>
            <ac:spMk id="12" creationId="{4154A83D-08F5-4978-B5BC-324BCD19DC84}"/>
          </ac:spMkLst>
        </pc:spChg>
        <pc:spChg chg="add del mod">
          <ac:chgData name="Ieva Dzene" userId="36e850b3-6b13-42b6-8b78-9778956e69b6" providerId="ADAL" clId="{2B98E168-295F-4675-91AD-98C27118674C}" dt="2021-08-11T09:26:20.762" v="5055"/>
          <ac:spMkLst>
            <pc:docMk/>
            <pc:sldMk cId="3643150018" sldId="1302"/>
            <ac:spMk id="12" creationId="{4CB08DC4-7664-422D-8CF5-E646975F3DC2}"/>
          </ac:spMkLst>
        </pc:spChg>
        <pc:spChg chg="mod">
          <ac:chgData name="Ieva Dzene" userId="36e850b3-6b13-42b6-8b78-9778956e69b6" providerId="ADAL" clId="{2B98E168-295F-4675-91AD-98C27118674C}" dt="2021-08-18T07:30:13.703" v="8056" actId="1076"/>
          <ac:spMkLst>
            <pc:docMk/>
            <pc:sldMk cId="3643150018" sldId="1302"/>
            <ac:spMk id="13" creationId="{FE0FEF1E-2798-46D1-ACFD-AAB211479A00}"/>
          </ac:spMkLst>
        </pc:spChg>
        <pc:spChg chg="mod">
          <ac:chgData name="Ieva Dzene" userId="36e850b3-6b13-42b6-8b78-9778956e69b6" providerId="ADAL" clId="{2B98E168-295F-4675-91AD-98C27118674C}" dt="2021-08-18T07:30:13.703" v="8056" actId="1076"/>
          <ac:spMkLst>
            <pc:docMk/>
            <pc:sldMk cId="3643150018" sldId="1302"/>
            <ac:spMk id="14" creationId="{2C237937-D3B2-4E38-8356-71E22A9DDA56}"/>
          </ac:spMkLst>
        </pc:spChg>
        <pc:spChg chg="mod">
          <ac:chgData name="Ieva Dzene" userId="36e850b3-6b13-42b6-8b78-9778956e69b6" providerId="ADAL" clId="{2B98E168-295F-4675-91AD-98C27118674C}" dt="2021-08-18T07:30:13.703" v="8056" actId="1076"/>
          <ac:spMkLst>
            <pc:docMk/>
            <pc:sldMk cId="3643150018" sldId="1302"/>
            <ac:spMk id="15" creationId="{AFD4F5CE-572B-42A7-BEAF-522BAFC205D0}"/>
          </ac:spMkLst>
        </pc:spChg>
        <pc:spChg chg="mod">
          <ac:chgData name="Ieva Dzene" userId="36e850b3-6b13-42b6-8b78-9778956e69b6" providerId="ADAL" clId="{2B98E168-295F-4675-91AD-98C27118674C}" dt="2021-08-18T07:30:13.703" v="8056" actId="1076"/>
          <ac:spMkLst>
            <pc:docMk/>
            <pc:sldMk cId="3643150018" sldId="1302"/>
            <ac:spMk id="17" creationId="{E58E9486-F851-4C70-A99E-F83BCCDA50DD}"/>
          </ac:spMkLst>
        </pc:spChg>
        <pc:spChg chg="mod">
          <ac:chgData name="Ieva Dzene" userId="36e850b3-6b13-42b6-8b78-9778956e69b6" providerId="ADAL" clId="{2B98E168-295F-4675-91AD-98C27118674C}" dt="2021-08-18T07:30:13.703" v="8056" actId="1076"/>
          <ac:spMkLst>
            <pc:docMk/>
            <pc:sldMk cId="3643150018" sldId="1302"/>
            <ac:spMk id="18" creationId="{2E782CF3-1A14-48F1-AAD2-7C26FEA5C1D2}"/>
          </ac:spMkLst>
        </pc:spChg>
        <pc:spChg chg="mod">
          <ac:chgData name="Ieva Dzene" userId="36e850b3-6b13-42b6-8b78-9778956e69b6" providerId="ADAL" clId="{2B98E168-295F-4675-91AD-98C27118674C}" dt="2021-08-18T07:30:13.703" v="8056" actId="1076"/>
          <ac:spMkLst>
            <pc:docMk/>
            <pc:sldMk cId="3643150018" sldId="1302"/>
            <ac:spMk id="19" creationId="{9FCF82FF-20D3-4072-AAA6-F17F935C2AF6}"/>
          </ac:spMkLst>
        </pc:spChg>
        <pc:spChg chg="mod">
          <ac:chgData name="Ieva Dzene" userId="36e850b3-6b13-42b6-8b78-9778956e69b6" providerId="ADAL" clId="{2B98E168-295F-4675-91AD-98C27118674C}" dt="2021-08-18T07:30:13.703" v="8056" actId="1076"/>
          <ac:spMkLst>
            <pc:docMk/>
            <pc:sldMk cId="3643150018" sldId="1302"/>
            <ac:spMk id="20" creationId="{E26BD8D3-7C14-40C7-9BF5-8F39A856012F}"/>
          </ac:spMkLst>
        </pc:spChg>
        <pc:spChg chg="mod">
          <ac:chgData name="Ieva Dzene" userId="36e850b3-6b13-42b6-8b78-9778956e69b6" providerId="ADAL" clId="{2B98E168-295F-4675-91AD-98C27118674C}" dt="2021-08-18T07:30:13.703" v="8056" actId="1076"/>
          <ac:spMkLst>
            <pc:docMk/>
            <pc:sldMk cId="3643150018" sldId="1302"/>
            <ac:spMk id="21" creationId="{8F79E85F-B54C-49DF-A034-7ACC49C8F0ED}"/>
          </ac:spMkLst>
        </pc:spChg>
        <pc:spChg chg="mod">
          <ac:chgData name="Ieva Dzene" userId="36e850b3-6b13-42b6-8b78-9778956e69b6" providerId="ADAL" clId="{2B98E168-295F-4675-91AD-98C27118674C}" dt="2021-08-18T07:29:56.999" v="8052" actId="1076"/>
          <ac:spMkLst>
            <pc:docMk/>
            <pc:sldMk cId="3643150018" sldId="1302"/>
            <ac:spMk id="27" creationId="{82C1FBD4-E916-4C3E-BE64-6D5AB2E4B4DD}"/>
          </ac:spMkLst>
        </pc:spChg>
        <pc:spChg chg="mod">
          <ac:chgData name="Ieva Dzene" userId="36e850b3-6b13-42b6-8b78-9778956e69b6" providerId="ADAL" clId="{2B98E168-295F-4675-91AD-98C27118674C}" dt="2021-08-18T07:30:13.703" v="8056" actId="1076"/>
          <ac:spMkLst>
            <pc:docMk/>
            <pc:sldMk cId="3643150018" sldId="1302"/>
            <ac:spMk id="34" creationId="{C3F3B519-0675-40AC-83EB-CD7FC361B062}"/>
          </ac:spMkLst>
        </pc:spChg>
        <pc:spChg chg="add mod">
          <ac:chgData name="Ieva Dzene" userId="36e850b3-6b13-42b6-8b78-9778956e69b6" providerId="ADAL" clId="{2B98E168-295F-4675-91AD-98C27118674C}" dt="2021-08-18T07:30:13.703" v="8056" actId="1076"/>
          <ac:spMkLst>
            <pc:docMk/>
            <pc:sldMk cId="3643150018" sldId="1302"/>
            <ac:spMk id="47" creationId="{2967DFF7-13AA-48FB-974F-7A250D9E829D}"/>
          </ac:spMkLst>
        </pc:spChg>
        <pc:spChg chg="add del mod">
          <ac:chgData name="Ieva Dzene" userId="36e850b3-6b13-42b6-8b78-9778956e69b6" providerId="ADAL" clId="{2B98E168-295F-4675-91AD-98C27118674C}" dt="2021-08-17T07:16:01.575" v="5913"/>
          <ac:spMkLst>
            <pc:docMk/>
            <pc:sldMk cId="3643150018" sldId="1302"/>
            <ac:spMk id="48" creationId="{0BF7CC68-4D6A-42A2-AD7C-660EEF2C4C5C}"/>
          </ac:spMkLst>
        </pc:spChg>
        <pc:spChg chg="add mod">
          <ac:chgData name="Ieva Dzene" userId="36e850b3-6b13-42b6-8b78-9778956e69b6" providerId="ADAL" clId="{2B98E168-295F-4675-91AD-98C27118674C}" dt="2021-08-18T07:30:13.703" v="8056" actId="1076"/>
          <ac:spMkLst>
            <pc:docMk/>
            <pc:sldMk cId="3643150018" sldId="1302"/>
            <ac:spMk id="48" creationId="{45268AB9-BAA4-40CE-944D-449DCDBB4A25}"/>
          </ac:spMkLst>
        </pc:spChg>
        <pc:spChg chg="mod">
          <ac:chgData name="Ieva Dzene" userId="36e850b3-6b13-42b6-8b78-9778956e69b6" providerId="ADAL" clId="{2B98E168-295F-4675-91AD-98C27118674C}" dt="2021-08-18T07:30:13.703" v="8056" actId="1076"/>
          <ac:spMkLst>
            <pc:docMk/>
            <pc:sldMk cId="3643150018" sldId="1302"/>
            <ac:spMk id="70" creationId="{C14BF1F3-A38F-4047-B361-8973DBF9770A}"/>
          </ac:spMkLst>
        </pc:spChg>
        <pc:spChg chg="mod">
          <ac:chgData name="Ieva Dzene" userId="36e850b3-6b13-42b6-8b78-9778956e69b6" providerId="ADAL" clId="{2B98E168-295F-4675-91AD-98C27118674C}" dt="2021-08-18T07:30:13.703" v="8056" actId="1076"/>
          <ac:spMkLst>
            <pc:docMk/>
            <pc:sldMk cId="3643150018" sldId="1302"/>
            <ac:spMk id="71" creationId="{B8C705F8-D9F5-4CD3-BBC2-3BE85E39DC64}"/>
          </ac:spMkLst>
        </pc:spChg>
        <pc:spChg chg="mod">
          <ac:chgData name="Ieva Dzene" userId="36e850b3-6b13-42b6-8b78-9778956e69b6" providerId="ADAL" clId="{2B98E168-295F-4675-91AD-98C27118674C}" dt="2021-08-18T07:30:13.703" v="8056" actId="1076"/>
          <ac:spMkLst>
            <pc:docMk/>
            <pc:sldMk cId="3643150018" sldId="1302"/>
            <ac:spMk id="72" creationId="{3E26D264-9999-414F-891F-B158C75C790B}"/>
          </ac:spMkLst>
        </pc:spChg>
        <pc:spChg chg="mod">
          <ac:chgData name="Ieva Dzene" userId="36e850b3-6b13-42b6-8b78-9778956e69b6" providerId="ADAL" clId="{2B98E168-295F-4675-91AD-98C27118674C}" dt="2021-08-18T07:30:13.703" v="8056" actId="1076"/>
          <ac:spMkLst>
            <pc:docMk/>
            <pc:sldMk cId="3643150018" sldId="1302"/>
            <ac:spMk id="73" creationId="{C412592D-6848-4B37-806D-D870ACD68E5C}"/>
          </ac:spMkLst>
        </pc:spChg>
        <pc:spChg chg="mod">
          <ac:chgData name="Ieva Dzene" userId="36e850b3-6b13-42b6-8b78-9778956e69b6" providerId="ADAL" clId="{2B98E168-295F-4675-91AD-98C27118674C}" dt="2021-08-18T07:30:13.703" v="8056" actId="1076"/>
          <ac:spMkLst>
            <pc:docMk/>
            <pc:sldMk cId="3643150018" sldId="1302"/>
            <ac:spMk id="74" creationId="{D9A2743F-536E-4F12-B82A-7C42157CD0A3}"/>
          </ac:spMkLst>
        </pc:spChg>
        <pc:spChg chg="mod">
          <ac:chgData name="Ieva Dzene" userId="36e850b3-6b13-42b6-8b78-9778956e69b6" providerId="ADAL" clId="{2B98E168-295F-4675-91AD-98C27118674C}" dt="2021-08-18T07:30:13.703" v="8056" actId="1076"/>
          <ac:spMkLst>
            <pc:docMk/>
            <pc:sldMk cId="3643150018" sldId="1302"/>
            <ac:spMk id="75" creationId="{9F7EE9AA-6D46-4BB3-A1B5-9379A03D9F79}"/>
          </ac:spMkLst>
        </pc:spChg>
        <pc:spChg chg="mod">
          <ac:chgData name="Ieva Dzene" userId="36e850b3-6b13-42b6-8b78-9778956e69b6" providerId="ADAL" clId="{2B98E168-295F-4675-91AD-98C27118674C}" dt="2021-08-18T07:30:13.703" v="8056" actId="1076"/>
          <ac:spMkLst>
            <pc:docMk/>
            <pc:sldMk cId="3643150018" sldId="1302"/>
            <ac:spMk id="76" creationId="{5969D2B2-9098-4B55-B495-2795ED9F69C3}"/>
          </ac:spMkLst>
        </pc:spChg>
        <pc:spChg chg="mod">
          <ac:chgData name="Ieva Dzene" userId="36e850b3-6b13-42b6-8b78-9778956e69b6" providerId="ADAL" clId="{2B98E168-295F-4675-91AD-98C27118674C}" dt="2021-08-18T07:30:02.146" v="8053" actId="1076"/>
          <ac:spMkLst>
            <pc:docMk/>
            <pc:sldMk cId="3643150018" sldId="1302"/>
            <ac:spMk id="78" creationId="{276700BC-F945-477F-BFCC-5592F1F7A051}"/>
          </ac:spMkLst>
        </pc:spChg>
        <pc:spChg chg="mod">
          <ac:chgData name="Ieva Dzene" userId="36e850b3-6b13-42b6-8b78-9778956e69b6" providerId="ADAL" clId="{2B98E168-295F-4675-91AD-98C27118674C}" dt="2021-08-18T07:30:04.134" v="8054" actId="1076"/>
          <ac:spMkLst>
            <pc:docMk/>
            <pc:sldMk cId="3643150018" sldId="1302"/>
            <ac:spMk id="79" creationId="{83286329-C253-4FB0-AC38-25253DE53117}"/>
          </ac:spMkLst>
        </pc:spChg>
        <pc:spChg chg="mod">
          <ac:chgData name="Ieva Dzene" userId="36e850b3-6b13-42b6-8b78-9778956e69b6" providerId="ADAL" clId="{2B98E168-295F-4675-91AD-98C27118674C}" dt="2021-08-18T07:30:06.700" v="8055" actId="1076"/>
          <ac:spMkLst>
            <pc:docMk/>
            <pc:sldMk cId="3643150018" sldId="1302"/>
            <ac:spMk id="80" creationId="{9C70924D-8053-43F5-AA6A-1A3381AA49C7}"/>
          </ac:spMkLst>
        </pc:spChg>
        <pc:spChg chg="mod">
          <ac:chgData name="Ieva Dzene" userId="36e850b3-6b13-42b6-8b78-9778956e69b6" providerId="ADAL" clId="{2B98E168-295F-4675-91AD-98C27118674C}" dt="2021-08-18T07:30:39.708" v="8058" actId="1076"/>
          <ac:spMkLst>
            <pc:docMk/>
            <pc:sldMk cId="3643150018" sldId="1302"/>
            <ac:spMk id="194" creationId="{A5D2FEA7-8DA4-458A-B18E-E2081FB5C2B8}"/>
          </ac:spMkLst>
        </pc:spChg>
        <pc:picChg chg="add del mod">
          <ac:chgData name="Ieva Dzene" userId="36e850b3-6b13-42b6-8b78-9778956e69b6" providerId="ADAL" clId="{2B98E168-295F-4675-91AD-98C27118674C}" dt="2021-08-11T09:24:40.674" v="5010" actId="478"/>
          <ac:picMkLst>
            <pc:docMk/>
            <pc:sldMk cId="3643150018" sldId="1302"/>
            <ac:picMk id="5" creationId="{733184F4-1201-4358-87BD-4BD85893BC66}"/>
          </ac:picMkLst>
        </pc:picChg>
        <pc:cxnChg chg="add mod">
          <ac:chgData name="Ieva Dzene" userId="36e850b3-6b13-42b6-8b78-9778956e69b6" providerId="ADAL" clId="{2B98E168-295F-4675-91AD-98C27118674C}" dt="2021-08-18T07:30:13.703" v="8056" actId="1076"/>
          <ac:cxnSpMkLst>
            <pc:docMk/>
            <pc:sldMk cId="3643150018" sldId="1302"/>
            <ac:cxnSpMk id="4" creationId="{24069004-838A-4F66-A847-64A0F563471A}"/>
          </ac:cxnSpMkLst>
        </pc:cxnChg>
        <pc:cxnChg chg="mod">
          <ac:chgData name="Ieva Dzene" userId="36e850b3-6b13-42b6-8b78-9778956e69b6" providerId="ADAL" clId="{2B98E168-295F-4675-91AD-98C27118674C}" dt="2021-08-18T07:30:13.703" v="8056" actId="1076"/>
          <ac:cxnSpMkLst>
            <pc:docMk/>
            <pc:sldMk cId="3643150018" sldId="1302"/>
            <ac:cxnSpMk id="5" creationId="{93497915-CEF0-4B15-BE39-962E6551E48D}"/>
          </ac:cxnSpMkLst>
        </pc:cxnChg>
        <pc:cxnChg chg="mod">
          <ac:chgData name="Ieva Dzene" userId="36e850b3-6b13-42b6-8b78-9778956e69b6" providerId="ADAL" clId="{2B98E168-295F-4675-91AD-98C27118674C}" dt="2021-08-18T07:30:13.703" v="8056" actId="1076"/>
          <ac:cxnSpMkLst>
            <pc:docMk/>
            <pc:sldMk cId="3643150018" sldId="1302"/>
            <ac:cxnSpMk id="22" creationId="{5C4E7732-081A-413D-8080-6B0A130C1AB1}"/>
          </ac:cxnSpMkLst>
        </pc:cxnChg>
        <pc:cxnChg chg="mod">
          <ac:chgData name="Ieva Dzene" userId="36e850b3-6b13-42b6-8b78-9778956e69b6" providerId="ADAL" clId="{2B98E168-295F-4675-91AD-98C27118674C}" dt="2021-08-18T07:30:13.703" v="8056" actId="1076"/>
          <ac:cxnSpMkLst>
            <pc:docMk/>
            <pc:sldMk cId="3643150018" sldId="1302"/>
            <ac:cxnSpMk id="25" creationId="{E94B2208-76CD-42BE-BD4C-ABD4692319C5}"/>
          </ac:cxnSpMkLst>
        </pc:cxnChg>
        <pc:cxnChg chg="mod">
          <ac:chgData name="Ieva Dzene" userId="36e850b3-6b13-42b6-8b78-9778956e69b6" providerId="ADAL" clId="{2B98E168-295F-4675-91AD-98C27118674C}" dt="2021-08-18T07:30:13.703" v="8056" actId="1076"/>
          <ac:cxnSpMkLst>
            <pc:docMk/>
            <pc:sldMk cId="3643150018" sldId="1302"/>
            <ac:cxnSpMk id="26" creationId="{2DB85002-5EBA-4459-9634-CE1BB90871FF}"/>
          </ac:cxnSpMkLst>
        </pc:cxnChg>
        <pc:cxnChg chg="mod">
          <ac:chgData name="Ieva Dzene" userId="36e850b3-6b13-42b6-8b78-9778956e69b6" providerId="ADAL" clId="{2B98E168-295F-4675-91AD-98C27118674C}" dt="2021-08-18T07:30:13.703" v="8056" actId="1076"/>
          <ac:cxnSpMkLst>
            <pc:docMk/>
            <pc:sldMk cId="3643150018" sldId="1302"/>
            <ac:cxnSpMk id="37" creationId="{8F0183E4-B10B-493F-852B-9997EFFFD8B7}"/>
          </ac:cxnSpMkLst>
        </pc:cxnChg>
        <pc:cxnChg chg="mod">
          <ac:chgData name="Ieva Dzene" userId="36e850b3-6b13-42b6-8b78-9778956e69b6" providerId="ADAL" clId="{2B98E168-295F-4675-91AD-98C27118674C}" dt="2021-08-18T07:30:13.703" v="8056" actId="1076"/>
          <ac:cxnSpMkLst>
            <pc:docMk/>
            <pc:sldMk cId="3643150018" sldId="1302"/>
            <ac:cxnSpMk id="40" creationId="{B46E2F07-A98E-4BAC-8CA2-EBEC3C169DF4}"/>
          </ac:cxnSpMkLst>
        </pc:cxnChg>
        <pc:cxnChg chg="mod">
          <ac:chgData name="Ieva Dzene" userId="36e850b3-6b13-42b6-8b78-9778956e69b6" providerId="ADAL" clId="{2B98E168-295F-4675-91AD-98C27118674C}" dt="2021-08-18T07:30:13.703" v="8056" actId="1076"/>
          <ac:cxnSpMkLst>
            <pc:docMk/>
            <pc:sldMk cId="3643150018" sldId="1302"/>
            <ac:cxnSpMk id="41" creationId="{52D9D6A5-DE5E-48AD-92AA-E075A22A5378}"/>
          </ac:cxnSpMkLst>
        </pc:cxnChg>
        <pc:cxnChg chg="mod">
          <ac:chgData name="Ieva Dzene" userId="36e850b3-6b13-42b6-8b78-9778956e69b6" providerId="ADAL" clId="{2B98E168-295F-4675-91AD-98C27118674C}" dt="2021-08-18T07:30:13.703" v="8056" actId="1076"/>
          <ac:cxnSpMkLst>
            <pc:docMk/>
            <pc:sldMk cId="3643150018" sldId="1302"/>
            <ac:cxnSpMk id="46" creationId="{A70D9D72-4FDD-4274-862E-6928BEDB93E3}"/>
          </ac:cxnSpMkLst>
        </pc:cxnChg>
        <pc:cxnChg chg="mod">
          <ac:chgData name="Ieva Dzene" userId="36e850b3-6b13-42b6-8b78-9778956e69b6" providerId="ADAL" clId="{2B98E168-295F-4675-91AD-98C27118674C}" dt="2021-08-18T07:30:13.703" v="8056" actId="1076"/>
          <ac:cxnSpMkLst>
            <pc:docMk/>
            <pc:sldMk cId="3643150018" sldId="1302"/>
            <ac:cxnSpMk id="50" creationId="{C95CF4EC-21C5-4A30-92E3-3EADBB4C5840}"/>
          </ac:cxnSpMkLst>
        </pc:cxnChg>
        <pc:cxnChg chg="add mod">
          <ac:chgData name="Ieva Dzene" userId="36e850b3-6b13-42b6-8b78-9778956e69b6" providerId="ADAL" clId="{2B98E168-295F-4675-91AD-98C27118674C}" dt="2021-08-18T07:30:44.501" v="8059" actId="14100"/>
          <ac:cxnSpMkLst>
            <pc:docMk/>
            <pc:sldMk cId="3643150018" sldId="1302"/>
            <ac:cxnSpMk id="52" creationId="{E50A4187-3EEF-45E4-B6FA-DE454C6B3DA7}"/>
          </ac:cxnSpMkLst>
        </pc:cxnChg>
        <pc:cxnChg chg="mod">
          <ac:chgData name="Ieva Dzene" userId="36e850b3-6b13-42b6-8b78-9778956e69b6" providerId="ADAL" clId="{2B98E168-295F-4675-91AD-98C27118674C}" dt="2021-08-18T07:30:13.703" v="8056" actId="1076"/>
          <ac:cxnSpMkLst>
            <pc:docMk/>
            <pc:sldMk cId="3643150018" sldId="1302"/>
            <ac:cxnSpMk id="81" creationId="{46F962C5-5441-460B-82EB-51C4747D96E8}"/>
          </ac:cxnSpMkLst>
        </pc:cxnChg>
        <pc:cxnChg chg="mod">
          <ac:chgData name="Ieva Dzene" userId="36e850b3-6b13-42b6-8b78-9778956e69b6" providerId="ADAL" clId="{2B98E168-295F-4675-91AD-98C27118674C}" dt="2021-08-18T07:30:13.703" v="8056" actId="1076"/>
          <ac:cxnSpMkLst>
            <pc:docMk/>
            <pc:sldMk cId="3643150018" sldId="1302"/>
            <ac:cxnSpMk id="84" creationId="{8FD29535-A610-4341-863A-1AEC21319252}"/>
          </ac:cxnSpMkLst>
        </pc:cxnChg>
        <pc:cxnChg chg="mod">
          <ac:chgData name="Ieva Dzene" userId="36e850b3-6b13-42b6-8b78-9778956e69b6" providerId="ADAL" clId="{2B98E168-295F-4675-91AD-98C27118674C}" dt="2021-08-18T07:30:13.703" v="8056" actId="1076"/>
          <ac:cxnSpMkLst>
            <pc:docMk/>
            <pc:sldMk cId="3643150018" sldId="1302"/>
            <ac:cxnSpMk id="87" creationId="{FFC0DFD3-B9FE-47C7-AABA-C91E44EECECB}"/>
          </ac:cxnSpMkLst>
        </pc:cxnChg>
        <pc:cxnChg chg="mod">
          <ac:chgData name="Ieva Dzene" userId="36e850b3-6b13-42b6-8b78-9778956e69b6" providerId="ADAL" clId="{2B98E168-295F-4675-91AD-98C27118674C}" dt="2021-08-18T07:30:13.703" v="8056" actId="1076"/>
          <ac:cxnSpMkLst>
            <pc:docMk/>
            <pc:sldMk cId="3643150018" sldId="1302"/>
            <ac:cxnSpMk id="90" creationId="{70F9DD06-5524-4C4A-B0C9-81BB5E33ADC2}"/>
          </ac:cxnSpMkLst>
        </pc:cxnChg>
        <pc:cxnChg chg="mod">
          <ac:chgData name="Ieva Dzene" userId="36e850b3-6b13-42b6-8b78-9778956e69b6" providerId="ADAL" clId="{2B98E168-295F-4675-91AD-98C27118674C}" dt="2021-08-18T07:30:13.703" v="8056" actId="1076"/>
          <ac:cxnSpMkLst>
            <pc:docMk/>
            <pc:sldMk cId="3643150018" sldId="1302"/>
            <ac:cxnSpMk id="93" creationId="{B5B82215-9158-4F27-A92E-9FB1D3BA3090}"/>
          </ac:cxnSpMkLst>
        </pc:cxnChg>
        <pc:cxnChg chg="mod">
          <ac:chgData name="Ieva Dzene" userId="36e850b3-6b13-42b6-8b78-9778956e69b6" providerId="ADAL" clId="{2B98E168-295F-4675-91AD-98C27118674C}" dt="2021-08-18T07:30:13.703" v="8056" actId="1076"/>
          <ac:cxnSpMkLst>
            <pc:docMk/>
            <pc:sldMk cId="3643150018" sldId="1302"/>
            <ac:cxnSpMk id="195" creationId="{ABC0EB58-A9CB-47B4-8E66-4E7543797FDE}"/>
          </ac:cxnSpMkLst>
        </pc:cxnChg>
        <pc:cxnChg chg="mod">
          <ac:chgData name="Ieva Dzene" userId="36e850b3-6b13-42b6-8b78-9778956e69b6" providerId="ADAL" clId="{2B98E168-295F-4675-91AD-98C27118674C}" dt="2021-08-18T07:30:13.703" v="8056" actId="1076"/>
          <ac:cxnSpMkLst>
            <pc:docMk/>
            <pc:sldMk cId="3643150018" sldId="1302"/>
            <ac:cxnSpMk id="199" creationId="{B9B18DAB-BBD7-440B-ABAE-075C2E59F1B2}"/>
          </ac:cxnSpMkLst>
        </pc:cxnChg>
        <pc:cxnChg chg="mod">
          <ac:chgData name="Ieva Dzene" userId="36e850b3-6b13-42b6-8b78-9778956e69b6" providerId="ADAL" clId="{2B98E168-295F-4675-91AD-98C27118674C}" dt="2021-08-18T07:30:13.703" v="8056" actId="1076"/>
          <ac:cxnSpMkLst>
            <pc:docMk/>
            <pc:sldMk cId="3643150018" sldId="1302"/>
            <ac:cxnSpMk id="202" creationId="{3D972400-1993-40E6-A0E2-546C086E6835}"/>
          </ac:cxnSpMkLst>
        </pc:cxnChg>
      </pc:sldChg>
      <pc:sldChg chg="add del">
        <pc:chgData name="Ieva Dzene" userId="36e850b3-6b13-42b6-8b78-9778956e69b6" providerId="ADAL" clId="{2B98E168-295F-4675-91AD-98C27118674C}" dt="2021-08-10T10:56:11.146" v="3296" actId="2696"/>
        <pc:sldMkLst>
          <pc:docMk/>
          <pc:sldMk cId="1064076070" sldId="1303"/>
        </pc:sldMkLst>
      </pc:sldChg>
      <pc:sldChg chg="addSp delSp modSp add del mod">
        <pc:chgData name="Ieva Dzene" userId="36e850b3-6b13-42b6-8b78-9778956e69b6" providerId="ADAL" clId="{2B98E168-295F-4675-91AD-98C27118674C}" dt="2021-08-10T10:57:26.370" v="3302" actId="2696"/>
        <pc:sldMkLst>
          <pc:docMk/>
          <pc:sldMk cId="3288957025" sldId="1304"/>
        </pc:sldMkLst>
        <pc:spChg chg="mod">
          <ac:chgData name="Ieva Dzene" userId="36e850b3-6b13-42b6-8b78-9778956e69b6" providerId="ADAL" clId="{2B98E168-295F-4675-91AD-98C27118674C}" dt="2021-08-10T10:55:59.412" v="3295" actId="20577"/>
          <ac:spMkLst>
            <pc:docMk/>
            <pc:sldMk cId="3288957025" sldId="1304"/>
            <ac:spMk id="27" creationId="{82C1FBD4-E916-4C3E-BE64-6D5AB2E4B4DD}"/>
          </ac:spMkLst>
        </pc:spChg>
        <pc:picChg chg="add mod">
          <ac:chgData name="Ieva Dzene" userId="36e850b3-6b13-42b6-8b78-9778956e69b6" providerId="ADAL" clId="{2B98E168-295F-4675-91AD-98C27118674C}" dt="2021-08-10T10:55:47.651" v="3276" actId="1076"/>
          <ac:picMkLst>
            <pc:docMk/>
            <pc:sldMk cId="3288957025" sldId="1304"/>
            <ac:picMk id="4" creationId="{E7F73B6F-9BBA-4E02-9235-A80A7F740EE0}"/>
          </ac:picMkLst>
        </pc:picChg>
        <pc:picChg chg="del">
          <ac:chgData name="Ieva Dzene" userId="36e850b3-6b13-42b6-8b78-9778956e69b6" providerId="ADAL" clId="{2B98E168-295F-4675-91AD-98C27118674C}" dt="2021-08-10T10:53:44.583" v="3269" actId="478"/>
          <ac:picMkLst>
            <pc:docMk/>
            <pc:sldMk cId="3288957025" sldId="1304"/>
            <ac:picMk id="5" creationId="{733184F4-1201-4358-87BD-4BD85893BC66}"/>
          </ac:picMkLst>
        </pc:picChg>
      </pc:sldChg>
      <pc:sldChg chg="addSp delSp modSp add mod">
        <pc:chgData name="Ieva Dzene" userId="36e850b3-6b13-42b6-8b78-9778956e69b6" providerId="ADAL" clId="{2B98E168-295F-4675-91AD-98C27118674C}" dt="2021-08-18T07:29:13.684" v="8008" actId="1076"/>
        <pc:sldMkLst>
          <pc:docMk/>
          <pc:sldMk cId="2009124126" sldId="1305"/>
        </pc:sldMkLst>
        <pc:spChg chg="mod">
          <ac:chgData name="Ieva Dzene" userId="36e850b3-6b13-42b6-8b78-9778956e69b6" providerId="ADAL" clId="{2B98E168-295F-4675-91AD-98C27118674C}" dt="2021-08-18T07:29:01.709" v="8005" actId="20577"/>
          <ac:spMkLst>
            <pc:docMk/>
            <pc:sldMk cId="2009124126" sldId="1305"/>
            <ac:spMk id="3" creationId="{17403686-94D3-4A24-BDEB-07854049E7FA}"/>
          </ac:spMkLst>
        </pc:spChg>
        <pc:spChg chg="add del mod">
          <ac:chgData name="Ieva Dzene" userId="36e850b3-6b13-42b6-8b78-9778956e69b6" providerId="ADAL" clId="{2B98E168-295F-4675-91AD-98C27118674C}" dt="2021-08-18T07:29:10.166" v="8007" actId="478"/>
          <ac:spMkLst>
            <pc:docMk/>
            <pc:sldMk cId="2009124126" sldId="1305"/>
            <ac:spMk id="4" creationId="{B317134C-41A2-4C0C-B828-0579638FB2C0}"/>
          </ac:spMkLst>
        </pc:spChg>
        <pc:spChg chg="del">
          <ac:chgData name="Ieva Dzene" userId="36e850b3-6b13-42b6-8b78-9778956e69b6" providerId="ADAL" clId="{2B98E168-295F-4675-91AD-98C27118674C}" dt="2021-08-18T07:29:08.949" v="8006" actId="478"/>
          <ac:spMkLst>
            <pc:docMk/>
            <pc:sldMk cId="2009124126" sldId="1305"/>
            <ac:spMk id="6" creationId="{A19744FE-0122-4458-A703-1ED9355A7C5F}"/>
          </ac:spMkLst>
        </pc:spChg>
        <pc:spChg chg="mod">
          <ac:chgData name="Ieva Dzene" userId="36e850b3-6b13-42b6-8b78-9778956e69b6" providerId="ADAL" clId="{2B98E168-295F-4675-91AD-98C27118674C}" dt="2021-08-18T07:29:13.684" v="8008" actId="1076"/>
          <ac:spMkLst>
            <pc:docMk/>
            <pc:sldMk cId="2009124126" sldId="1305"/>
            <ac:spMk id="27" creationId="{82C1FBD4-E916-4C3E-BE64-6D5AB2E4B4DD}"/>
          </ac:spMkLst>
        </pc:spChg>
      </pc:sldChg>
      <pc:sldChg chg="addSp delSp modSp add mod setBg delAnim modAnim">
        <pc:chgData name="Ieva Dzene" userId="36e850b3-6b13-42b6-8b78-9778956e69b6" providerId="ADAL" clId="{2B98E168-295F-4675-91AD-98C27118674C}" dt="2021-08-18T07:37:30.652" v="8279" actId="1076"/>
        <pc:sldMkLst>
          <pc:docMk/>
          <pc:sldMk cId="2622729227" sldId="1306"/>
        </pc:sldMkLst>
        <pc:spChg chg="mod">
          <ac:chgData name="Ieva Dzene" userId="36e850b3-6b13-42b6-8b78-9778956e69b6" providerId="ADAL" clId="{2B98E168-295F-4675-91AD-98C27118674C}" dt="2021-08-18T07:37:01.325" v="8270"/>
          <ac:spMkLst>
            <pc:docMk/>
            <pc:sldMk cId="2622729227" sldId="1306"/>
            <ac:spMk id="3" creationId="{17403686-94D3-4A24-BDEB-07854049E7FA}"/>
          </ac:spMkLst>
        </pc:spChg>
        <pc:spChg chg="add del mod">
          <ac:chgData name="Ieva Dzene" userId="36e850b3-6b13-42b6-8b78-9778956e69b6" providerId="ADAL" clId="{2B98E168-295F-4675-91AD-98C27118674C}" dt="2021-08-18T07:37:05.446" v="8272" actId="478"/>
          <ac:spMkLst>
            <pc:docMk/>
            <pc:sldMk cId="2622729227" sldId="1306"/>
            <ac:spMk id="5" creationId="{BA79D091-9A36-41AB-BDF2-A3E91D0C413A}"/>
          </ac:spMkLst>
        </pc:spChg>
        <pc:spChg chg="del mod">
          <ac:chgData name="Ieva Dzene" userId="36e850b3-6b13-42b6-8b78-9778956e69b6" providerId="ADAL" clId="{2B98E168-295F-4675-91AD-98C27118674C}" dt="2021-08-18T07:37:04.729" v="8271" actId="478"/>
          <ac:spMkLst>
            <pc:docMk/>
            <pc:sldMk cId="2622729227" sldId="1306"/>
            <ac:spMk id="6" creationId="{A19744FE-0122-4458-A703-1ED9355A7C5F}"/>
          </ac:spMkLst>
        </pc:spChg>
        <pc:spChg chg="mod ord">
          <ac:chgData name="Ieva Dzene" userId="36e850b3-6b13-42b6-8b78-9778956e69b6" providerId="ADAL" clId="{2B98E168-295F-4675-91AD-98C27118674C}" dt="2021-08-10T11:37:43.594" v="4225" actId="1076"/>
          <ac:spMkLst>
            <pc:docMk/>
            <pc:sldMk cId="2622729227" sldId="1306"/>
            <ac:spMk id="13" creationId="{6382E474-E53D-45F6-8217-BC43C233F78E}"/>
          </ac:spMkLst>
        </pc:spChg>
        <pc:spChg chg="add mod">
          <ac:chgData name="Ieva Dzene" userId="36e850b3-6b13-42b6-8b78-9778956e69b6" providerId="ADAL" clId="{2B98E168-295F-4675-91AD-98C27118674C}" dt="2021-08-18T07:37:30.652" v="8279" actId="1076"/>
          <ac:spMkLst>
            <pc:docMk/>
            <pc:sldMk cId="2622729227" sldId="1306"/>
            <ac:spMk id="14" creationId="{02916964-318B-44CA-A318-FE546B1097F7}"/>
          </ac:spMkLst>
        </pc:spChg>
        <pc:spChg chg="del">
          <ac:chgData name="Ieva Dzene" userId="36e850b3-6b13-42b6-8b78-9778956e69b6" providerId="ADAL" clId="{2B98E168-295F-4675-91AD-98C27118674C}" dt="2021-08-10T11:04:21.832" v="3348" actId="478"/>
          <ac:spMkLst>
            <pc:docMk/>
            <pc:sldMk cId="2622729227" sldId="1306"/>
            <ac:spMk id="15" creationId="{82AF398F-11CD-4FD3-BBDE-E72EB2A68832}"/>
          </ac:spMkLst>
        </pc:spChg>
        <pc:spChg chg="mod">
          <ac:chgData name="Ieva Dzene" userId="36e850b3-6b13-42b6-8b78-9778956e69b6" providerId="ADAL" clId="{2B98E168-295F-4675-91AD-98C27118674C}" dt="2021-08-18T07:37:13.316" v="8276" actId="27636"/>
          <ac:spMkLst>
            <pc:docMk/>
            <pc:sldMk cId="2622729227" sldId="1306"/>
            <ac:spMk id="27" creationId="{82C1FBD4-E916-4C3E-BE64-6D5AB2E4B4DD}"/>
          </ac:spMkLst>
        </pc:spChg>
        <pc:picChg chg="add mod">
          <ac:chgData name="Ieva Dzene" userId="36e850b3-6b13-42b6-8b78-9778956e69b6" providerId="ADAL" clId="{2B98E168-295F-4675-91AD-98C27118674C}" dt="2021-08-10T11:36:25.954" v="4221" actId="108"/>
          <ac:picMkLst>
            <pc:docMk/>
            <pc:sldMk cId="2622729227" sldId="1306"/>
            <ac:picMk id="4" creationId="{097F9E6C-AC29-4039-B605-B777F811B2E2}"/>
          </ac:picMkLst>
        </pc:picChg>
        <pc:picChg chg="add mod modCrop">
          <ac:chgData name="Ieva Dzene" userId="36e850b3-6b13-42b6-8b78-9778956e69b6" providerId="ADAL" clId="{2B98E168-295F-4675-91AD-98C27118674C}" dt="2021-08-18T07:37:30.652" v="8279" actId="1076"/>
          <ac:picMkLst>
            <pc:docMk/>
            <pc:sldMk cId="2622729227" sldId="1306"/>
            <ac:picMk id="7" creationId="{5C593096-BD89-4FFF-8DCC-9225BF6076BF}"/>
          </ac:picMkLst>
        </pc:picChg>
        <pc:picChg chg="del">
          <ac:chgData name="Ieva Dzene" userId="36e850b3-6b13-42b6-8b78-9778956e69b6" providerId="ADAL" clId="{2B98E168-295F-4675-91AD-98C27118674C}" dt="2021-08-10T11:04:19.898" v="3347" actId="478"/>
          <ac:picMkLst>
            <pc:docMk/>
            <pc:sldMk cId="2622729227" sldId="1306"/>
            <ac:picMk id="9" creationId="{C7A33756-77FE-48C9-B88C-9717EC915037}"/>
          </ac:picMkLst>
        </pc:picChg>
        <pc:picChg chg="del">
          <ac:chgData name="Ieva Dzene" userId="36e850b3-6b13-42b6-8b78-9778956e69b6" providerId="ADAL" clId="{2B98E168-295F-4675-91AD-98C27118674C}" dt="2021-08-10T11:04:18.427" v="3346" actId="478"/>
          <ac:picMkLst>
            <pc:docMk/>
            <pc:sldMk cId="2622729227" sldId="1306"/>
            <ac:picMk id="11" creationId="{85AF35B3-44E9-4516-80B2-32618B34E20B}"/>
          </ac:picMkLst>
        </pc:picChg>
      </pc:sldChg>
      <pc:sldChg chg="addSp delSp modSp add mod modAnim">
        <pc:chgData name="Ieva Dzene" userId="36e850b3-6b13-42b6-8b78-9778956e69b6" providerId="ADAL" clId="{2B98E168-295F-4675-91AD-98C27118674C}" dt="2021-08-18T07:57:39.345" v="8757" actId="20577"/>
        <pc:sldMkLst>
          <pc:docMk/>
          <pc:sldMk cId="865222926" sldId="1307"/>
        </pc:sldMkLst>
        <pc:spChg chg="mod">
          <ac:chgData name="Ieva Dzene" userId="36e850b3-6b13-42b6-8b78-9778956e69b6" providerId="ADAL" clId="{2B98E168-295F-4675-91AD-98C27118674C}" dt="2021-08-18T07:44:05.413" v="8386" actId="20577"/>
          <ac:spMkLst>
            <pc:docMk/>
            <pc:sldMk cId="865222926" sldId="1307"/>
            <ac:spMk id="3" creationId="{17403686-94D3-4A24-BDEB-07854049E7FA}"/>
          </ac:spMkLst>
        </pc:spChg>
        <pc:spChg chg="del mod">
          <ac:chgData name="Ieva Dzene" userId="36e850b3-6b13-42b6-8b78-9778956e69b6" providerId="ADAL" clId="{2B98E168-295F-4675-91AD-98C27118674C}" dt="2021-08-18T07:44:06.961" v="8387" actId="478"/>
          <ac:spMkLst>
            <pc:docMk/>
            <pc:sldMk cId="865222926" sldId="1307"/>
            <ac:spMk id="6" creationId="{A19744FE-0122-4458-A703-1ED9355A7C5F}"/>
          </ac:spMkLst>
        </pc:spChg>
        <pc:spChg chg="add mod">
          <ac:chgData name="Ieva Dzene" userId="36e850b3-6b13-42b6-8b78-9778956e69b6" providerId="ADAL" clId="{2B98E168-295F-4675-91AD-98C27118674C}" dt="2021-08-10T12:23:12.185" v="4517" actId="1076"/>
          <ac:spMkLst>
            <pc:docMk/>
            <pc:sldMk cId="865222926" sldId="1307"/>
            <ac:spMk id="10" creationId="{7495752C-619E-4C0D-BDF3-C4155AE955FF}"/>
          </ac:spMkLst>
        </pc:spChg>
        <pc:spChg chg="mod">
          <ac:chgData name="Ieva Dzene" userId="36e850b3-6b13-42b6-8b78-9778956e69b6" providerId="ADAL" clId="{2B98E168-295F-4675-91AD-98C27118674C}" dt="2021-08-18T07:57:39.345" v="8757" actId="20577"/>
          <ac:spMkLst>
            <pc:docMk/>
            <pc:sldMk cId="865222926" sldId="1307"/>
            <ac:spMk id="27" creationId="{82C1FBD4-E916-4C3E-BE64-6D5AB2E4B4DD}"/>
          </ac:spMkLst>
        </pc:spChg>
        <pc:picChg chg="del">
          <ac:chgData name="Ieva Dzene" userId="36e850b3-6b13-42b6-8b78-9778956e69b6" providerId="ADAL" clId="{2B98E168-295F-4675-91AD-98C27118674C}" dt="2021-08-10T12:19:49.884" v="4475" actId="478"/>
          <ac:picMkLst>
            <pc:docMk/>
            <pc:sldMk cId="865222926" sldId="1307"/>
            <ac:picMk id="4" creationId="{B5990CE1-0790-4C63-9E5D-0DCB8348AAB0}"/>
          </ac:picMkLst>
        </pc:picChg>
        <pc:picChg chg="add del mod">
          <ac:chgData name="Ieva Dzene" userId="36e850b3-6b13-42b6-8b78-9778956e69b6" providerId="ADAL" clId="{2B98E168-295F-4675-91AD-98C27118674C}" dt="2021-08-10T12:20:18.632" v="4486" actId="22"/>
          <ac:picMkLst>
            <pc:docMk/>
            <pc:sldMk cId="865222926" sldId="1307"/>
            <ac:picMk id="5" creationId="{8A52FE71-CA6C-4A0C-9190-3F9470A837F4}"/>
          </ac:picMkLst>
        </pc:picChg>
        <pc:picChg chg="add mod">
          <ac:chgData name="Ieva Dzene" userId="36e850b3-6b13-42b6-8b78-9778956e69b6" providerId="ADAL" clId="{2B98E168-295F-4675-91AD-98C27118674C}" dt="2021-08-10T12:23:12.185" v="4517" actId="1076"/>
          <ac:picMkLst>
            <pc:docMk/>
            <pc:sldMk cId="865222926" sldId="1307"/>
            <ac:picMk id="8" creationId="{CEF3CE9E-7867-40A4-8CFE-7AD494B76B4B}"/>
          </ac:picMkLst>
        </pc:picChg>
      </pc:sldChg>
      <pc:sldChg chg="addSp delSp modSp add mod modAnim">
        <pc:chgData name="Ieva Dzene" userId="36e850b3-6b13-42b6-8b78-9778956e69b6" providerId="ADAL" clId="{2B98E168-295F-4675-91AD-98C27118674C}" dt="2021-08-18T07:34:54.831" v="8242" actId="1076"/>
        <pc:sldMkLst>
          <pc:docMk/>
          <pc:sldMk cId="4243250664" sldId="1308"/>
        </pc:sldMkLst>
        <pc:spChg chg="mod">
          <ac:chgData name="Ieva Dzene" userId="36e850b3-6b13-42b6-8b78-9778956e69b6" providerId="ADAL" clId="{2B98E168-295F-4675-91AD-98C27118674C}" dt="2021-08-18T07:34:21.213" v="8236"/>
          <ac:spMkLst>
            <pc:docMk/>
            <pc:sldMk cId="4243250664" sldId="1308"/>
            <ac:spMk id="3" creationId="{17403686-94D3-4A24-BDEB-07854049E7FA}"/>
          </ac:spMkLst>
        </pc:spChg>
        <pc:spChg chg="add del mod">
          <ac:chgData name="Ieva Dzene" userId="36e850b3-6b13-42b6-8b78-9778956e69b6" providerId="ADAL" clId="{2B98E168-295F-4675-91AD-98C27118674C}" dt="2021-08-18T07:34:37.305" v="8238" actId="478"/>
          <ac:spMkLst>
            <pc:docMk/>
            <pc:sldMk cId="4243250664" sldId="1308"/>
            <ac:spMk id="5" creationId="{7A872343-6BA9-4E55-8692-8CAE038D076F}"/>
          </ac:spMkLst>
        </pc:spChg>
        <pc:spChg chg="del">
          <ac:chgData name="Ieva Dzene" userId="36e850b3-6b13-42b6-8b78-9778956e69b6" providerId="ADAL" clId="{2B98E168-295F-4675-91AD-98C27118674C}" dt="2021-08-18T07:34:34.509" v="8237" actId="478"/>
          <ac:spMkLst>
            <pc:docMk/>
            <pc:sldMk cId="4243250664" sldId="1308"/>
            <ac:spMk id="6" creationId="{A19744FE-0122-4458-A703-1ED9355A7C5F}"/>
          </ac:spMkLst>
        </pc:spChg>
        <pc:spChg chg="mod">
          <ac:chgData name="Ieva Dzene" userId="36e850b3-6b13-42b6-8b78-9778956e69b6" providerId="ADAL" clId="{2B98E168-295F-4675-91AD-98C27118674C}" dt="2021-08-18T07:34:48.028" v="8240" actId="1076"/>
          <ac:spMkLst>
            <pc:docMk/>
            <pc:sldMk cId="4243250664" sldId="1308"/>
            <ac:spMk id="14" creationId="{E8105B38-795E-499F-8EB5-9A3CA9759175}"/>
          </ac:spMkLst>
        </pc:spChg>
        <pc:spChg chg="mod">
          <ac:chgData name="Ieva Dzene" userId="36e850b3-6b13-42b6-8b78-9778956e69b6" providerId="ADAL" clId="{2B98E168-295F-4675-91AD-98C27118674C}" dt="2021-08-18T07:34:48.028" v="8240" actId="1076"/>
          <ac:spMkLst>
            <pc:docMk/>
            <pc:sldMk cId="4243250664" sldId="1308"/>
            <ac:spMk id="15" creationId="{56A6E66A-B05A-4BA5-93E6-F287F4E2BB6D}"/>
          </ac:spMkLst>
        </pc:spChg>
        <pc:spChg chg="mod">
          <ac:chgData name="Ieva Dzene" userId="36e850b3-6b13-42b6-8b78-9778956e69b6" providerId="ADAL" clId="{2B98E168-295F-4675-91AD-98C27118674C}" dt="2021-08-18T07:34:48.028" v="8240" actId="1076"/>
          <ac:spMkLst>
            <pc:docMk/>
            <pc:sldMk cId="4243250664" sldId="1308"/>
            <ac:spMk id="16" creationId="{11579AF8-D443-46EB-838D-97DB77F1EC89}"/>
          </ac:spMkLst>
        </pc:spChg>
        <pc:spChg chg="add mod">
          <ac:chgData name="Ieva Dzene" userId="36e850b3-6b13-42b6-8b78-9778956e69b6" providerId="ADAL" clId="{2B98E168-295F-4675-91AD-98C27118674C}" dt="2021-08-18T07:34:52.972" v="8241" actId="1076"/>
          <ac:spMkLst>
            <pc:docMk/>
            <pc:sldMk cId="4243250664" sldId="1308"/>
            <ac:spMk id="17" creationId="{765D7D27-FA97-4A5F-A9D9-55E442EB6CFE}"/>
          </ac:spMkLst>
        </pc:spChg>
        <pc:spChg chg="add mod">
          <ac:chgData name="Ieva Dzene" userId="36e850b3-6b13-42b6-8b78-9778956e69b6" providerId="ADAL" clId="{2B98E168-295F-4675-91AD-98C27118674C}" dt="2021-08-18T07:34:48.028" v="8240" actId="1076"/>
          <ac:spMkLst>
            <pc:docMk/>
            <pc:sldMk cId="4243250664" sldId="1308"/>
            <ac:spMk id="18" creationId="{A5247314-A272-458E-BDC4-AADA81D18EB8}"/>
          </ac:spMkLst>
        </pc:spChg>
        <pc:spChg chg="add mod">
          <ac:chgData name="Ieva Dzene" userId="36e850b3-6b13-42b6-8b78-9778956e69b6" providerId="ADAL" clId="{2B98E168-295F-4675-91AD-98C27118674C}" dt="2021-08-18T07:34:54.831" v="8242" actId="1076"/>
          <ac:spMkLst>
            <pc:docMk/>
            <pc:sldMk cId="4243250664" sldId="1308"/>
            <ac:spMk id="19" creationId="{BE96A4F5-52D3-4790-BBC1-297E5B5B0F7B}"/>
          </ac:spMkLst>
        </pc:spChg>
        <pc:spChg chg="add mod">
          <ac:chgData name="Ieva Dzene" userId="36e850b3-6b13-42b6-8b78-9778956e69b6" providerId="ADAL" clId="{2B98E168-295F-4675-91AD-98C27118674C}" dt="2021-08-18T07:34:48.028" v="8240" actId="1076"/>
          <ac:spMkLst>
            <pc:docMk/>
            <pc:sldMk cId="4243250664" sldId="1308"/>
            <ac:spMk id="20" creationId="{6A30FF4B-7FB0-496F-959A-79676D2080A2}"/>
          </ac:spMkLst>
        </pc:spChg>
        <pc:spChg chg="mod">
          <ac:chgData name="Ieva Dzene" userId="36e850b3-6b13-42b6-8b78-9778956e69b6" providerId="ADAL" clId="{2B98E168-295F-4675-91AD-98C27118674C}" dt="2021-08-18T07:34:48.028" v="8240" actId="1076"/>
          <ac:spMkLst>
            <pc:docMk/>
            <pc:sldMk cId="4243250664" sldId="1308"/>
            <ac:spMk id="24" creationId="{9352B23F-D0A7-441F-9588-9F580594ECFC}"/>
          </ac:spMkLst>
        </pc:spChg>
        <pc:spChg chg="mod">
          <ac:chgData name="Ieva Dzene" userId="36e850b3-6b13-42b6-8b78-9778956e69b6" providerId="ADAL" clId="{2B98E168-295F-4675-91AD-98C27118674C}" dt="2021-08-18T07:34:48.028" v="8240" actId="1076"/>
          <ac:spMkLst>
            <pc:docMk/>
            <pc:sldMk cId="4243250664" sldId="1308"/>
            <ac:spMk id="25" creationId="{EC67DA6D-AB9F-4E6B-A33D-D67A42DB9C97}"/>
          </ac:spMkLst>
        </pc:spChg>
        <pc:spChg chg="mod">
          <ac:chgData name="Ieva Dzene" userId="36e850b3-6b13-42b6-8b78-9778956e69b6" providerId="ADAL" clId="{2B98E168-295F-4675-91AD-98C27118674C}" dt="2021-08-18T07:34:48.028" v="8240" actId="1076"/>
          <ac:spMkLst>
            <pc:docMk/>
            <pc:sldMk cId="4243250664" sldId="1308"/>
            <ac:spMk id="26" creationId="{A0F915BD-F1A1-473B-9515-FFDAF00DD942}"/>
          </ac:spMkLst>
        </pc:spChg>
        <pc:spChg chg="mod">
          <ac:chgData name="Ieva Dzene" userId="36e850b3-6b13-42b6-8b78-9778956e69b6" providerId="ADAL" clId="{2B98E168-295F-4675-91AD-98C27118674C}" dt="2021-08-18T07:34:40.569" v="8239" actId="1076"/>
          <ac:spMkLst>
            <pc:docMk/>
            <pc:sldMk cId="4243250664" sldId="1308"/>
            <ac:spMk id="27" creationId="{82C1FBD4-E916-4C3E-BE64-6D5AB2E4B4DD}"/>
          </ac:spMkLst>
        </pc:spChg>
        <pc:spChg chg="mod">
          <ac:chgData name="Ieva Dzene" userId="36e850b3-6b13-42b6-8b78-9778956e69b6" providerId="ADAL" clId="{2B98E168-295F-4675-91AD-98C27118674C}" dt="2021-08-18T07:34:48.028" v="8240" actId="1076"/>
          <ac:spMkLst>
            <pc:docMk/>
            <pc:sldMk cId="4243250664" sldId="1308"/>
            <ac:spMk id="28" creationId="{976D2326-704B-49D2-B395-D7F16ECFE2B8}"/>
          </ac:spMkLst>
        </pc:spChg>
        <pc:spChg chg="mod">
          <ac:chgData name="Ieva Dzene" userId="36e850b3-6b13-42b6-8b78-9778956e69b6" providerId="ADAL" clId="{2B98E168-295F-4675-91AD-98C27118674C}" dt="2021-08-18T07:34:48.028" v="8240" actId="1076"/>
          <ac:spMkLst>
            <pc:docMk/>
            <pc:sldMk cId="4243250664" sldId="1308"/>
            <ac:spMk id="29" creationId="{F095CAD6-4EA8-41A8-A4FC-93A60BBFEEDD}"/>
          </ac:spMkLst>
        </pc:spChg>
        <pc:spChg chg="mod">
          <ac:chgData name="Ieva Dzene" userId="36e850b3-6b13-42b6-8b78-9778956e69b6" providerId="ADAL" clId="{2B98E168-295F-4675-91AD-98C27118674C}" dt="2021-08-18T07:34:48.028" v="8240" actId="1076"/>
          <ac:spMkLst>
            <pc:docMk/>
            <pc:sldMk cId="4243250664" sldId="1308"/>
            <ac:spMk id="30" creationId="{E26F54A1-9D53-40F8-B84E-AFDCCA5B59EE}"/>
          </ac:spMkLst>
        </pc:spChg>
        <pc:spChg chg="mod">
          <ac:chgData name="Ieva Dzene" userId="36e850b3-6b13-42b6-8b78-9778956e69b6" providerId="ADAL" clId="{2B98E168-295F-4675-91AD-98C27118674C}" dt="2021-08-18T07:34:48.028" v="8240" actId="1076"/>
          <ac:spMkLst>
            <pc:docMk/>
            <pc:sldMk cId="4243250664" sldId="1308"/>
            <ac:spMk id="31" creationId="{D94123A4-8E34-461C-B20D-173B1E902C2C}"/>
          </ac:spMkLst>
        </pc:spChg>
        <pc:picChg chg="mod">
          <ac:chgData name="Ieva Dzene" userId="36e850b3-6b13-42b6-8b78-9778956e69b6" providerId="ADAL" clId="{2B98E168-295F-4675-91AD-98C27118674C}" dt="2021-08-18T07:34:48.028" v="8240" actId="1076"/>
          <ac:picMkLst>
            <pc:docMk/>
            <pc:sldMk cId="4243250664" sldId="1308"/>
            <ac:picMk id="4" creationId="{49B707BA-4B3E-4649-A0D6-614BD42AF1F4}"/>
          </ac:picMkLst>
        </pc:picChg>
      </pc:sldChg>
      <pc:sldChg chg="addSp delSp modSp add mod delAnim modAnim">
        <pc:chgData name="Ieva Dzene" userId="36e850b3-6b13-42b6-8b78-9778956e69b6" providerId="ADAL" clId="{2B98E168-295F-4675-91AD-98C27118674C}" dt="2021-08-18T08:48:37.071" v="9725"/>
        <pc:sldMkLst>
          <pc:docMk/>
          <pc:sldMk cId="4089953594" sldId="1309"/>
        </pc:sldMkLst>
        <pc:spChg chg="mod">
          <ac:chgData name="Ieva Dzene" userId="36e850b3-6b13-42b6-8b78-9778956e69b6" providerId="ADAL" clId="{2B98E168-295F-4675-91AD-98C27118674C}" dt="2021-08-18T07:33:43.164" v="8230" actId="20577"/>
          <ac:spMkLst>
            <pc:docMk/>
            <pc:sldMk cId="4089953594" sldId="1309"/>
            <ac:spMk id="3" creationId="{17403686-94D3-4A24-BDEB-07854049E7FA}"/>
          </ac:spMkLst>
        </pc:spChg>
        <pc:spChg chg="add del mod">
          <ac:chgData name="Ieva Dzene" userId="36e850b3-6b13-42b6-8b78-9778956e69b6" providerId="ADAL" clId="{2B98E168-295F-4675-91AD-98C27118674C}" dt="2021-08-18T07:32:59.495" v="8202" actId="478"/>
          <ac:spMkLst>
            <pc:docMk/>
            <pc:sldMk cId="4089953594" sldId="1309"/>
            <ac:spMk id="4" creationId="{BA00953C-6886-48DA-B330-1CE84DF0F61D}"/>
          </ac:spMkLst>
        </pc:spChg>
        <pc:spChg chg="del mod">
          <ac:chgData name="Ieva Dzene" userId="36e850b3-6b13-42b6-8b78-9778956e69b6" providerId="ADAL" clId="{2B98E168-295F-4675-91AD-98C27118674C}" dt="2021-08-18T07:32:58.662" v="8201" actId="478"/>
          <ac:spMkLst>
            <pc:docMk/>
            <pc:sldMk cId="4089953594" sldId="1309"/>
            <ac:spMk id="6" creationId="{A19744FE-0122-4458-A703-1ED9355A7C5F}"/>
          </ac:spMkLst>
        </pc:spChg>
        <pc:spChg chg="add mod">
          <ac:chgData name="Ieva Dzene" userId="36e850b3-6b13-42b6-8b78-9778956e69b6" providerId="ADAL" clId="{2B98E168-295F-4675-91AD-98C27118674C}" dt="2021-08-18T07:33:19.701" v="8205" actId="1076"/>
          <ac:spMkLst>
            <pc:docMk/>
            <pc:sldMk cId="4089953594" sldId="1309"/>
            <ac:spMk id="8" creationId="{A88AAC0F-0CB5-4DE9-ACB7-FA5189D04C16}"/>
          </ac:spMkLst>
        </pc:spChg>
        <pc:spChg chg="mod">
          <ac:chgData name="Ieva Dzene" userId="36e850b3-6b13-42b6-8b78-9778956e69b6" providerId="ADAL" clId="{2B98E168-295F-4675-91AD-98C27118674C}" dt="2021-08-18T07:33:04.016" v="8203" actId="1076"/>
          <ac:spMkLst>
            <pc:docMk/>
            <pc:sldMk cId="4089953594" sldId="1309"/>
            <ac:spMk id="27" creationId="{82C1FBD4-E916-4C3E-BE64-6D5AB2E4B4DD}"/>
          </ac:spMkLst>
        </pc:spChg>
        <pc:picChg chg="add del mod">
          <ac:chgData name="Ieva Dzene" userId="36e850b3-6b13-42b6-8b78-9778956e69b6" providerId="ADAL" clId="{2B98E168-295F-4675-91AD-98C27118674C}" dt="2021-08-17T07:40:15.689" v="6239" actId="478"/>
          <ac:picMkLst>
            <pc:docMk/>
            <pc:sldMk cId="4089953594" sldId="1309"/>
            <ac:picMk id="4" creationId="{7D81EE9D-642E-4256-A1DE-FE3D371DC672}"/>
          </ac:picMkLst>
        </pc:picChg>
        <pc:picChg chg="mod ord">
          <ac:chgData name="Ieva Dzene" userId="36e850b3-6b13-42b6-8b78-9778956e69b6" providerId="ADAL" clId="{2B98E168-295F-4675-91AD-98C27118674C}" dt="2021-08-18T07:33:19.701" v="8205" actId="1076"/>
          <ac:picMkLst>
            <pc:docMk/>
            <pc:sldMk cId="4089953594" sldId="1309"/>
            <ac:picMk id="5" creationId="{FE1FDEB2-52B4-43CF-AF40-20FF047C6012}"/>
          </ac:picMkLst>
        </pc:picChg>
        <pc:picChg chg="add mod ord">
          <ac:chgData name="Ieva Dzene" userId="36e850b3-6b13-42b6-8b78-9778956e69b6" providerId="ADAL" clId="{2B98E168-295F-4675-91AD-98C27118674C}" dt="2021-08-18T07:33:19.701" v="8205" actId="1076"/>
          <ac:picMkLst>
            <pc:docMk/>
            <pc:sldMk cId="4089953594" sldId="1309"/>
            <ac:picMk id="7" creationId="{D4506786-FDE1-4261-AA2C-18FD379139FB}"/>
          </ac:picMkLst>
        </pc:picChg>
      </pc:sldChg>
      <pc:sldChg chg="modSp mod modAnim">
        <pc:chgData name="Ieva Dzene" userId="36e850b3-6b13-42b6-8b78-9778956e69b6" providerId="ADAL" clId="{2B98E168-295F-4675-91AD-98C27118674C}" dt="2021-08-17T06:52:40.666" v="5689"/>
        <pc:sldMkLst>
          <pc:docMk/>
          <pc:sldMk cId="3902203001" sldId="1312"/>
        </pc:sldMkLst>
        <pc:spChg chg="mod">
          <ac:chgData name="Ieva Dzene" userId="36e850b3-6b13-42b6-8b78-9778956e69b6" providerId="ADAL" clId="{2B98E168-295F-4675-91AD-98C27118674C}" dt="2021-08-17T06:52:15.528" v="5688" actId="14100"/>
          <ac:spMkLst>
            <pc:docMk/>
            <pc:sldMk cId="3902203001" sldId="1312"/>
            <ac:spMk id="30" creationId="{01759D49-D550-4254-8448-3A8E7C85A6AD}"/>
          </ac:spMkLst>
        </pc:spChg>
        <pc:picChg chg="mod">
          <ac:chgData name="Ieva Dzene" userId="36e850b3-6b13-42b6-8b78-9778956e69b6" providerId="ADAL" clId="{2B98E168-295F-4675-91AD-98C27118674C}" dt="2021-08-17T06:52:05.484" v="5686" actId="1076"/>
          <ac:picMkLst>
            <pc:docMk/>
            <pc:sldMk cId="3902203001" sldId="1312"/>
            <ac:picMk id="8" creationId="{B8A928F7-D5ED-49A8-81DE-049BD1557075}"/>
          </ac:picMkLst>
        </pc:picChg>
        <pc:picChg chg="mod">
          <ac:chgData name="Ieva Dzene" userId="36e850b3-6b13-42b6-8b78-9778956e69b6" providerId="ADAL" clId="{2B98E168-295F-4675-91AD-98C27118674C}" dt="2021-08-17T06:51:05.739" v="5683" actId="1076"/>
          <ac:picMkLst>
            <pc:docMk/>
            <pc:sldMk cId="3902203001" sldId="1312"/>
            <ac:picMk id="20" creationId="{546F14A7-E6F7-415D-A4AE-98E9E1FC3701}"/>
          </ac:picMkLst>
        </pc:picChg>
      </pc:sldChg>
      <pc:sldChg chg="addSp delSp modSp add mod ord">
        <pc:chgData name="Ieva Dzene" userId="36e850b3-6b13-42b6-8b78-9778956e69b6" providerId="ADAL" clId="{2B98E168-295F-4675-91AD-98C27118674C}" dt="2021-08-18T07:26:06.851" v="7907" actId="1076"/>
        <pc:sldMkLst>
          <pc:docMk/>
          <pc:sldMk cId="288228102" sldId="1313"/>
        </pc:sldMkLst>
        <pc:spChg chg="mod">
          <ac:chgData name="Ieva Dzene" userId="36e850b3-6b13-42b6-8b78-9778956e69b6" providerId="ADAL" clId="{2B98E168-295F-4675-91AD-98C27118674C}" dt="2021-08-18T07:25:41.053" v="7904"/>
          <ac:spMkLst>
            <pc:docMk/>
            <pc:sldMk cId="288228102" sldId="1313"/>
            <ac:spMk id="3" creationId="{17403686-94D3-4A24-BDEB-07854049E7FA}"/>
          </ac:spMkLst>
        </pc:spChg>
        <pc:spChg chg="add del mod">
          <ac:chgData name="Ieva Dzene" userId="36e850b3-6b13-42b6-8b78-9778956e69b6" providerId="ADAL" clId="{2B98E168-295F-4675-91AD-98C27118674C}" dt="2021-08-18T07:25:54.119" v="7906" actId="478"/>
          <ac:spMkLst>
            <pc:docMk/>
            <pc:sldMk cId="288228102" sldId="1313"/>
            <ac:spMk id="4" creationId="{9E86272D-062A-4C3A-9BAE-C900F27B0A8F}"/>
          </ac:spMkLst>
        </pc:spChg>
        <pc:spChg chg="del">
          <ac:chgData name="Ieva Dzene" userId="36e850b3-6b13-42b6-8b78-9778956e69b6" providerId="ADAL" clId="{2B98E168-295F-4675-91AD-98C27118674C}" dt="2021-08-18T07:25:52.101" v="7905" actId="478"/>
          <ac:spMkLst>
            <pc:docMk/>
            <pc:sldMk cId="288228102" sldId="1313"/>
            <ac:spMk id="6" creationId="{A19744FE-0122-4458-A703-1ED9355A7C5F}"/>
          </ac:spMkLst>
        </pc:spChg>
        <pc:spChg chg="mod">
          <ac:chgData name="Ieva Dzene" userId="36e850b3-6b13-42b6-8b78-9778956e69b6" providerId="ADAL" clId="{2B98E168-295F-4675-91AD-98C27118674C}" dt="2021-08-18T07:26:06.851" v="7907" actId="1076"/>
          <ac:spMkLst>
            <pc:docMk/>
            <pc:sldMk cId="288228102" sldId="1313"/>
            <ac:spMk id="7" creationId="{354E00ED-9B3A-48CE-A286-EDE5B69DB942}"/>
          </ac:spMkLst>
        </pc:spChg>
        <pc:spChg chg="mod">
          <ac:chgData name="Ieva Dzene" userId="36e850b3-6b13-42b6-8b78-9778956e69b6" providerId="ADAL" clId="{2B98E168-295F-4675-91AD-98C27118674C}" dt="2021-08-18T07:26:06.851" v="7907" actId="1076"/>
          <ac:spMkLst>
            <pc:docMk/>
            <pc:sldMk cId="288228102" sldId="1313"/>
            <ac:spMk id="27" creationId="{82C1FBD4-E916-4C3E-BE64-6D5AB2E4B4DD}"/>
          </ac:spMkLst>
        </pc:spChg>
        <pc:picChg chg="add del mod">
          <ac:chgData name="Ieva Dzene" userId="36e850b3-6b13-42b6-8b78-9778956e69b6" providerId="ADAL" clId="{2B98E168-295F-4675-91AD-98C27118674C}" dt="2021-08-11T10:56:26.737" v="5076" actId="22"/>
          <ac:picMkLst>
            <pc:docMk/>
            <pc:sldMk cId="288228102" sldId="1313"/>
            <ac:picMk id="4" creationId="{2AE7B2C2-E3B5-4008-BA9A-427969D25EB1}"/>
          </ac:picMkLst>
        </pc:picChg>
        <pc:picChg chg="mod">
          <ac:chgData name="Ieva Dzene" userId="36e850b3-6b13-42b6-8b78-9778956e69b6" providerId="ADAL" clId="{2B98E168-295F-4675-91AD-98C27118674C}" dt="2021-08-18T07:26:06.851" v="7907" actId="1076"/>
          <ac:picMkLst>
            <pc:docMk/>
            <pc:sldMk cId="288228102" sldId="1313"/>
            <ac:picMk id="5" creationId="{733184F4-1201-4358-87BD-4BD85893BC66}"/>
          </ac:picMkLst>
        </pc:picChg>
      </pc:sldChg>
      <pc:sldChg chg="addSp delSp modSp add mod ord delAnim modAnim">
        <pc:chgData name="Ieva Dzene" userId="36e850b3-6b13-42b6-8b78-9778956e69b6" providerId="ADAL" clId="{2B98E168-295F-4675-91AD-98C27118674C}" dt="2021-08-18T07:25:32.585" v="7902" actId="1076"/>
        <pc:sldMkLst>
          <pc:docMk/>
          <pc:sldMk cId="2693671766" sldId="1314"/>
        </pc:sldMkLst>
        <pc:spChg chg="mod">
          <ac:chgData name="Ieva Dzene" userId="36e850b3-6b13-42b6-8b78-9778956e69b6" providerId="ADAL" clId="{2B98E168-295F-4675-91AD-98C27118674C}" dt="2021-08-18T07:25:02.453" v="7894" actId="20577"/>
          <ac:spMkLst>
            <pc:docMk/>
            <pc:sldMk cId="2693671766" sldId="1314"/>
            <ac:spMk id="3" creationId="{17403686-94D3-4A24-BDEB-07854049E7FA}"/>
          </ac:spMkLst>
        </pc:spChg>
        <pc:spChg chg="add del mod">
          <ac:chgData name="Ieva Dzene" userId="36e850b3-6b13-42b6-8b78-9778956e69b6" providerId="ADAL" clId="{2B98E168-295F-4675-91AD-98C27118674C}" dt="2021-08-18T07:25:17.969" v="7896" actId="478"/>
          <ac:spMkLst>
            <pc:docMk/>
            <pc:sldMk cId="2693671766" sldId="1314"/>
            <ac:spMk id="5" creationId="{840713C5-BAAD-4743-AA7F-1D8BD12AFBE6}"/>
          </ac:spMkLst>
        </pc:spChg>
        <pc:spChg chg="del">
          <ac:chgData name="Ieva Dzene" userId="36e850b3-6b13-42b6-8b78-9778956e69b6" providerId="ADAL" clId="{2B98E168-295F-4675-91AD-98C27118674C}" dt="2021-08-18T07:25:10.909" v="7895" actId="478"/>
          <ac:spMkLst>
            <pc:docMk/>
            <pc:sldMk cId="2693671766" sldId="1314"/>
            <ac:spMk id="6" creationId="{A19744FE-0122-4458-A703-1ED9355A7C5F}"/>
          </ac:spMkLst>
        </pc:spChg>
        <pc:spChg chg="del">
          <ac:chgData name="Ieva Dzene" userId="36e850b3-6b13-42b6-8b78-9778956e69b6" providerId="ADAL" clId="{2B98E168-295F-4675-91AD-98C27118674C}" dt="2021-08-11T10:56:38.911" v="5079" actId="478"/>
          <ac:spMkLst>
            <pc:docMk/>
            <pc:sldMk cId="2693671766" sldId="1314"/>
            <ac:spMk id="7" creationId="{354E00ED-9B3A-48CE-A286-EDE5B69DB942}"/>
          </ac:spMkLst>
        </pc:spChg>
        <pc:spChg chg="add mod">
          <ac:chgData name="Ieva Dzene" userId="36e850b3-6b13-42b6-8b78-9778956e69b6" providerId="ADAL" clId="{2B98E168-295F-4675-91AD-98C27118674C}" dt="2021-08-18T07:25:32.585" v="7902" actId="1076"/>
          <ac:spMkLst>
            <pc:docMk/>
            <pc:sldMk cId="2693671766" sldId="1314"/>
            <ac:spMk id="9" creationId="{9EC0B8BC-792F-40EC-A5E9-3D2A55C1BD2D}"/>
          </ac:spMkLst>
        </pc:spChg>
        <pc:spChg chg="mod">
          <ac:chgData name="Ieva Dzene" userId="36e850b3-6b13-42b6-8b78-9778956e69b6" providerId="ADAL" clId="{2B98E168-295F-4675-91AD-98C27118674C}" dt="2021-08-18T07:25:21.619" v="7897" actId="1076"/>
          <ac:spMkLst>
            <pc:docMk/>
            <pc:sldMk cId="2693671766" sldId="1314"/>
            <ac:spMk id="27" creationId="{82C1FBD4-E916-4C3E-BE64-6D5AB2E4B4DD}"/>
          </ac:spMkLst>
        </pc:spChg>
        <pc:picChg chg="add mod">
          <ac:chgData name="Ieva Dzene" userId="36e850b3-6b13-42b6-8b78-9778956e69b6" providerId="ADAL" clId="{2B98E168-295F-4675-91AD-98C27118674C}" dt="2021-08-18T07:25:32.585" v="7902" actId="1076"/>
          <ac:picMkLst>
            <pc:docMk/>
            <pc:sldMk cId="2693671766" sldId="1314"/>
            <ac:picMk id="4" creationId="{4F0BD6B9-26AF-4913-BB78-08D7CAEB9AD2}"/>
          </ac:picMkLst>
        </pc:picChg>
        <pc:picChg chg="del">
          <ac:chgData name="Ieva Dzene" userId="36e850b3-6b13-42b6-8b78-9778956e69b6" providerId="ADAL" clId="{2B98E168-295F-4675-91AD-98C27118674C}" dt="2021-08-11T10:56:37.642" v="5078" actId="478"/>
          <ac:picMkLst>
            <pc:docMk/>
            <pc:sldMk cId="2693671766" sldId="1314"/>
            <ac:picMk id="5" creationId="{733184F4-1201-4358-87BD-4BD85893BC66}"/>
          </ac:picMkLst>
        </pc:picChg>
      </pc:sldChg>
      <pc:sldChg chg="addSp delSp modSp add mod addAnim delAnim modAnim">
        <pc:chgData name="Ieva Dzene" userId="36e850b3-6b13-42b6-8b78-9778956e69b6" providerId="ADAL" clId="{2B98E168-295F-4675-91AD-98C27118674C}" dt="2021-08-18T08:49:20.805" v="9726" actId="20577"/>
        <pc:sldMkLst>
          <pc:docMk/>
          <pc:sldMk cId="3708196579" sldId="1318"/>
        </pc:sldMkLst>
        <pc:spChg chg="add mod">
          <ac:chgData name="Ieva Dzene" userId="36e850b3-6b13-42b6-8b78-9778956e69b6" providerId="ADAL" clId="{2B98E168-295F-4675-91AD-98C27118674C}" dt="2021-08-18T08:32:58.471" v="9359" actId="1076"/>
          <ac:spMkLst>
            <pc:docMk/>
            <pc:sldMk cId="3708196579" sldId="1318"/>
            <ac:spMk id="10" creationId="{69B5D04D-6A2D-4047-B047-4FD9F36B497B}"/>
          </ac:spMkLst>
        </pc:spChg>
        <pc:spChg chg="add mod">
          <ac:chgData name="Ieva Dzene" userId="36e850b3-6b13-42b6-8b78-9778956e69b6" providerId="ADAL" clId="{2B98E168-295F-4675-91AD-98C27118674C}" dt="2021-08-18T08:33:49.287" v="9364" actId="1076"/>
          <ac:spMkLst>
            <pc:docMk/>
            <pc:sldMk cId="3708196579" sldId="1318"/>
            <ac:spMk id="12" creationId="{E33D0336-B529-41A2-B0A8-36E40586B993}"/>
          </ac:spMkLst>
        </pc:spChg>
        <pc:spChg chg="mod">
          <ac:chgData name="Ieva Dzene" userId="36e850b3-6b13-42b6-8b78-9778956e69b6" providerId="ADAL" clId="{2B98E168-295F-4675-91AD-98C27118674C}" dt="2021-08-18T08:26:25.381" v="9305" actId="1076"/>
          <ac:spMkLst>
            <pc:docMk/>
            <pc:sldMk cId="3708196579" sldId="1318"/>
            <ac:spMk id="15" creationId="{2B24B593-15DD-43BD-A803-4D48647CED90}"/>
          </ac:spMkLst>
        </pc:spChg>
        <pc:spChg chg="mod">
          <ac:chgData name="Ieva Dzene" userId="36e850b3-6b13-42b6-8b78-9778956e69b6" providerId="ADAL" clId="{2B98E168-295F-4675-91AD-98C27118674C}" dt="2021-08-18T08:27:07.312" v="9354" actId="14100"/>
          <ac:spMkLst>
            <pc:docMk/>
            <pc:sldMk cId="3708196579" sldId="1318"/>
            <ac:spMk id="16" creationId="{1C305D3B-EBEA-4A02-9812-5501F0FE1D7F}"/>
          </ac:spMkLst>
        </pc:spChg>
        <pc:spChg chg="mod">
          <ac:chgData name="Ieva Dzene" userId="36e850b3-6b13-42b6-8b78-9778956e69b6" providerId="ADAL" clId="{2B98E168-295F-4675-91AD-98C27118674C}" dt="2021-08-18T08:26:25.381" v="9305" actId="1076"/>
          <ac:spMkLst>
            <pc:docMk/>
            <pc:sldMk cId="3708196579" sldId="1318"/>
            <ac:spMk id="17" creationId="{5A12DD47-3434-4D06-BDE7-A12C149DCD99}"/>
          </ac:spMkLst>
        </pc:spChg>
        <pc:spChg chg="mod">
          <ac:chgData name="Ieva Dzene" userId="36e850b3-6b13-42b6-8b78-9778956e69b6" providerId="ADAL" clId="{2B98E168-295F-4675-91AD-98C27118674C}" dt="2021-08-18T08:49:20.805" v="9726" actId="20577"/>
          <ac:spMkLst>
            <pc:docMk/>
            <pc:sldMk cId="3708196579" sldId="1318"/>
            <ac:spMk id="27" creationId="{82C1FBD4-E916-4C3E-BE64-6D5AB2E4B4DD}"/>
          </ac:spMkLst>
        </pc:spChg>
        <pc:picChg chg="del mod">
          <ac:chgData name="Ieva Dzene" userId="36e850b3-6b13-42b6-8b78-9778956e69b6" providerId="ADAL" clId="{2B98E168-295F-4675-91AD-98C27118674C}" dt="2021-08-18T08:00:13.530" v="8780" actId="478"/>
          <ac:picMkLst>
            <pc:docMk/>
            <pc:sldMk cId="3708196579" sldId="1318"/>
            <ac:picMk id="9" creationId="{29DBAF6E-0A39-474F-B993-7EB0F1F16CE2}"/>
          </ac:picMkLst>
        </pc:picChg>
        <pc:picChg chg="add del mod">
          <ac:chgData name="Ieva Dzene" userId="36e850b3-6b13-42b6-8b78-9778956e69b6" providerId="ADAL" clId="{2B98E168-295F-4675-91AD-98C27118674C}" dt="2021-08-18T08:26:25.381" v="9305" actId="1076"/>
          <ac:picMkLst>
            <pc:docMk/>
            <pc:sldMk cId="3708196579" sldId="1318"/>
            <ac:picMk id="11" creationId="{D9D8ED44-FBB8-410F-B6FE-EF7E9BA7E754}"/>
          </ac:picMkLst>
        </pc:picChg>
        <pc:picChg chg="del mod">
          <ac:chgData name="Ieva Dzene" userId="36e850b3-6b13-42b6-8b78-9778956e69b6" providerId="ADAL" clId="{2B98E168-295F-4675-91AD-98C27118674C}" dt="2021-08-18T07:59:52.767" v="8770" actId="478"/>
          <ac:picMkLst>
            <pc:docMk/>
            <pc:sldMk cId="3708196579" sldId="1318"/>
            <ac:picMk id="13" creationId="{136CE461-38F6-4CC7-92D3-F18B07D473F5}"/>
          </ac:picMkLst>
        </pc:picChg>
      </pc:sldChg>
      <pc:sldChg chg="addSp delSp modSp add mod delAnim modAnim">
        <pc:chgData name="Ieva Dzene" userId="36e850b3-6b13-42b6-8b78-9778956e69b6" providerId="ADAL" clId="{2B98E168-295F-4675-91AD-98C27118674C}" dt="2021-08-18T08:47:12.363" v="9724" actId="20577"/>
        <pc:sldMkLst>
          <pc:docMk/>
          <pc:sldMk cId="448311854" sldId="1319"/>
        </pc:sldMkLst>
        <pc:spChg chg="add mod">
          <ac:chgData name="Ieva Dzene" userId="36e850b3-6b13-42b6-8b78-9778956e69b6" providerId="ADAL" clId="{2B98E168-295F-4675-91AD-98C27118674C}" dt="2021-08-18T08:44:23.008" v="9540" actId="14100"/>
          <ac:spMkLst>
            <pc:docMk/>
            <pc:sldMk cId="448311854" sldId="1319"/>
            <ac:spMk id="10" creationId="{D22F7F8E-9A87-452F-906E-F9F0DF1FC97D}"/>
          </ac:spMkLst>
        </pc:spChg>
        <pc:spChg chg="mod">
          <ac:chgData name="Ieva Dzene" userId="36e850b3-6b13-42b6-8b78-9778956e69b6" providerId="ADAL" clId="{2B98E168-295F-4675-91AD-98C27118674C}" dt="2021-08-18T08:43:25.003" v="9525" actId="1076"/>
          <ac:spMkLst>
            <pc:docMk/>
            <pc:sldMk cId="448311854" sldId="1319"/>
            <ac:spMk id="17" creationId="{5A12DD47-3434-4D06-BDE7-A12C149DCD99}"/>
          </ac:spMkLst>
        </pc:spChg>
        <pc:spChg chg="add mod">
          <ac:chgData name="Ieva Dzene" userId="36e850b3-6b13-42b6-8b78-9778956e69b6" providerId="ADAL" clId="{2B98E168-295F-4675-91AD-98C27118674C}" dt="2021-08-18T08:43:57.535" v="9534" actId="14100"/>
          <ac:spMkLst>
            <pc:docMk/>
            <pc:sldMk cId="448311854" sldId="1319"/>
            <ac:spMk id="18" creationId="{F057845A-1A2F-4E0E-BF39-DC58B9B7B8AC}"/>
          </ac:spMkLst>
        </pc:spChg>
        <pc:spChg chg="add mod">
          <ac:chgData name="Ieva Dzene" userId="36e850b3-6b13-42b6-8b78-9778956e69b6" providerId="ADAL" clId="{2B98E168-295F-4675-91AD-98C27118674C}" dt="2021-08-18T08:44:08.015" v="9537" actId="14100"/>
          <ac:spMkLst>
            <pc:docMk/>
            <pc:sldMk cId="448311854" sldId="1319"/>
            <ac:spMk id="19" creationId="{C3EEC6AA-15AA-4E30-A8D5-9D68E68F8E52}"/>
          </ac:spMkLst>
        </pc:spChg>
        <pc:spChg chg="add del mod">
          <ac:chgData name="Ieva Dzene" userId="36e850b3-6b13-42b6-8b78-9778956e69b6" providerId="ADAL" clId="{2B98E168-295F-4675-91AD-98C27118674C}" dt="2021-08-18T08:46:23.515" v="9656" actId="14100"/>
          <ac:spMkLst>
            <pc:docMk/>
            <pc:sldMk cId="448311854" sldId="1319"/>
            <ac:spMk id="20" creationId="{F46CE194-122B-498E-ABE1-56BB6DE1DB69}"/>
          </ac:spMkLst>
        </pc:spChg>
        <pc:spChg chg="mod">
          <ac:chgData name="Ieva Dzene" userId="36e850b3-6b13-42b6-8b78-9778956e69b6" providerId="ADAL" clId="{2B98E168-295F-4675-91AD-98C27118674C}" dt="2021-08-18T08:47:12.363" v="9724" actId="20577"/>
          <ac:spMkLst>
            <pc:docMk/>
            <pc:sldMk cId="448311854" sldId="1319"/>
            <ac:spMk id="27" creationId="{82C1FBD4-E916-4C3E-BE64-6D5AB2E4B4DD}"/>
          </ac:spMkLst>
        </pc:spChg>
        <pc:picChg chg="add mod">
          <ac:chgData name="Ieva Dzene" userId="36e850b3-6b13-42b6-8b78-9778956e69b6" providerId="ADAL" clId="{2B98E168-295F-4675-91AD-98C27118674C}" dt="2021-08-18T08:44:04.395" v="9536" actId="1076"/>
          <ac:picMkLst>
            <pc:docMk/>
            <pc:sldMk cId="448311854" sldId="1319"/>
            <ac:picMk id="4" creationId="{86BB4C67-CE02-44B3-A2F2-29E389EE83A0}"/>
          </ac:picMkLst>
        </pc:picChg>
        <pc:picChg chg="del mod">
          <ac:chgData name="Ieva Dzene" userId="36e850b3-6b13-42b6-8b78-9778956e69b6" providerId="ADAL" clId="{2B98E168-295F-4675-91AD-98C27118674C}" dt="2021-08-18T08:00:28.476" v="8788" actId="478"/>
          <ac:picMkLst>
            <pc:docMk/>
            <pc:sldMk cId="448311854" sldId="1319"/>
            <ac:picMk id="9" creationId="{29DBAF6E-0A39-474F-B993-7EB0F1F16CE2}"/>
          </ac:picMkLst>
        </pc:picChg>
        <pc:picChg chg="del mod">
          <ac:chgData name="Ieva Dzene" userId="36e850b3-6b13-42b6-8b78-9778956e69b6" providerId="ADAL" clId="{2B98E168-295F-4675-91AD-98C27118674C}" dt="2021-08-18T08:00:26.089" v="8786" actId="478"/>
          <ac:picMkLst>
            <pc:docMk/>
            <pc:sldMk cId="448311854" sldId="1319"/>
            <ac:picMk id="11" creationId="{D9D8ED44-FBB8-410F-B6FE-EF7E9BA7E754}"/>
          </ac:picMkLst>
        </pc:picChg>
        <pc:picChg chg="mod">
          <ac:chgData name="Ieva Dzene" userId="36e850b3-6b13-42b6-8b78-9778956e69b6" providerId="ADAL" clId="{2B98E168-295F-4675-91AD-98C27118674C}" dt="2021-08-18T08:45:14.715" v="9555" actId="1076"/>
          <ac:picMkLst>
            <pc:docMk/>
            <pc:sldMk cId="448311854" sldId="1319"/>
            <ac:picMk id="13" creationId="{136CE461-38F6-4CC7-92D3-F18B07D473F5}"/>
          </ac:picMkLst>
        </pc:picChg>
        <pc:cxnChg chg="add del">
          <ac:chgData name="Ieva Dzene" userId="36e850b3-6b13-42b6-8b78-9778956e69b6" providerId="ADAL" clId="{2B98E168-295F-4675-91AD-98C27118674C}" dt="2021-08-18T08:43:13.407" v="9522" actId="11529"/>
          <ac:cxnSpMkLst>
            <pc:docMk/>
            <pc:sldMk cId="448311854" sldId="1319"/>
            <ac:cxnSpMk id="6" creationId="{10F97F8A-948C-4F2C-9F4E-C9837BE9E06B}"/>
          </ac:cxnSpMkLst>
        </pc:cxnChg>
        <pc:cxnChg chg="add mod">
          <ac:chgData name="Ieva Dzene" userId="36e850b3-6b13-42b6-8b78-9778956e69b6" providerId="ADAL" clId="{2B98E168-295F-4675-91AD-98C27118674C}" dt="2021-08-18T08:44:55.761" v="9548" actId="1076"/>
          <ac:cxnSpMkLst>
            <pc:docMk/>
            <pc:sldMk cId="448311854" sldId="1319"/>
            <ac:cxnSpMk id="8" creationId="{A639A29D-546E-4C47-9AE7-4C7546F0A04B}"/>
          </ac:cxnSpMkLst>
        </pc:cxnChg>
      </pc:sldChg>
      <pc:sldChg chg="addSp delSp modSp add mod delAnim modAnim">
        <pc:chgData name="Ieva Dzene" userId="36e850b3-6b13-42b6-8b78-9778956e69b6" providerId="ADAL" clId="{2B98E168-295F-4675-91AD-98C27118674C}" dt="2021-08-18T11:32:26.354" v="10186" actId="313"/>
        <pc:sldMkLst>
          <pc:docMk/>
          <pc:sldMk cId="2267943728" sldId="1321"/>
        </pc:sldMkLst>
        <pc:spChg chg="del">
          <ac:chgData name="Ieva Dzene" userId="36e850b3-6b13-42b6-8b78-9778956e69b6" providerId="ADAL" clId="{2B98E168-295F-4675-91AD-98C27118674C}" dt="2021-08-18T11:11:18.869" v="9804" actId="478"/>
          <ac:spMkLst>
            <pc:docMk/>
            <pc:sldMk cId="2267943728" sldId="1321"/>
            <ac:spMk id="10" creationId="{A77046A8-3300-4825-9DCA-B7BB8B8ABBED}"/>
          </ac:spMkLst>
        </pc:spChg>
        <pc:spChg chg="mod ord">
          <ac:chgData name="Ieva Dzene" userId="36e850b3-6b13-42b6-8b78-9778956e69b6" providerId="ADAL" clId="{2B98E168-295F-4675-91AD-98C27118674C}" dt="2021-08-18T11:20:27.475" v="9841" actId="1076"/>
          <ac:spMkLst>
            <pc:docMk/>
            <pc:sldMk cId="2267943728" sldId="1321"/>
            <ac:spMk id="13" creationId="{6382E474-E53D-45F6-8217-BC43C233F78E}"/>
          </ac:spMkLst>
        </pc:spChg>
        <pc:spChg chg="del">
          <ac:chgData name="Ieva Dzene" userId="36e850b3-6b13-42b6-8b78-9778956e69b6" providerId="ADAL" clId="{2B98E168-295F-4675-91AD-98C27118674C}" dt="2021-08-18T11:11:23.041" v="9806" actId="478"/>
          <ac:spMkLst>
            <pc:docMk/>
            <pc:sldMk cId="2267943728" sldId="1321"/>
            <ac:spMk id="15" creationId="{82AF398F-11CD-4FD3-BBDE-E72EB2A68832}"/>
          </ac:spMkLst>
        </pc:spChg>
        <pc:spChg chg="add mod">
          <ac:chgData name="Ieva Dzene" userId="36e850b3-6b13-42b6-8b78-9778956e69b6" providerId="ADAL" clId="{2B98E168-295F-4675-91AD-98C27118674C}" dt="2021-08-18T11:20:27.475" v="9841" actId="1076"/>
          <ac:spMkLst>
            <pc:docMk/>
            <pc:sldMk cId="2267943728" sldId="1321"/>
            <ac:spMk id="16" creationId="{F3B19119-11A0-4D4C-9D49-0C82C08D02AA}"/>
          </ac:spMkLst>
        </pc:spChg>
        <pc:spChg chg="add mod">
          <ac:chgData name="Ieva Dzene" userId="36e850b3-6b13-42b6-8b78-9778956e69b6" providerId="ADAL" clId="{2B98E168-295F-4675-91AD-98C27118674C}" dt="2021-08-18T11:20:32.595" v="9842" actId="1076"/>
          <ac:spMkLst>
            <pc:docMk/>
            <pc:sldMk cId="2267943728" sldId="1321"/>
            <ac:spMk id="17" creationId="{A57E91E9-FD52-4AD3-A565-C8953B5BCE86}"/>
          </ac:spMkLst>
        </pc:spChg>
        <pc:spChg chg="add mod">
          <ac:chgData name="Ieva Dzene" userId="36e850b3-6b13-42b6-8b78-9778956e69b6" providerId="ADAL" clId="{2B98E168-295F-4675-91AD-98C27118674C}" dt="2021-08-18T11:21:36.196" v="9853" actId="20577"/>
          <ac:spMkLst>
            <pc:docMk/>
            <pc:sldMk cId="2267943728" sldId="1321"/>
            <ac:spMk id="18" creationId="{55EC32D7-7585-41B3-BA3B-2D8D2CB996B9}"/>
          </ac:spMkLst>
        </pc:spChg>
        <pc:spChg chg="add mod">
          <ac:chgData name="Ieva Dzene" userId="36e850b3-6b13-42b6-8b78-9778956e69b6" providerId="ADAL" clId="{2B98E168-295F-4675-91AD-98C27118674C}" dt="2021-08-18T11:21:57.862" v="9857" actId="1076"/>
          <ac:spMkLst>
            <pc:docMk/>
            <pc:sldMk cId="2267943728" sldId="1321"/>
            <ac:spMk id="19" creationId="{21498F43-4D97-40E7-9E74-837C7BDA0610}"/>
          </ac:spMkLst>
        </pc:spChg>
        <pc:spChg chg="add mod">
          <ac:chgData name="Ieva Dzene" userId="36e850b3-6b13-42b6-8b78-9778956e69b6" providerId="ADAL" clId="{2B98E168-295F-4675-91AD-98C27118674C}" dt="2021-08-18T11:27:13.540" v="9891" actId="14100"/>
          <ac:spMkLst>
            <pc:docMk/>
            <pc:sldMk cId="2267943728" sldId="1321"/>
            <ac:spMk id="20" creationId="{552EF32D-71D5-464B-82E6-E951468D81C8}"/>
          </ac:spMkLst>
        </pc:spChg>
        <pc:spChg chg="mod">
          <ac:chgData name="Ieva Dzene" userId="36e850b3-6b13-42b6-8b78-9778956e69b6" providerId="ADAL" clId="{2B98E168-295F-4675-91AD-98C27118674C}" dt="2021-08-18T11:32:26.354" v="10186" actId="313"/>
          <ac:spMkLst>
            <pc:docMk/>
            <pc:sldMk cId="2267943728" sldId="1321"/>
            <ac:spMk id="27" creationId="{82C1FBD4-E916-4C3E-BE64-6D5AB2E4B4DD}"/>
          </ac:spMkLst>
        </pc:spChg>
        <pc:picChg chg="add mod">
          <ac:chgData name="Ieva Dzene" userId="36e850b3-6b13-42b6-8b78-9778956e69b6" providerId="ADAL" clId="{2B98E168-295F-4675-91AD-98C27118674C}" dt="2021-08-18T11:27:01.020" v="9888" actId="1076"/>
          <ac:picMkLst>
            <pc:docMk/>
            <pc:sldMk cId="2267943728" sldId="1321"/>
            <ac:picMk id="4" creationId="{30FCB20F-7385-4028-976F-B8D9142182A4}"/>
          </ac:picMkLst>
        </pc:picChg>
        <pc:picChg chg="add del mod">
          <ac:chgData name="Ieva Dzene" userId="36e850b3-6b13-42b6-8b78-9778956e69b6" providerId="ADAL" clId="{2B98E168-295F-4675-91AD-98C27118674C}" dt="2021-08-18T11:19:03.185" v="9820" actId="478"/>
          <ac:picMkLst>
            <pc:docMk/>
            <pc:sldMk cId="2267943728" sldId="1321"/>
            <ac:picMk id="6" creationId="{BCD15FF0-F0AE-40A8-91A2-28CD30D1B76E}"/>
          </ac:picMkLst>
        </pc:picChg>
        <pc:picChg chg="add mod">
          <ac:chgData name="Ieva Dzene" userId="36e850b3-6b13-42b6-8b78-9778956e69b6" providerId="ADAL" clId="{2B98E168-295F-4675-91AD-98C27118674C}" dt="2021-08-18T11:20:32.595" v="9842" actId="1076"/>
          <ac:picMkLst>
            <pc:docMk/>
            <pc:sldMk cId="2267943728" sldId="1321"/>
            <ac:picMk id="8" creationId="{361703F7-3560-4AA4-A64E-4C3401BDFF51}"/>
          </ac:picMkLst>
        </pc:picChg>
        <pc:picChg chg="del">
          <ac:chgData name="Ieva Dzene" userId="36e850b3-6b13-42b6-8b78-9778956e69b6" providerId="ADAL" clId="{2B98E168-295F-4675-91AD-98C27118674C}" dt="2021-08-18T11:11:21.712" v="9805" actId="478"/>
          <ac:picMkLst>
            <pc:docMk/>
            <pc:sldMk cId="2267943728" sldId="1321"/>
            <ac:picMk id="9" creationId="{C7A33756-77FE-48C9-B88C-9717EC915037}"/>
          </ac:picMkLst>
        </pc:picChg>
        <pc:picChg chg="del">
          <ac:chgData name="Ieva Dzene" userId="36e850b3-6b13-42b6-8b78-9778956e69b6" providerId="ADAL" clId="{2B98E168-295F-4675-91AD-98C27118674C}" dt="2021-08-18T11:11:16.742" v="9803" actId="478"/>
          <ac:picMkLst>
            <pc:docMk/>
            <pc:sldMk cId="2267943728" sldId="1321"/>
            <ac:picMk id="11" creationId="{85AF35B3-44E9-4516-80B2-32618B34E20B}"/>
          </ac:picMkLst>
        </pc:picChg>
      </pc:sldChg>
      <pc:sldChg chg="addSp delSp modSp mod">
        <pc:chgData name="Ieva Dzene" userId="36e850b3-6b13-42b6-8b78-9778956e69b6" providerId="ADAL" clId="{2B98E168-295F-4675-91AD-98C27118674C}" dt="2021-08-20T09:30:36.886" v="11153" actId="20577"/>
        <pc:sldMkLst>
          <pc:docMk/>
          <pc:sldMk cId="3520973715" sldId="1322"/>
        </pc:sldMkLst>
        <pc:spChg chg="mod">
          <ac:chgData name="Ieva Dzene" userId="36e850b3-6b13-42b6-8b78-9778956e69b6" providerId="ADAL" clId="{2B98E168-295F-4675-91AD-98C27118674C}" dt="2021-08-18T11:33:11.058" v="10187"/>
          <ac:spMkLst>
            <pc:docMk/>
            <pc:sldMk cId="3520973715" sldId="1322"/>
            <ac:spMk id="3" creationId="{17403686-94D3-4A24-BDEB-07854049E7FA}"/>
          </ac:spMkLst>
        </pc:spChg>
        <pc:spChg chg="del mod">
          <ac:chgData name="Ieva Dzene" userId="36e850b3-6b13-42b6-8b78-9778956e69b6" providerId="ADAL" clId="{2B98E168-295F-4675-91AD-98C27118674C}" dt="2021-08-18T11:50:39.757" v="10979" actId="478"/>
          <ac:spMkLst>
            <pc:docMk/>
            <pc:sldMk cId="3520973715" sldId="1322"/>
            <ac:spMk id="8" creationId="{0B99FBE0-26FA-49A4-9CEF-1339024C2F7A}"/>
          </ac:spMkLst>
        </pc:spChg>
        <pc:spChg chg="del mod">
          <ac:chgData name="Ieva Dzene" userId="36e850b3-6b13-42b6-8b78-9778956e69b6" providerId="ADAL" clId="{2B98E168-295F-4675-91AD-98C27118674C}" dt="2021-08-18T11:50:35.214" v="10978" actId="478"/>
          <ac:spMkLst>
            <pc:docMk/>
            <pc:sldMk cId="3520973715" sldId="1322"/>
            <ac:spMk id="9" creationId="{AD8A2925-BF12-4C3F-A74B-8C2367A8E60A}"/>
          </ac:spMkLst>
        </pc:spChg>
        <pc:spChg chg="del">
          <ac:chgData name="Ieva Dzene" userId="36e850b3-6b13-42b6-8b78-9778956e69b6" providerId="ADAL" clId="{2B98E168-295F-4675-91AD-98C27118674C}" dt="2021-08-18T11:33:57.504" v="10190" actId="478"/>
          <ac:spMkLst>
            <pc:docMk/>
            <pc:sldMk cId="3520973715" sldId="1322"/>
            <ac:spMk id="11" creationId="{445889AB-4FAE-4A11-A432-238E4D425409}"/>
          </ac:spMkLst>
        </pc:spChg>
        <pc:spChg chg="del">
          <ac:chgData name="Ieva Dzene" userId="36e850b3-6b13-42b6-8b78-9778956e69b6" providerId="ADAL" clId="{2B98E168-295F-4675-91AD-98C27118674C}" dt="2021-08-18T11:33:52.923" v="10189" actId="478"/>
          <ac:spMkLst>
            <pc:docMk/>
            <pc:sldMk cId="3520973715" sldId="1322"/>
            <ac:spMk id="12" creationId="{4154A83D-08F5-4978-B5BC-324BCD19DC84}"/>
          </ac:spMkLst>
        </pc:spChg>
        <pc:spChg chg="del mod">
          <ac:chgData name="Ieva Dzene" userId="36e850b3-6b13-42b6-8b78-9778956e69b6" providerId="ADAL" clId="{2B98E168-295F-4675-91AD-98C27118674C}" dt="2021-08-18T11:50:39.757" v="10979" actId="478"/>
          <ac:spMkLst>
            <pc:docMk/>
            <pc:sldMk cId="3520973715" sldId="1322"/>
            <ac:spMk id="13" creationId="{FE0FEF1E-2798-46D1-ACFD-AAB211479A00}"/>
          </ac:spMkLst>
        </pc:spChg>
        <pc:spChg chg="del mod">
          <ac:chgData name="Ieva Dzene" userId="36e850b3-6b13-42b6-8b78-9778956e69b6" providerId="ADAL" clId="{2B98E168-295F-4675-91AD-98C27118674C}" dt="2021-08-18T11:50:35.214" v="10978" actId="478"/>
          <ac:spMkLst>
            <pc:docMk/>
            <pc:sldMk cId="3520973715" sldId="1322"/>
            <ac:spMk id="14" creationId="{2C237937-D3B2-4E38-8356-71E22A9DDA56}"/>
          </ac:spMkLst>
        </pc:spChg>
        <pc:spChg chg="del mod">
          <ac:chgData name="Ieva Dzene" userId="36e850b3-6b13-42b6-8b78-9778956e69b6" providerId="ADAL" clId="{2B98E168-295F-4675-91AD-98C27118674C}" dt="2021-08-18T11:50:35.214" v="10978" actId="478"/>
          <ac:spMkLst>
            <pc:docMk/>
            <pc:sldMk cId="3520973715" sldId="1322"/>
            <ac:spMk id="15" creationId="{AFD4F5CE-572B-42A7-BEAF-522BAFC205D0}"/>
          </ac:spMkLst>
        </pc:spChg>
        <pc:spChg chg="del mod">
          <ac:chgData name="Ieva Dzene" userId="36e850b3-6b13-42b6-8b78-9778956e69b6" providerId="ADAL" clId="{2B98E168-295F-4675-91AD-98C27118674C}" dt="2021-08-18T11:50:39.757" v="10979" actId="478"/>
          <ac:spMkLst>
            <pc:docMk/>
            <pc:sldMk cId="3520973715" sldId="1322"/>
            <ac:spMk id="17" creationId="{E58E9486-F851-4C70-A99E-F83BCCDA50DD}"/>
          </ac:spMkLst>
        </pc:spChg>
        <pc:spChg chg="del mod">
          <ac:chgData name="Ieva Dzene" userId="36e850b3-6b13-42b6-8b78-9778956e69b6" providerId="ADAL" clId="{2B98E168-295F-4675-91AD-98C27118674C}" dt="2021-08-18T11:50:39.757" v="10979" actId="478"/>
          <ac:spMkLst>
            <pc:docMk/>
            <pc:sldMk cId="3520973715" sldId="1322"/>
            <ac:spMk id="18" creationId="{2E782CF3-1A14-48F1-AAD2-7C26FEA5C1D2}"/>
          </ac:spMkLst>
        </pc:spChg>
        <pc:spChg chg="del mod">
          <ac:chgData name="Ieva Dzene" userId="36e850b3-6b13-42b6-8b78-9778956e69b6" providerId="ADAL" clId="{2B98E168-295F-4675-91AD-98C27118674C}" dt="2021-08-18T11:50:39.757" v="10979" actId="478"/>
          <ac:spMkLst>
            <pc:docMk/>
            <pc:sldMk cId="3520973715" sldId="1322"/>
            <ac:spMk id="19" creationId="{9FCF82FF-20D3-4072-AAA6-F17F935C2AF6}"/>
          </ac:spMkLst>
        </pc:spChg>
        <pc:spChg chg="del mod">
          <ac:chgData name="Ieva Dzene" userId="36e850b3-6b13-42b6-8b78-9778956e69b6" providerId="ADAL" clId="{2B98E168-295F-4675-91AD-98C27118674C}" dt="2021-08-18T11:50:35.214" v="10978" actId="478"/>
          <ac:spMkLst>
            <pc:docMk/>
            <pc:sldMk cId="3520973715" sldId="1322"/>
            <ac:spMk id="20" creationId="{E26BD8D3-7C14-40C7-9BF5-8F39A856012F}"/>
          </ac:spMkLst>
        </pc:spChg>
        <pc:spChg chg="del mod">
          <ac:chgData name="Ieva Dzene" userId="36e850b3-6b13-42b6-8b78-9778956e69b6" providerId="ADAL" clId="{2B98E168-295F-4675-91AD-98C27118674C}" dt="2021-08-18T11:50:39.757" v="10979" actId="478"/>
          <ac:spMkLst>
            <pc:docMk/>
            <pc:sldMk cId="3520973715" sldId="1322"/>
            <ac:spMk id="21" creationId="{8F79E85F-B54C-49DF-A034-7ACC49C8F0ED}"/>
          </ac:spMkLst>
        </pc:spChg>
        <pc:spChg chg="del mod">
          <ac:chgData name="Ieva Dzene" userId="36e850b3-6b13-42b6-8b78-9778956e69b6" providerId="ADAL" clId="{2B98E168-295F-4675-91AD-98C27118674C}" dt="2021-08-18T11:50:30.815" v="10977" actId="478"/>
          <ac:spMkLst>
            <pc:docMk/>
            <pc:sldMk cId="3520973715" sldId="1322"/>
            <ac:spMk id="27" creationId="{82C1FBD4-E916-4C3E-BE64-6D5AB2E4B4DD}"/>
          </ac:spMkLst>
        </pc:spChg>
        <pc:spChg chg="del mod">
          <ac:chgData name="Ieva Dzene" userId="36e850b3-6b13-42b6-8b78-9778956e69b6" providerId="ADAL" clId="{2B98E168-295F-4675-91AD-98C27118674C}" dt="2021-08-18T11:50:35.214" v="10978" actId="478"/>
          <ac:spMkLst>
            <pc:docMk/>
            <pc:sldMk cId="3520973715" sldId="1322"/>
            <ac:spMk id="34" creationId="{C3F3B519-0675-40AC-83EB-CD7FC361B062}"/>
          </ac:spMkLst>
        </pc:spChg>
        <pc:spChg chg="add del mod">
          <ac:chgData name="Ieva Dzene" userId="36e850b3-6b13-42b6-8b78-9778956e69b6" providerId="ADAL" clId="{2B98E168-295F-4675-91AD-98C27118674C}" dt="2021-08-18T11:50:47.812" v="10980" actId="478"/>
          <ac:spMkLst>
            <pc:docMk/>
            <pc:sldMk cId="3520973715" sldId="1322"/>
            <ac:spMk id="39" creationId="{BB404662-082A-4C67-956E-376464F11C98}"/>
          </ac:spMkLst>
        </pc:spChg>
        <pc:spChg chg="del mod">
          <ac:chgData name="Ieva Dzene" userId="36e850b3-6b13-42b6-8b78-9778956e69b6" providerId="ADAL" clId="{2B98E168-295F-4675-91AD-98C27118674C}" dt="2021-08-18T11:50:35.214" v="10978" actId="478"/>
          <ac:spMkLst>
            <pc:docMk/>
            <pc:sldMk cId="3520973715" sldId="1322"/>
            <ac:spMk id="47" creationId="{2967DFF7-13AA-48FB-974F-7A250D9E829D}"/>
          </ac:spMkLst>
        </pc:spChg>
        <pc:spChg chg="del">
          <ac:chgData name="Ieva Dzene" userId="36e850b3-6b13-42b6-8b78-9778956e69b6" providerId="ADAL" clId="{2B98E168-295F-4675-91AD-98C27118674C}" dt="2021-08-18T11:33:52.923" v="10189" actId="478"/>
          <ac:spMkLst>
            <pc:docMk/>
            <pc:sldMk cId="3520973715" sldId="1322"/>
            <ac:spMk id="48" creationId="{45268AB9-BAA4-40CE-944D-449DCDBB4A25}"/>
          </ac:spMkLst>
        </pc:spChg>
        <pc:spChg chg="add del mod">
          <ac:chgData name="Ieva Dzene" userId="36e850b3-6b13-42b6-8b78-9778956e69b6" providerId="ADAL" clId="{2B98E168-295F-4675-91AD-98C27118674C}" dt="2021-08-18T11:34:27.117" v="10199"/>
          <ac:spMkLst>
            <pc:docMk/>
            <pc:sldMk cId="3520973715" sldId="1322"/>
            <ac:spMk id="51" creationId="{DB0B49B1-BA75-4215-9CCB-936052AE7502}"/>
          </ac:spMkLst>
        </pc:spChg>
        <pc:spChg chg="add del mod">
          <ac:chgData name="Ieva Dzene" userId="36e850b3-6b13-42b6-8b78-9778956e69b6" providerId="ADAL" clId="{2B98E168-295F-4675-91AD-98C27118674C}" dt="2021-08-18T11:34:27.117" v="10199"/>
          <ac:spMkLst>
            <pc:docMk/>
            <pc:sldMk cId="3520973715" sldId="1322"/>
            <ac:spMk id="53" creationId="{B7ED942F-C6FD-478D-89C5-3435EB984072}"/>
          </ac:spMkLst>
        </pc:spChg>
        <pc:spChg chg="add del mod">
          <ac:chgData name="Ieva Dzene" userId="36e850b3-6b13-42b6-8b78-9778956e69b6" providerId="ADAL" clId="{2B98E168-295F-4675-91AD-98C27118674C}" dt="2021-08-18T11:34:27.117" v="10199"/>
          <ac:spMkLst>
            <pc:docMk/>
            <pc:sldMk cId="3520973715" sldId="1322"/>
            <ac:spMk id="54" creationId="{E9FE60D4-E0DD-4499-8297-7A2803DFA799}"/>
          </ac:spMkLst>
        </pc:spChg>
        <pc:spChg chg="add del mod">
          <ac:chgData name="Ieva Dzene" userId="36e850b3-6b13-42b6-8b78-9778956e69b6" providerId="ADAL" clId="{2B98E168-295F-4675-91AD-98C27118674C}" dt="2021-08-18T11:34:27.117" v="10199"/>
          <ac:spMkLst>
            <pc:docMk/>
            <pc:sldMk cId="3520973715" sldId="1322"/>
            <ac:spMk id="55" creationId="{0DF8645C-ED67-4329-B1A6-F426472B84A5}"/>
          </ac:spMkLst>
        </pc:spChg>
        <pc:spChg chg="add del mod">
          <ac:chgData name="Ieva Dzene" userId="36e850b3-6b13-42b6-8b78-9778956e69b6" providerId="ADAL" clId="{2B98E168-295F-4675-91AD-98C27118674C}" dt="2021-08-18T11:34:27.117" v="10199"/>
          <ac:spMkLst>
            <pc:docMk/>
            <pc:sldMk cId="3520973715" sldId="1322"/>
            <ac:spMk id="56" creationId="{A63C97F6-D0A7-426C-92D8-058D0DC8D910}"/>
          </ac:spMkLst>
        </pc:spChg>
        <pc:spChg chg="add del mod">
          <ac:chgData name="Ieva Dzene" userId="36e850b3-6b13-42b6-8b78-9778956e69b6" providerId="ADAL" clId="{2B98E168-295F-4675-91AD-98C27118674C}" dt="2021-08-18T11:34:27.117" v="10199"/>
          <ac:spMkLst>
            <pc:docMk/>
            <pc:sldMk cId="3520973715" sldId="1322"/>
            <ac:spMk id="57" creationId="{F99C1828-5D0D-42DE-97A6-0A736FCCB00E}"/>
          </ac:spMkLst>
        </pc:spChg>
        <pc:spChg chg="add del mod">
          <ac:chgData name="Ieva Dzene" userId="36e850b3-6b13-42b6-8b78-9778956e69b6" providerId="ADAL" clId="{2B98E168-295F-4675-91AD-98C27118674C}" dt="2021-08-18T11:34:27.117" v="10199"/>
          <ac:spMkLst>
            <pc:docMk/>
            <pc:sldMk cId="3520973715" sldId="1322"/>
            <ac:spMk id="58" creationId="{6869BAE7-422E-468D-BD9E-506786287BE5}"/>
          </ac:spMkLst>
        </pc:spChg>
        <pc:spChg chg="add del mod">
          <ac:chgData name="Ieva Dzene" userId="36e850b3-6b13-42b6-8b78-9778956e69b6" providerId="ADAL" clId="{2B98E168-295F-4675-91AD-98C27118674C}" dt="2021-08-18T11:34:27.117" v="10199"/>
          <ac:spMkLst>
            <pc:docMk/>
            <pc:sldMk cId="3520973715" sldId="1322"/>
            <ac:spMk id="59" creationId="{88B90DAB-F670-4E75-9E18-EEA08A3CD3F5}"/>
          </ac:spMkLst>
        </pc:spChg>
        <pc:spChg chg="add del mod">
          <ac:chgData name="Ieva Dzene" userId="36e850b3-6b13-42b6-8b78-9778956e69b6" providerId="ADAL" clId="{2B98E168-295F-4675-91AD-98C27118674C}" dt="2021-08-18T11:34:27.117" v="10199"/>
          <ac:spMkLst>
            <pc:docMk/>
            <pc:sldMk cId="3520973715" sldId="1322"/>
            <ac:spMk id="60" creationId="{4E3F07D0-97A8-410B-9B1D-2ED886BFAAD9}"/>
          </ac:spMkLst>
        </pc:spChg>
        <pc:spChg chg="add del mod">
          <ac:chgData name="Ieva Dzene" userId="36e850b3-6b13-42b6-8b78-9778956e69b6" providerId="ADAL" clId="{2B98E168-295F-4675-91AD-98C27118674C}" dt="2021-08-18T11:34:27.117" v="10199"/>
          <ac:spMkLst>
            <pc:docMk/>
            <pc:sldMk cId="3520973715" sldId="1322"/>
            <ac:spMk id="61" creationId="{26F0CC51-9B31-4216-947E-B3494A41902E}"/>
          </ac:spMkLst>
        </pc:spChg>
        <pc:spChg chg="add del mod">
          <ac:chgData name="Ieva Dzene" userId="36e850b3-6b13-42b6-8b78-9778956e69b6" providerId="ADAL" clId="{2B98E168-295F-4675-91AD-98C27118674C}" dt="2021-08-18T11:34:27.117" v="10199"/>
          <ac:spMkLst>
            <pc:docMk/>
            <pc:sldMk cId="3520973715" sldId="1322"/>
            <ac:spMk id="66" creationId="{389F1617-739C-4C53-B831-59DD4813B97E}"/>
          </ac:spMkLst>
        </pc:spChg>
        <pc:spChg chg="del">
          <ac:chgData name="Ieva Dzene" userId="36e850b3-6b13-42b6-8b78-9778956e69b6" providerId="ADAL" clId="{2B98E168-295F-4675-91AD-98C27118674C}" dt="2021-08-18T11:33:57.504" v="10190" actId="478"/>
          <ac:spMkLst>
            <pc:docMk/>
            <pc:sldMk cId="3520973715" sldId="1322"/>
            <ac:spMk id="70" creationId="{C14BF1F3-A38F-4047-B361-8973DBF9770A}"/>
          </ac:spMkLst>
        </pc:spChg>
        <pc:spChg chg="del">
          <ac:chgData name="Ieva Dzene" userId="36e850b3-6b13-42b6-8b78-9778956e69b6" providerId="ADAL" clId="{2B98E168-295F-4675-91AD-98C27118674C}" dt="2021-08-18T11:33:57.504" v="10190" actId="478"/>
          <ac:spMkLst>
            <pc:docMk/>
            <pc:sldMk cId="3520973715" sldId="1322"/>
            <ac:spMk id="71" creationId="{B8C705F8-D9F5-4CD3-BBC2-3BE85E39DC64}"/>
          </ac:spMkLst>
        </pc:spChg>
        <pc:spChg chg="del">
          <ac:chgData name="Ieva Dzene" userId="36e850b3-6b13-42b6-8b78-9778956e69b6" providerId="ADAL" clId="{2B98E168-295F-4675-91AD-98C27118674C}" dt="2021-08-18T11:33:57.504" v="10190" actId="478"/>
          <ac:spMkLst>
            <pc:docMk/>
            <pc:sldMk cId="3520973715" sldId="1322"/>
            <ac:spMk id="72" creationId="{3E26D264-9999-414F-891F-B158C75C790B}"/>
          </ac:spMkLst>
        </pc:spChg>
        <pc:spChg chg="del">
          <ac:chgData name="Ieva Dzene" userId="36e850b3-6b13-42b6-8b78-9778956e69b6" providerId="ADAL" clId="{2B98E168-295F-4675-91AD-98C27118674C}" dt="2021-08-18T11:33:57.504" v="10190" actId="478"/>
          <ac:spMkLst>
            <pc:docMk/>
            <pc:sldMk cId="3520973715" sldId="1322"/>
            <ac:spMk id="73" creationId="{C412592D-6848-4B37-806D-D870ACD68E5C}"/>
          </ac:spMkLst>
        </pc:spChg>
        <pc:spChg chg="del">
          <ac:chgData name="Ieva Dzene" userId="36e850b3-6b13-42b6-8b78-9778956e69b6" providerId="ADAL" clId="{2B98E168-295F-4675-91AD-98C27118674C}" dt="2021-08-18T11:33:57.504" v="10190" actId="478"/>
          <ac:spMkLst>
            <pc:docMk/>
            <pc:sldMk cId="3520973715" sldId="1322"/>
            <ac:spMk id="74" creationId="{D9A2743F-536E-4F12-B82A-7C42157CD0A3}"/>
          </ac:spMkLst>
        </pc:spChg>
        <pc:spChg chg="del">
          <ac:chgData name="Ieva Dzene" userId="36e850b3-6b13-42b6-8b78-9778956e69b6" providerId="ADAL" clId="{2B98E168-295F-4675-91AD-98C27118674C}" dt="2021-08-18T11:33:52.923" v="10189" actId="478"/>
          <ac:spMkLst>
            <pc:docMk/>
            <pc:sldMk cId="3520973715" sldId="1322"/>
            <ac:spMk id="75" creationId="{9F7EE9AA-6D46-4BB3-A1B5-9379A03D9F79}"/>
          </ac:spMkLst>
        </pc:spChg>
        <pc:spChg chg="del">
          <ac:chgData name="Ieva Dzene" userId="36e850b3-6b13-42b6-8b78-9778956e69b6" providerId="ADAL" clId="{2B98E168-295F-4675-91AD-98C27118674C}" dt="2021-08-18T11:33:52.923" v="10189" actId="478"/>
          <ac:spMkLst>
            <pc:docMk/>
            <pc:sldMk cId="3520973715" sldId="1322"/>
            <ac:spMk id="76" creationId="{5969D2B2-9098-4B55-B495-2795ED9F69C3}"/>
          </ac:spMkLst>
        </pc:spChg>
        <pc:spChg chg="mod">
          <ac:chgData name="Ieva Dzene" userId="36e850b3-6b13-42b6-8b78-9778956e69b6" providerId="ADAL" clId="{2B98E168-295F-4675-91AD-98C27118674C}" dt="2021-08-20T09:29:14.097" v="11141" actId="1076"/>
          <ac:spMkLst>
            <pc:docMk/>
            <pc:sldMk cId="3520973715" sldId="1322"/>
            <ac:spMk id="78" creationId="{276700BC-F945-477F-BFCC-5592F1F7A051}"/>
          </ac:spMkLst>
        </pc:spChg>
        <pc:spChg chg="del">
          <ac:chgData name="Ieva Dzene" userId="36e850b3-6b13-42b6-8b78-9778956e69b6" providerId="ADAL" clId="{2B98E168-295F-4675-91AD-98C27118674C}" dt="2021-08-18T11:33:57.504" v="10190" actId="478"/>
          <ac:spMkLst>
            <pc:docMk/>
            <pc:sldMk cId="3520973715" sldId="1322"/>
            <ac:spMk id="79" creationId="{83286329-C253-4FB0-AC38-25253DE53117}"/>
          </ac:spMkLst>
        </pc:spChg>
        <pc:spChg chg="del mod">
          <ac:chgData name="Ieva Dzene" userId="36e850b3-6b13-42b6-8b78-9778956e69b6" providerId="ADAL" clId="{2B98E168-295F-4675-91AD-98C27118674C}" dt="2021-08-18T11:33:52.923" v="10189" actId="478"/>
          <ac:spMkLst>
            <pc:docMk/>
            <pc:sldMk cId="3520973715" sldId="1322"/>
            <ac:spMk id="80" creationId="{9C70924D-8053-43F5-AA6A-1A3381AA49C7}"/>
          </ac:spMkLst>
        </pc:spChg>
        <pc:spChg chg="add del mod">
          <ac:chgData name="Ieva Dzene" userId="36e850b3-6b13-42b6-8b78-9778956e69b6" providerId="ADAL" clId="{2B98E168-295F-4675-91AD-98C27118674C}" dt="2021-08-18T11:34:27.117" v="10199"/>
          <ac:spMkLst>
            <pc:docMk/>
            <pc:sldMk cId="3520973715" sldId="1322"/>
            <ac:spMk id="83" creationId="{4491740C-E23D-4CB0-8717-D24E5293D577}"/>
          </ac:spMkLst>
        </pc:spChg>
        <pc:spChg chg="add mod">
          <ac:chgData name="Ieva Dzene" userId="36e850b3-6b13-42b6-8b78-9778956e69b6" providerId="ADAL" clId="{2B98E168-295F-4675-91AD-98C27118674C}" dt="2021-08-20T09:30:36.886" v="11153" actId="20577"/>
          <ac:spMkLst>
            <pc:docMk/>
            <pc:sldMk cId="3520973715" sldId="1322"/>
            <ac:spMk id="86" creationId="{05BAECDD-D80C-49DF-A41D-DD0D8C6F55FF}"/>
          </ac:spMkLst>
        </pc:spChg>
        <pc:spChg chg="add mod">
          <ac:chgData name="Ieva Dzene" userId="36e850b3-6b13-42b6-8b78-9778956e69b6" providerId="ADAL" clId="{2B98E168-295F-4675-91AD-98C27118674C}" dt="2021-08-18T11:56:12.552" v="11075" actId="1037"/>
          <ac:spMkLst>
            <pc:docMk/>
            <pc:sldMk cId="3520973715" sldId="1322"/>
            <ac:spMk id="89" creationId="{465AFE5E-2D4A-4E90-95FC-14F0806A7B57}"/>
          </ac:spMkLst>
        </pc:spChg>
        <pc:spChg chg="add mod">
          <ac:chgData name="Ieva Dzene" userId="36e850b3-6b13-42b6-8b78-9778956e69b6" providerId="ADAL" clId="{2B98E168-295F-4675-91AD-98C27118674C}" dt="2021-08-18T11:56:00.278" v="11071" actId="1076"/>
          <ac:spMkLst>
            <pc:docMk/>
            <pc:sldMk cId="3520973715" sldId="1322"/>
            <ac:spMk id="92" creationId="{31020BCF-4088-4F3D-904B-0716431808DE}"/>
          </ac:spMkLst>
        </pc:spChg>
        <pc:spChg chg="add mod">
          <ac:chgData name="Ieva Dzene" userId="36e850b3-6b13-42b6-8b78-9778956e69b6" providerId="ADAL" clId="{2B98E168-295F-4675-91AD-98C27118674C}" dt="2021-08-18T11:59:12.314" v="11115" actId="20577"/>
          <ac:spMkLst>
            <pc:docMk/>
            <pc:sldMk cId="3520973715" sldId="1322"/>
            <ac:spMk id="95" creationId="{FEAC6BD5-847A-47FD-B581-5B40E3186A7D}"/>
          </ac:spMkLst>
        </pc:spChg>
        <pc:spChg chg="add mod">
          <ac:chgData name="Ieva Dzene" userId="36e850b3-6b13-42b6-8b78-9778956e69b6" providerId="ADAL" clId="{2B98E168-295F-4675-91AD-98C27118674C}" dt="2021-08-18T11:53:54.773" v="11027" actId="20577"/>
          <ac:spMkLst>
            <pc:docMk/>
            <pc:sldMk cId="3520973715" sldId="1322"/>
            <ac:spMk id="96" creationId="{1464746D-BA85-4BE0-9E92-1C3E7D70ED67}"/>
          </ac:spMkLst>
        </pc:spChg>
        <pc:spChg chg="add mod">
          <ac:chgData name="Ieva Dzene" userId="36e850b3-6b13-42b6-8b78-9778956e69b6" providerId="ADAL" clId="{2B98E168-295F-4675-91AD-98C27118674C}" dt="2021-08-18T11:54:11.565" v="11045" actId="20577"/>
          <ac:spMkLst>
            <pc:docMk/>
            <pc:sldMk cId="3520973715" sldId="1322"/>
            <ac:spMk id="100" creationId="{8B40BC40-4694-4CEB-9513-2FA90851E4DE}"/>
          </ac:spMkLst>
        </pc:spChg>
        <pc:spChg chg="add mod">
          <ac:chgData name="Ieva Dzene" userId="36e850b3-6b13-42b6-8b78-9778956e69b6" providerId="ADAL" clId="{2B98E168-295F-4675-91AD-98C27118674C}" dt="2021-08-20T09:28:34.845" v="11128" actId="14100"/>
          <ac:spMkLst>
            <pc:docMk/>
            <pc:sldMk cId="3520973715" sldId="1322"/>
            <ac:spMk id="101" creationId="{74FEB586-1766-4DE0-A836-6C930B774CF8}"/>
          </ac:spMkLst>
        </pc:spChg>
        <pc:spChg chg="add mod">
          <ac:chgData name="Ieva Dzene" userId="36e850b3-6b13-42b6-8b78-9778956e69b6" providerId="ADAL" clId="{2B98E168-295F-4675-91AD-98C27118674C}" dt="2021-08-18T11:56:06.698" v="11073" actId="14100"/>
          <ac:spMkLst>
            <pc:docMk/>
            <pc:sldMk cId="3520973715" sldId="1322"/>
            <ac:spMk id="102" creationId="{65719B8D-FB51-432D-8B1A-E8E9FD05456F}"/>
          </ac:spMkLst>
        </pc:spChg>
        <pc:spChg chg="add mod">
          <ac:chgData name="Ieva Dzene" userId="36e850b3-6b13-42b6-8b78-9778956e69b6" providerId="ADAL" clId="{2B98E168-295F-4675-91AD-98C27118674C}" dt="2021-08-18T11:52:37.578" v="11001" actId="1076"/>
          <ac:spMkLst>
            <pc:docMk/>
            <pc:sldMk cId="3520973715" sldId="1322"/>
            <ac:spMk id="104" creationId="{1194EF87-CFC2-47A2-8693-AED22F41E367}"/>
          </ac:spMkLst>
        </pc:spChg>
        <pc:spChg chg="del">
          <ac:chgData name="Ieva Dzene" userId="36e850b3-6b13-42b6-8b78-9778956e69b6" providerId="ADAL" clId="{2B98E168-295F-4675-91AD-98C27118674C}" dt="2021-08-18T11:33:52.923" v="10189" actId="478"/>
          <ac:spMkLst>
            <pc:docMk/>
            <pc:sldMk cId="3520973715" sldId="1322"/>
            <ac:spMk id="194" creationId="{A5D2FEA7-8DA4-458A-B18E-E2081FB5C2B8}"/>
          </ac:spMkLst>
        </pc:spChg>
        <pc:cxnChg chg="del mod">
          <ac:chgData name="Ieva Dzene" userId="36e850b3-6b13-42b6-8b78-9778956e69b6" providerId="ADAL" clId="{2B98E168-295F-4675-91AD-98C27118674C}" dt="2021-08-18T11:50:35.214" v="10978" actId="478"/>
          <ac:cxnSpMkLst>
            <pc:docMk/>
            <pc:sldMk cId="3520973715" sldId="1322"/>
            <ac:cxnSpMk id="4" creationId="{24069004-838A-4F66-A847-64A0F563471A}"/>
          </ac:cxnSpMkLst>
        </pc:cxnChg>
        <pc:cxnChg chg="del mod">
          <ac:chgData name="Ieva Dzene" userId="36e850b3-6b13-42b6-8b78-9778956e69b6" providerId="ADAL" clId="{2B98E168-295F-4675-91AD-98C27118674C}" dt="2021-08-18T11:50:35.214" v="10978" actId="478"/>
          <ac:cxnSpMkLst>
            <pc:docMk/>
            <pc:sldMk cId="3520973715" sldId="1322"/>
            <ac:cxnSpMk id="5" creationId="{93497915-CEF0-4B15-BE39-962E6551E48D}"/>
          </ac:cxnSpMkLst>
        </pc:cxnChg>
        <pc:cxnChg chg="del mod">
          <ac:chgData name="Ieva Dzene" userId="36e850b3-6b13-42b6-8b78-9778956e69b6" providerId="ADAL" clId="{2B98E168-295F-4675-91AD-98C27118674C}" dt="2021-08-18T11:50:35.214" v="10978" actId="478"/>
          <ac:cxnSpMkLst>
            <pc:docMk/>
            <pc:sldMk cId="3520973715" sldId="1322"/>
            <ac:cxnSpMk id="22" creationId="{5C4E7732-081A-413D-8080-6B0A130C1AB1}"/>
          </ac:cxnSpMkLst>
        </pc:cxnChg>
        <pc:cxnChg chg="del mod">
          <ac:chgData name="Ieva Dzene" userId="36e850b3-6b13-42b6-8b78-9778956e69b6" providerId="ADAL" clId="{2B98E168-295F-4675-91AD-98C27118674C}" dt="2021-08-18T11:50:35.214" v="10978" actId="478"/>
          <ac:cxnSpMkLst>
            <pc:docMk/>
            <pc:sldMk cId="3520973715" sldId="1322"/>
            <ac:cxnSpMk id="25" creationId="{E94B2208-76CD-42BE-BD4C-ABD4692319C5}"/>
          </ac:cxnSpMkLst>
        </pc:cxnChg>
        <pc:cxnChg chg="del mod">
          <ac:chgData name="Ieva Dzene" userId="36e850b3-6b13-42b6-8b78-9778956e69b6" providerId="ADAL" clId="{2B98E168-295F-4675-91AD-98C27118674C}" dt="2021-08-18T11:50:35.214" v="10978" actId="478"/>
          <ac:cxnSpMkLst>
            <pc:docMk/>
            <pc:sldMk cId="3520973715" sldId="1322"/>
            <ac:cxnSpMk id="26" creationId="{2DB85002-5EBA-4459-9634-CE1BB90871FF}"/>
          </ac:cxnSpMkLst>
        </pc:cxnChg>
        <pc:cxnChg chg="del mod">
          <ac:chgData name="Ieva Dzene" userId="36e850b3-6b13-42b6-8b78-9778956e69b6" providerId="ADAL" clId="{2B98E168-295F-4675-91AD-98C27118674C}" dt="2021-08-18T11:50:35.214" v="10978" actId="478"/>
          <ac:cxnSpMkLst>
            <pc:docMk/>
            <pc:sldMk cId="3520973715" sldId="1322"/>
            <ac:cxnSpMk id="37" creationId="{8F0183E4-B10B-493F-852B-9997EFFFD8B7}"/>
          </ac:cxnSpMkLst>
        </pc:cxnChg>
        <pc:cxnChg chg="del mod">
          <ac:chgData name="Ieva Dzene" userId="36e850b3-6b13-42b6-8b78-9778956e69b6" providerId="ADAL" clId="{2B98E168-295F-4675-91AD-98C27118674C}" dt="2021-08-18T11:50:35.214" v="10978" actId="478"/>
          <ac:cxnSpMkLst>
            <pc:docMk/>
            <pc:sldMk cId="3520973715" sldId="1322"/>
            <ac:cxnSpMk id="40" creationId="{B46E2F07-A98E-4BAC-8CA2-EBEC3C169DF4}"/>
          </ac:cxnSpMkLst>
        </pc:cxnChg>
        <pc:cxnChg chg="del mod">
          <ac:chgData name="Ieva Dzene" userId="36e850b3-6b13-42b6-8b78-9778956e69b6" providerId="ADAL" clId="{2B98E168-295F-4675-91AD-98C27118674C}" dt="2021-08-18T11:50:35.214" v="10978" actId="478"/>
          <ac:cxnSpMkLst>
            <pc:docMk/>
            <pc:sldMk cId="3520973715" sldId="1322"/>
            <ac:cxnSpMk id="41" creationId="{52D9D6A5-DE5E-48AD-92AA-E075A22A5378}"/>
          </ac:cxnSpMkLst>
        </pc:cxnChg>
        <pc:cxnChg chg="del mod">
          <ac:chgData name="Ieva Dzene" userId="36e850b3-6b13-42b6-8b78-9778956e69b6" providerId="ADAL" clId="{2B98E168-295F-4675-91AD-98C27118674C}" dt="2021-08-18T11:50:35.214" v="10978" actId="478"/>
          <ac:cxnSpMkLst>
            <pc:docMk/>
            <pc:sldMk cId="3520973715" sldId="1322"/>
            <ac:cxnSpMk id="46" creationId="{A70D9D72-4FDD-4274-862E-6928BEDB93E3}"/>
          </ac:cxnSpMkLst>
        </pc:cxnChg>
        <pc:cxnChg chg="del mod">
          <ac:chgData name="Ieva Dzene" userId="36e850b3-6b13-42b6-8b78-9778956e69b6" providerId="ADAL" clId="{2B98E168-295F-4675-91AD-98C27118674C}" dt="2021-08-18T11:50:35.214" v="10978" actId="478"/>
          <ac:cxnSpMkLst>
            <pc:docMk/>
            <pc:sldMk cId="3520973715" sldId="1322"/>
            <ac:cxnSpMk id="50" creationId="{C95CF4EC-21C5-4A30-92E3-3EADBB4C5840}"/>
          </ac:cxnSpMkLst>
        </pc:cxnChg>
        <pc:cxnChg chg="del mod">
          <ac:chgData name="Ieva Dzene" userId="36e850b3-6b13-42b6-8b78-9778956e69b6" providerId="ADAL" clId="{2B98E168-295F-4675-91AD-98C27118674C}" dt="2021-08-18T11:33:52.923" v="10189" actId="478"/>
          <ac:cxnSpMkLst>
            <pc:docMk/>
            <pc:sldMk cId="3520973715" sldId="1322"/>
            <ac:cxnSpMk id="52" creationId="{E50A4187-3EEF-45E4-B6FA-DE454C6B3DA7}"/>
          </ac:cxnSpMkLst>
        </pc:cxnChg>
        <pc:cxnChg chg="add del mod">
          <ac:chgData name="Ieva Dzene" userId="36e850b3-6b13-42b6-8b78-9778956e69b6" providerId="ADAL" clId="{2B98E168-295F-4675-91AD-98C27118674C}" dt="2021-08-18T11:34:27.117" v="10199"/>
          <ac:cxnSpMkLst>
            <pc:docMk/>
            <pc:sldMk cId="3520973715" sldId="1322"/>
            <ac:cxnSpMk id="62" creationId="{EA434993-9C08-443A-BB6B-8F39CC0BB464}"/>
          </ac:cxnSpMkLst>
        </pc:cxnChg>
        <pc:cxnChg chg="add del mod">
          <ac:chgData name="Ieva Dzene" userId="36e850b3-6b13-42b6-8b78-9778956e69b6" providerId="ADAL" clId="{2B98E168-295F-4675-91AD-98C27118674C}" dt="2021-08-18T11:34:27.117" v="10199"/>
          <ac:cxnSpMkLst>
            <pc:docMk/>
            <pc:sldMk cId="3520973715" sldId="1322"/>
            <ac:cxnSpMk id="63" creationId="{6DBA1CF6-EFBF-42BE-9CC5-28E0B3D2F36D}"/>
          </ac:cxnSpMkLst>
        </pc:cxnChg>
        <pc:cxnChg chg="add del mod">
          <ac:chgData name="Ieva Dzene" userId="36e850b3-6b13-42b6-8b78-9778956e69b6" providerId="ADAL" clId="{2B98E168-295F-4675-91AD-98C27118674C}" dt="2021-08-18T11:34:27.117" v="10199"/>
          <ac:cxnSpMkLst>
            <pc:docMk/>
            <pc:sldMk cId="3520973715" sldId="1322"/>
            <ac:cxnSpMk id="64" creationId="{0A835C72-6159-4C9A-9797-A22685CCAD17}"/>
          </ac:cxnSpMkLst>
        </pc:cxnChg>
        <pc:cxnChg chg="add del mod">
          <ac:chgData name="Ieva Dzene" userId="36e850b3-6b13-42b6-8b78-9778956e69b6" providerId="ADAL" clId="{2B98E168-295F-4675-91AD-98C27118674C}" dt="2021-08-18T11:34:27.117" v="10199"/>
          <ac:cxnSpMkLst>
            <pc:docMk/>
            <pc:sldMk cId="3520973715" sldId="1322"/>
            <ac:cxnSpMk id="65" creationId="{382C7EF0-5344-4A47-8128-694CCB7260B3}"/>
          </ac:cxnSpMkLst>
        </pc:cxnChg>
        <pc:cxnChg chg="add del mod">
          <ac:chgData name="Ieva Dzene" userId="36e850b3-6b13-42b6-8b78-9778956e69b6" providerId="ADAL" clId="{2B98E168-295F-4675-91AD-98C27118674C}" dt="2021-08-18T11:34:27.117" v="10199"/>
          <ac:cxnSpMkLst>
            <pc:docMk/>
            <pc:sldMk cId="3520973715" sldId="1322"/>
            <ac:cxnSpMk id="67" creationId="{4EB326C7-E03A-4E08-932B-20E90358CF69}"/>
          </ac:cxnSpMkLst>
        </pc:cxnChg>
        <pc:cxnChg chg="add del mod">
          <ac:chgData name="Ieva Dzene" userId="36e850b3-6b13-42b6-8b78-9778956e69b6" providerId="ADAL" clId="{2B98E168-295F-4675-91AD-98C27118674C}" dt="2021-08-18T11:34:27.117" v="10199"/>
          <ac:cxnSpMkLst>
            <pc:docMk/>
            <pc:sldMk cId="3520973715" sldId="1322"/>
            <ac:cxnSpMk id="68" creationId="{69608599-A941-4C01-918E-9111CB91EAD8}"/>
          </ac:cxnSpMkLst>
        </pc:cxnChg>
        <pc:cxnChg chg="add del mod">
          <ac:chgData name="Ieva Dzene" userId="36e850b3-6b13-42b6-8b78-9778956e69b6" providerId="ADAL" clId="{2B98E168-295F-4675-91AD-98C27118674C}" dt="2021-08-18T11:34:27.117" v="10199"/>
          <ac:cxnSpMkLst>
            <pc:docMk/>
            <pc:sldMk cId="3520973715" sldId="1322"/>
            <ac:cxnSpMk id="69" creationId="{77B9FF7B-A101-4388-947B-9C1BD5EA3685}"/>
          </ac:cxnSpMkLst>
        </pc:cxnChg>
        <pc:cxnChg chg="add del mod">
          <ac:chgData name="Ieva Dzene" userId="36e850b3-6b13-42b6-8b78-9778956e69b6" providerId="ADAL" clId="{2B98E168-295F-4675-91AD-98C27118674C}" dt="2021-08-18T11:34:27.117" v="10199"/>
          <ac:cxnSpMkLst>
            <pc:docMk/>
            <pc:sldMk cId="3520973715" sldId="1322"/>
            <ac:cxnSpMk id="77" creationId="{D3A63CC3-5D40-4DAA-BE8B-AEFDE33DE806}"/>
          </ac:cxnSpMkLst>
        </pc:cxnChg>
        <pc:cxnChg chg="del mod">
          <ac:chgData name="Ieva Dzene" userId="36e850b3-6b13-42b6-8b78-9778956e69b6" providerId="ADAL" clId="{2B98E168-295F-4675-91AD-98C27118674C}" dt="2021-08-18T11:33:57.504" v="10190" actId="478"/>
          <ac:cxnSpMkLst>
            <pc:docMk/>
            <pc:sldMk cId="3520973715" sldId="1322"/>
            <ac:cxnSpMk id="81" creationId="{46F962C5-5441-460B-82EB-51C4747D96E8}"/>
          </ac:cxnSpMkLst>
        </pc:cxnChg>
        <pc:cxnChg chg="add del mod">
          <ac:chgData name="Ieva Dzene" userId="36e850b3-6b13-42b6-8b78-9778956e69b6" providerId="ADAL" clId="{2B98E168-295F-4675-91AD-98C27118674C}" dt="2021-08-18T11:34:27.117" v="10199"/>
          <ac:cxnSpMkLst>
            <pc:docMk/>
            <pc:sldMk cId="3520973715" sldId="1322"/>
            <ac:cxnSpMk id="82" creationId="{5732D28D-6689-4AFE-A1E8-80C509D4525E}"/>
          </ac:cxnSpMkLst>
        </pc:cxnChg>
        <pc:cxnChg chg="del mod">
          <ac:chgData name="Ieva Dzene" userId="36e850b3-6b13-42b6-8b78-9778956e69b6" providerId="ADAL" clId="{2B98E168-295F-4675-91AD-98C27118674C}" dt="2021-08-18T11:33:57.504" v="10190" actId="478"/>
          <ac:cxnSpMkLst>
            <pc:docMk/>
            <pc:sldMk cId="3520973715" sldId="1322"/>
            <ac:cxnSpMk id="84" creationId="{8FD29535-A610-4341-863A-1AEC21319252}"/>
          </ac:cxnSpMkLst>
        </pc:cxnChg>
        <pc:cxnChg chg="add del mod">
          <ac:chgData name="Ieva Dzene" userId="36e850b3-6b13-42b6-8b78-9778956e69b6" providerId="ADAL" clId="{2B98E168-295F-4675-91AD-98C27118674C}" dt="2021-08-18T11:34:27.117" v="10199"/>
          <ac:cxnSpMkLst>
            <pc:docMk/>
            <pc:sldMk cId="3520973715" sldId="1322"/>
            <ac:cxnSpMk id="85" creationId="{E2CF8259-73E9-4476-97F1-56871FF02482}"/>
          </ac:cxnSpMkLst>
        </pc:cxnChg>
        <pc:cxnChg chg="del">
          <ac:chgData name="Ieva Dzene" userId="36e850b3-6b13-42b6-8b78-9778956e69b6" providerId="ADAL" clId="{2B98E168-295F-4675-91AD-98C27118674C}" dt="2021-08-18T11:33:57.504" v="10190" actId="478"/>
          <ac:cxnSpMkLst>
            <pc:docMk/>
            <pc:sldMk cId="3520973715" sldId="1322"/>
            <ac:cxnSpMk id="87" creationId="{FFC0DFD3-B9FE-47C7-AABA-C91E44EECECB}"/>
          </ac:cxnSpMkLst>
        </pc:cxnChg>
        <pc:cxnChg chg="add mod">
          <ac:chgData name="Ieva Dzene" userId="36e850b3-6b13-42b6-8b78-9778956e69b6" providerId="ADAL" clId="{2B98E168-295F-4675-91AD-98C27118674C}" dt="2021-08-18T11:50:56.315" v="10981" actId="1076"/>
          <ac:cxnSpMkLst>
            <pc:docMk/>
            <pc:sldMk cId="3520973715" sldId="1322"/>
            <ac:cxnSpMk id="88" creationId="{8D268FBD-1209-498A-B100-8CE918C214D7}"/>
          </ac:cxnSpMkLst>
        </pc:cxnChg>
        <pc:cxnChg chg="del">
          <ac:chgData name="Ieva Dzene" userId="36e850b3-6b13-42b6-8b78-9778956e69b6" providerId="ADAL" clId="{2B98E168-295F-4675-91AD-98C27118674C}" dt="2021-08-18T11:33:57.504" v="10190" actId="478"/>
          <ac:cxnSpMkLst>
            <pc:docMk/>
            <pc:sldMk cId="3520973715" sldId="1322"/>
            <ac:cxnSpMk id="90" creationId="{70F9DD06-5524-4C4A-B0C9-81BB5E33ADC2}"/>
          </ac:cxnSpMkLst>
        </pc:cxnChg>
        <pc:cxnChg chg="add mod">
          <ac:chgData name="Ieva Dzene" userId="36e850b3-6b13-42b6-8b78-9778956e69b6" providerId="ADAL" clId="{2B98E168-295F-4675-91AD-98C27118674C}" dt="2021-08-18T11:56:12.552" v="11075" actId="1037"/>
          <ac:cxnSpMkLst>
            <pc:docMk/>
            <pc:sldMk cId="3520973715" sldId="1322"/>
            <ac:cxnSpMk id="91" creationId="{0092B72C-B6F5-4D90-9A5D-B9D356175593}"/>
          </ac:cxnSpMkLst>
        </pc:cxnChg>
        <pc:cxnChg chg="del mod">
          <ac:chgData name="Ieva Dzene" userId="36e850b3-6b13-42b6-8b78-9778956e69b6" providerId="ADAL" clId="{2B98E168-295F-4675-91AD-98C27118674C}" dt="2021-08-18T11:33:57.504" v="10190" actId="478"/>
          <ac:cxnSpMkLst>
            <pc:docMk/>
            <pc:sldMk cId="3520973715" sldId="1322"/>
            <ac:cxnSpMk id="93" creationId="{B5B82215-9158-4F27-A92E-9FB1D3BA3090}"/>
          </ac:cxnSpMkLst>
        </pc:cxnChg>
        <pc:cxnChg chg="add mod">
          <ac:chgData name="Ieva Dzene" userId="36e850b3-6b13-42b6-8b78-9778956e69b6" providerId="ADAL" clId="{2B98E168-295F-4675-91AD-98C27118674C}" dt="2021-08-18T11:50:56.315" v="10981" actId="1076"/>
          <ac:cxnSpMkLst>
            <pc:docMk/>
            <pc:sldMk cId="3520973715" sldId="1322"/>
            <ac:cxnSpMk id="94" creationId="{C7B6ADC6-7E07-4F8A-9EEA-21278ED4EF5C}"/>
          </ac:cxnSpMkLst>
        </pc:cxnChg>
        <pc:cxnChg chg="add mod">
          <ac:chgData name="Ieva Dzene" userId="36e850b3-6b13-42b6-8b78-9778956e69b6" providerId="ADAL" clId="{2B98E168-295F-4675-91AD-98C27118674C}" dt="2021-08-18T11:56:04.141" v="11072" actId="1076"/>
          <ac:cxnSpMkLst>
            <pc:docMk/>
            <pc:sldMk cId="3520973715" sldId="1322"/>
            <ac:cxnSpMk id="97" creationId="{C0677BD4-4188-4638-BEA9-953D1645777B}"/>
          </ac:cxnSpMkLst>
        </pc:cxnChg>
        <pc:cxnChg chg="add del mod">
          <ac:chgData name="Ieva Dzene" userId="36e850b3-6b13-42b6-8b78-9778956e69b6" providerId="ADAL" clId="{2B98E168-295F-4675-91AD-98C27118674C}" dt="2021-08-18T11:43:56.147" v="10643"/>
          <ac:cxnSpMkLst>
            <pc:docMk/>
            <pc:sldMk cId="3520973715" sldId="1322"/>
            <ac:cxnSpMk id="98" creationId="{80200F12-077F-499E-BB84-C5D97DDC9EBE}"/>
          </ac:cxnSpMkLst>
        </pc:cxnChg>
        <pc:cxnChg chg="add del mod">
          <ac:chgData name="Ieva Dzene" userId="36e850b3-6b13-42b6-8b78-9778956e69b6" providerId="ADAL" clId="{2B98E168-295F-4675-91AD-98C27118674C}" dt="2021-08-18T11:43:54.662" v="10641"/>
          <ac:cxnSpMkLst>
            <pc:docMk/>
            <pc:sldMk cId="3520973715" sldId="1322"/>
            <ac:cxnSpMk id="99" creationId="{D4640433-29CA-4FA1-A070-FBEDA41C41B3}"/>
          </ac:cxnSpMkLst>
        </pc:cxnChg>
        <pc:cxnChg chg="add mod">
          <ac:chgData name="Ieva Dzene" userId="36e850b3-6b13-42b6-8b78-9778956e69b6" providerId="ADAL" clId="{2B98E168-295F-4675-91AD-98C27118674C}" dt="2021-08-18T11:50:56.315" v="10981" actId="1076"/>
          <ac:cxnSpMkLst>
            <pc:docMk/>
            <pc:sldMk cId="3520973715" sldId="1322"/>
            <ac:cxnSpMk id="103" creationId="{3F10C7C4-514F-4414-A31C-76A97C33837D}"/>
          </ac:cxnSpMkLst>
        </pc:cxnChg>
        <pc:cxnChg chg="add mod">
          <ac:chgData name="Ieva Dzene" userId="36e850b3-6b13-42b6-8b78-9778956e69b6" providerId="ADAL" clId="{2B98E168-295F-4675-91AD-98C27118674C}" dt="2021-08-18T11:56:00.278" v="11071" actId="1076"/>
          <ac:cxnSpMkLst>
            <pc:docMk/>
            <pc:sldMk cId="3520973715" sldId="1322"/>
            <ac:cxnSpMk id="105" creationId="{81E7CFDB-7D27-4021-A078-4FDBA078192D}"/>
          </ac:cxnSpMkLst>
        </pc:cxnChg>
        <pc:cxnChg chg="add mod">
          <ac:chgData name="Ieva Dzene" userId="36e850b3-6b13-42b6-8b78-9778956e69b6" providerId="ADAL" clId="{2B98E168-295F-4675-91AD-98C27118674C}" dt="2021-08-18T11:55:49.935" v="11068" actId="1076"/>
          <ac:cxnSpMkLst>
            <pc:docMk/>
            <pc:sldMk cId="3520973715" sldId="1322"/>
            <ac:cxnSpMk id="106" creationId="{4651BAC8-9F9D-4EEE-8963-F713C591A9A8}"/>
          </ac:cxnSpMkLst>
        </pc:cxnChg>
        <pc:cxnChg chg="add mod">
          <ac:chgData name="Ieva Dzene" userId="36e850b3-6b13-42b6-8b78-9778956e69b6" providerId="ADAL" clId="{2B98E168-295F-4675-91AD-98C27118674C}" dt="2021-08-18T11:55:52.234" v="11069" actId="1076"/>
          <ac:cxnSpMkLst>
            <pc:docMk/>
            <pc:sldMk cId="3520973715" sldId="1322"/>
            <ac:cxnSpMk id="108" creationId="{E36367E8-05A6-46CC-97DC-477218BA4305}"/>
          </ac:cxnSpMkLst>
        </pc:cxnChg>
        <pc:cxnChg chg="add mod">
          <ac:chgData name="Ieva Dzene" userId="36e850b3-6b13-42b6-8b78-9778956e69b6" providerId="ADAL" clId="{2B98E168-295F-4675-91AD-98C27118674C}" dt="2021-08-18T11:55:54.019" v="11070" actId="1076"/>
          <ac:cxnSpMkLst>
            <pc:docMk/>
            <pc:sldMk cId="3520973715" sldId="1322"/>
            <ac:cxnSpMk id="110" creationId="{BE7C30C0-DCBF-4CE3-9C72-AE35E094DB66}"/>
          </ac:cxnSpMkLst>
        </pc:cxnChg>
        <pc:cxnChg chg="del mod">
          <ac:chgData name="Ieva Dzene" userId="36e850b3-6b13-42b6-8b78-9778956e69b6" providerId="ADAL" clId="{2B98E168-295F-4675-91AD-98C27118674C}" dt="2021-08-18T11:33:52.923" v="10189" actId="478"/>
          <ac:cxnSpMkLst>
            <pc:docMk/>
            <pc:sldMk cId="3520973715" sldId="1322"/>
            <ac:cxnSpMk id="195" creationId="{ABC0EB58-A9CB-47B4-8E66-4E7543797FDE}"/>
          </ac:cxnSpMkLst>
        </pc:cxnChg>
        <pc:cxnChg chg="del mod">
          <ac:chgData name="Ieva Dzene" userId="36e850b3-6b13-42b6-8b78-9778956e69b6" providerId="ADAL" clId="{2B98E168-295F-4675-91AD-98C27118674C}" dt="2021-08-18T11:33:52.923" v="10189" actId="478"/>
          <ac:cxnSpMkLst>
            <pc:docMk/>
            <pc:sldMk cId="3520973715" sldId="1322"/>
            <ac:cxnSpMk id="199" creationId="{B9B18DAB-BBD7-440B-ABAE-075C2E59F1B2}"/>
          </ac:cxnSpMkLst>
        </pc:cxnChg>
        <pc:cxnChg chg="del mod">
          <ac:chgData name="Ieva Dzene" userId="36e850b3-6b13-42b6-8b78-9778956e69b6" providerId="ADAL" clId="{2B98E168-295F-4675-91AD-98C27118674C}" dt="2021-08-18T11:33:52.923" v="10189" actId="478"/>
          <ac:cxnSpMkLst>
            <pc:docMk/>
            <pc:sldMk cId="3520973715" sldId="1322"/>
            <ac:cxnSpMk id="202" creationId="{3D972400-1993-40E6-A0E2-546C086E6835}"/>
          </ac:cxnSpMkLst>
        </pc:cxnChg>
      </pc:sldChg>
      <pc:sldChg chg="modSp mod">
        <pc:chgData name="Ieva Dzene" userId="36e850b3-6b13-42b6-8b78-9778956e69b6" providerId="ADAL" clId="{2B98E168-295F-4675-91AD-98C27118674C}" dt="2021-09-01T13:36:48.394" v="11167" actId="27636"/>
        <pc:sldMkLst>
          <pc:docMk/>
          <pc:sldMk cId="3541155286" sldId="1323"/>
        </pc:sldMkLst>
        <pc:spChg chg="mod">
          <ac:chgData name="Ieva Dzene" userId="36e850b3-6b13-42b6-8b78-9778956e69b6" providerId="ADAL" clId="{2B98E168-295F-4675-91AD-98C27118674C}" dt="2021-09-01T13:36:48.394" v="11167" actId="27636"/>
          <ac:spMkLst>
            <pc:docMk/>
            <pc:sldMk cId="3541155286" sldId="1323"/>
            <ac:spMk id="4" creationId="{76999C7F-A575-4C79-AF01-AE3F978FE497}"/>
          </ac:spMkLst>
        </pc:spChg>
      </pc:sldChg>
    </pc:docChg>
  </pc:docChgLst>
  <pc:docChgLst>
    <pc:chgData name="Céline Felber" userId="03e6e5e3-26bd-4d3d-a86c-4e25438b18a3" providerId="ADAL" clId="{25CEA024-308C-4E1B-A2D6-84CCD0D2EA4B}"/>
    <pc:docChg chg="undo custSel addSld delSld modSld sldOrd addSection delSection modSection">
      <pc:chgData name="Céline Felber" userId="03e6e5e3-26bd-4d3d-a86c-4e25438b18a3" providerId="ADAL" clId="{25CEA024-308C-4E1B-A2D6-84CCD0D2EA4B}" dt="2021-04-29T11:33:07.300" v="4953" actId="1076"/>
      <pc:docMkLst>
        <pc:docMk/>
      </pc:docMkLst>
      <pc:sldChg chg="addSp delSp modSp mod">
        <pc:chgData name="Céline Felber" userId="03e6e5e3-26bd-4d3d-a86c-4e25438b18a3" providerId="ADAL" clId="{25CEA024-308C-4E1B-A2D6-84CCD0D2EA4B}" dt="2021-04-29T08:21:57.985" v="17" actId="14100"/>
        <pc:sldMkLst>
          <pc:docMk/>
          <pc:sldMk cId="112376409" sldId="1017"/>
        </pc:sldMkLst>
        <pc:spChg chg="mod">
          <ac:chgData name="Céline Felber" userId="03e6e5e3-26bd-4d3d-a86c-4e25438b18a3" providerId="ADAL" clId="{25CEA024-308C-4E1B-A2D6-84CCD0D2EA4B}" dt="2021-04-29T08:21:57.985" v="17" actId="14100"/>
          <ac:spMkLst>
            <pc:docMk/>
            <pc:sldMk cId="112376409" sldId="1017"/>
            <ac:spMk id="16" creationId="{7B5EF748-24AD-457B-B1A8-1C12FB5298CF}"/>
          </ac:spMkLst>
        </pc:spChg>
        <pc:picChg chg="del">
          <ac:chgData name="Céline Felber" userId="03e6e5e3-26bd-4d3d-a86c-4e25438b18a3" providerId="ADAL" clId="{25CEA024-308C-4E1B-A2D6-84CCD0D2EA4B}" dt="2021-04-29T08:20:28.617" v="0" actId="478"/>
          <ac:picMkLst>
            <pc:docMk/>
            <pc:sldMk cId="112376409" sldId="1017"/>
            <ac:picMk id="4" creationId="{DD6C33E5-0B8E-4589-B3E6-A689B32CB88B}"/>
          </ac:picMkLst>
        </pc:picChg>
        <pc:picChg chg="add mod ord">
          <ac:chgData name="Céline Felber" userId="03e6e5e3-26bd-4d3d-a86c-4e25438b18a3" providerId="ADAL" clId="{25CEA024-308C-4E1B-A2D6-84CCD0D2EA4B}" dt="2021-04-29T08:21:10.842" v="7" actId="1076"/>
          <ac:picMkLst>
            <pc:docMk/>
            <pc:sldMk cId="112376409" sldId="1017"/>
            <ac:picMk id="5" creationId="{72DB973E-AA6D-47C3-8CFE-21258CBE0343}"/>
          </ac:picMkLst>
        </pc:picChg>
      </pc:sldChg>
      <pc:sldChg chg="addSp modSp mod">
        <pc:chgData name="Céline Felber" userId="03e6e5e3-26bd-4d3d-a86c-4e25438b18a3" providerId="ADAL" clId="{25CEA024-308C-4E1B-A2D6-84CCD0D2EA4B}" dt="2021-04-29T11:12:15.942" v="4290"/>
        <pc:sldMkLst>
          <pc:docMk/>
          <pc:sldMk cId="3806334263" sldId="1143"/>
        </pc:sldMkLst>
        <pc:spChg chg="add mod">
          <ac:chgData name="Céline Felber" userId="03e6e5e3-26bd-4d3d-a86c-4e25438b18a3" providerId="ADAL" clId="{25CEA024-308C-4E1B-A2D6-84CCD0D2EA4B}" dt="2021-04-29T11:12:15.942" v="4290"/>
          <ac:spMkLst>
            <pc:docMk/>
            <pc:sldMk cId="3806334263" sldId="1143"/>
            <ac:spMk id="10" creationId="{CBB82244-2063-4981-8BE7-11B357FB60C1}"/>
          </ac:spMkLst>
        </pc:spChg>
        <pc:spChg chg="add mod">
          <ac:chgData name="Céline Felber" userId="03e6e5e3-26bd-4d3d-a86c-4e25438b18a3" providerId="ADAL" clId="{25CEA024-308C-4E1B-A2D6-84CCD0D2EA4B}" dt="2021-04-29T11:08:04.769" v="4020" actId="1076"/>
          <ac:spMkLst>
            <pc:docMk/>
            <pc:sldMk cId="3806334263" sldId="1143"/>
            <ac:spMk id="12" creationId="{4424B0C0-F9D6-4EA2-905E-A902FE04B3BA}"/>
          </ac:spMkLst>
        </pc:spChg>
        <pc:spChg chg="mod">
          <ac:chgData name="Céline Felber" userId="03e6e5e3-26bd-4d3d-a86c-4e25438b18a3" providerId="ADAL" clId="{25CEA024-308C-4E1B-A2D6-84CCD0D2EA4B}" dt="2021-04-29T11:06:52.540" v="3996" actId="14100"/>
          <ac:spMkLst>
            <pc:docMk/>
            <pc:sldMk cId="3806334263" sldId="1143"/>
            <ac:spMk id="16" creationId="{5679C2F2-DDA1-4080-A924-82AE7C3565A8}"/>
          </ac:spMkLst>
        </pc:spChg>
        <pc:spChg chg="mod">
          <ac:chgData name="Céline Felber" userId="03e6e5e3-26bd-4d3d-a86c-4e25438b18a3" providerId="ADAL" clId="{25CEA024-308C-4E1B-A2D6-84CCD0D2EA4B}" dt="2021-04-29T11:06:55.482" v="3997" actId="14100"/>
          <ac:spMkLst>
            <pc:docMk/>
            <pc:sldMk cId="3806334263" sldId="1143"/>
            <ac:spMk id="17" creationId="{D728F4A0-3D67-4606-AE8C-99FD50398C6E}"/>
          </ac:spMkLst>
        </pc:spChg>
        <pc:spChg chg="mod">
          <ac:chgData name="Céline Felber" userId="03e6e5e3-26bd-4d3d-a86c-4e25438b18a3" providerId="ADAL" clId="{25CEA024-308C-4E1B-A2D6-84CCD0D2EA4B}" dt="2021-04-29T10:13:23.351" v="3814" actId="164"/>
          <ac:spMkLst>
            <pc:docMk/>
            <pc:sldMk cId="3806334263" sldId="1143"/>
            <ac:spMk id="19" creationId="{DAC540C1-9BC5-4CA8-B5C3-53F0A2F125F5}"/>
          </ac:spMkLst>
        </pc:spChg>
        <pc:spChg chg="add mod">
          <ac:chgData name="Céline Felber" userId="03e6e5e3-26bd-4d3d-a86c-4e25438b18a3" providerId="ADAL" clId="{25CEA024-308C-4E1B-A2D6-84CCD0D2EA4B}" dt="2021-04-29T11:08:11.643" v="4024" actId="20577"/>
          <ac:spMkLst>
            <pc:docMk/>
            <pc:sldMk cId="3806334263" sldId="1143"/>
            <ac:spMk id="20" creationId="{3AD9BC6E-03C1-4902-A137-334292C9AAF2}"/>
          </ac:spMkLst>
        </pc:spChg>
        <pc:grpChg chg="add mod">
          <ac:chgData name="Céline Felber" userId="03e6e5e3-26bd-4d3d-a86c-4e25438b18a3" providerId="ADAL" clId="{25CEA024-308C-4E1B-A2D6-84CCD0D2EA4B}" dt="2021-04-29T11:07:07.229" v="4017" actId="1076"/>
          <ac:grpSpMkLst>
            <pc:docMk/>
            <pc:sldMk cId="3806334263" sldId="1143"/>
            <ac:grpSpMk id="2" creationId="{3924692F-44C3-4113-9DE4-C19133C9F436}"/>
          </ac:grpSpMkLst>
        </pc:grpChg>
        <pc:grpChg chg="add mod">
          <ac:chgData name="Céline Felber" userId="03e6e5e3-26bd-4d3d-a86c-4e25438b18a3" providerId="ADAL" clId="{25CEA024-308C-4E1B-A2D6-84CCD0D2EA4B}" dt="2021-04-29T11:07:08.615" v="4018" actId="1076"/>
          <ac:grpSpMkLst>
            <pc:docMk/>
            <pc:sldMk cId="3806334263" sldId="1143"/>
            <ac:grpSpMk id="3" creationId="{35E51E43-AF37-4DC3-9650-789422BB93C4}"/>
          </ac:grpSpMkLst>
        </pc:grpChg>
        <pc:picChg chg="mod">
          <ac:chgData name="Céline Felber" userId="03e6e5e3-26bd-4d3d-a86c-4e25438b18a3" providerId="ADAL" clId="{25CEA024-308C-4E1B-A2D6-84CCD0D2EA4B}" dt="2021-04-29T11:05:36.413" v="3819" actId="164"/>
          <ac:picMkLst>
            <pc:docMk/>
            <pc:sldMk cId="3806334263" sldId="1143"/>
            <ac:picMk id="15" creationId="{9997F5C5-77CD-4AA3-89B8-AA29E78240E0}"/>
          </ac:picMkLst>
        </pc:picChg>
        <pc:picChg chg="mod">
          <ac:chgData name="Céline Felber" userId="03e6e5e3-26bd-4d3d-a86c-4e25438b18a3" providerId="ADAL" clId="{25CEA024-308C-4E1B-A2D6-84CCD0D2EA4B}" dt="2021-04-29T10:13:23.351" v="3814" actId="164"/>
          <ac:picMkLst>
            <pc:docMk/>
            <pc:sldMk cId="3806334263" sldId="1143"/>
            <ac:picMk id="18" creationId="{F416459A-B81F-42F5-93DC-6658B8293DF7}"/>
          </ac:picMkLst>
        </pc:picChg>
      </pc:sldChg>
      <pc:sldChg chg="addSp delSp modSp mod">
        <pc:chgData name="Céline Felber" userId="03e6e5e3-26bd-4d3d-a86c-4e25438b18a3" providerId="ADAL" clId="{25CEA024-308C-4E1B-A2D6-84CCD0D2EA4B}" dt="2021-04-29T11:31:21.477" v="4925" actId="478"/>
        <pc:sldMkLst>
          <pc:docMk/>
          <pc:sldMk cId="2513178108" sldId="1147"/>
        </pc:sldMkLst>
        <pc:spChg chg="mod">
          <ac:chgData name="Céline Felber" userId="03e6e5e3-26bd-4d3d-a86c-4e25438b18a3" providerId="ADAL" clId="{25CEA024-308C-4E1B-A2D6-84CCD0D2EA4B}" dt="2021-04-29T09:58:53.511" v="3150" actId="1035"/>
          <ac:spMkLst>
            <pc:docMk/>
            <pc:sldMk cId="2513178108" sldId="1147"/>
            <ac:spMk id="5" creationId="{1CA1840C-FE07-41BE-B7E7-AF9671A078EF}"/>
          </ac:spMkLst>
        </pc:spChg>
        <pc:spChg chg="mod">
          <ac:chgData name="Céline Felber" userId="03e6e5e3-26bd-4d3d-a86c-4e25438b18a3" providerId="ADAL" clId="{25CEA024-308C-4E1B-A2D6-84CCD0D2EA4B}" dt="2021-04-29T10:00:03.201" v="3179" actId="14100"/>
          <ac:spMkLst>
            <pc:docMk/>
            <pc:sldMk cId="2513178108" sldId="1147"/>
            <ac:spMk id="6" creationId="{8F873D91-B9E7-41A7-B906-C29583EF66FB}"/>
          </ac:spMkLst>
        </pc:spChg>
        <pc:spChg chg="add del">
          <ac:chgData name="Céline Felber" userId="03e6e5e3-26bd-4d3d-a86c-4e25438b18a3" providerId="ADAL" clId="{25CEA024-308C-4E1B-A2D6-84CCD0D2EA4B}" dt="2021-04-29T09:59:17.279" v="3153" actId="22"/>
          <ac:spMkLst>
            <pc:docMk/>
            <pc:sldMk cId="2513178108" sldId="1147"/>
            <ac:spMk id="11" creationId="{2D4AD41C-9E85-4874-B283-A2CF53C16D6B}"/>
          </ac:spMkLst>
        </pc:spChg>
        <pc:spChg chg="add del mod">
          <ac:chgData name="Céline Felber" userId="03e6e5e3-26bd-4d3d-a86c-4e25438b18a3" providerId="ADAL" clId="{25CEA024-308C-4E1B-A2D6-84CCD0D2EA4B}" dt="2021-04-29T11:31:21.477" v="4925" actId="478"/>
          <ac:spMkLst>
            <pc:docMk/>
            <pc:sldMk cId="2513178108" sldId="1147"/>
            <ac:spMk id="12" creationId="{A5E4189E-E7C2-4521-8F3B-6797128720C4}"/>
          </ac:spMkLst>
        </pc:spChg>
        <pc:spChg chg="add mod">
          <ac:chgData name="Céline Felber" userId="03e6e5e3-26bd-4d3d-a86c-4e25438b18a3" providerId="ADAL" clId="{25CEA024-308C-4E1B-A2D6-84CCD0D2EA4B}" dt="2021-04-29T09:59:51.003" v="3178" actId="20577"/>
          <ac:spMkLst>
            <pc:docMk/>
            <pc:sldMk cId="2513178108" sldId="1147"/>
            <ac:spMk id="13" creationId="{BBB19BDF-8C95-4F0E-BD6C-C6E68718032A}"/>
          </ac:spMkLst>
        </pc:spChg>
        <pc:spChg chg="add del mod">
          <ac:chgData name="Céline Felber" userId="03e6e5e3-26bd-4d3d-a86c-4e25438b18a3" providerId="ADAL" clId="{25CEA024-308C-4E1B-A2D6-84CCD0D2EA4B}" dt="2021-04-29T11:31:17.672" v="4924" actId="478"/>
          <ac:spMkLst>
            <pc:docMk/>
            <pc:sldMk cId="2513178108" sldId="1147"/>
            <ac:spMk id="16" creationId="{8CCB3E33-99E2-4E90-A7F3-7C1F4700F4A5}"/>
          </ac:spMkLst>
        </pc:spChg>
      </pc:sldChg>
      <pc:sldChg chg="addSp delSp modSp mod">
        <pc:chgData name="Céline Felber" userId="03e6e5e3-26bd-4d3d-a86c-4e25438b18a3" providerId="ADAL" clId="{25CEA024-308C-4E1B-A2D6-84CCD0D2EA4B}" dt="2021-04-29T11:31:10.130" v="4923" actId="478"/>
        <pc:sldMkLst>
          <pc:docMk/>
          <pc:sldMk cId="1617794294" sldId="1158"/>
        </pc:sldMkLst>
        <pc:spChg chg="add del mod">
          <ac:chgData name="Céline Felber" userId="03e6e5e3-26bd-4d3d-a86c-4e25438b18a3" providerId="ADAL" clId="{25CEA024-308C-4E1B-A2D6-84CCD0D2EA4B}" dt="2021-04-29T11:31:10.130" v="4923" actId="478"/>
          <ac:spMkLst>
            <pc:docMk/>
            <pc:sldMk cId="1617794294" sldId="1158"/>
            <ac:spMk id="3" creationId="{6C2F38E6-33DE-497E-8C05-4C60CF8A89A9}"/>
          </ac:spMkLst>
        </pc:spChg>
        <pc:spChg chg="add del mod">
          <ac:chgData name="Céline Felber" userId="03e6e5e3-26bd-4d3d-a86c-4e25438b18a3" providerId="ADAL" clId="{25CEA024-308C-4E1B-A2D6-84CCD0D2EA4B}" dt="2021-04-29T11:31:00.968" v="4922" actId="478"/>
          <ac:spMkLst>
            <pc:docMk/>
            <pc:sldMk cId="1617794294" sldId="1158"/>
            <ac:spMk id="10" creationId="{19533332-05D5-4F8D-A80D-BC453E3D743C}"/>
          </ac:spMkLst>
        </pc:spChg>
      </pc:sldChg>
      <pc:sldChg chg="addSp delSp modSp mod">
        <pc:chgData name="Céline Felber" userId="03e6e5e3-26bd-4d3d-a86c-4e25438b18a3" providerId="ADAL" clId="{25CEA024-308C-4E1B-A2D6-84CCD0D2EA4B}" dt="2021-04-29T11:31:39.300" v="4936" actId="478"/>
        <pc:sldMkLst>
          <pc:docMk/>
          <pc:sldMk cId="306443251" sldId="1162"/>
        </pc:sldMkLst>
        <pc:spChg chg="add del mod">
          <ac:chgData name="Céline Felber" userId="03e6e5e3-26bd-4d3d-a86c-4e25438b18a3" providerId="ADAL" clId="{25CEA024-308C-4E1B-A2D6-84CCD0D2EA4B}" dt="2021-04-29T11:31:39.300" v="4936" actId="478"/>
          <ac:spMkLst>
            <pc:docMk/>
            <pc:sldMk cId="306443251" sldId="1162"/>
            <ac:spMk id="3" creationId="{12C19E70-492A-4D24-830E-5C4DABCD826D}"/>
          </ac:spMkLst>
        </pc:spChg>
        <pc:spChg chg="add del mod">
          <ac:chgData name="Céline Felber" userId="03e6e5e3-26bd-4d3d-a86c-4e25438b18a3" providerId="ADAL" clId="{25CEA024-308C-4E1B-A2D6-84CCD0D2EA4B}" dt="2021-04-29T11:31:36.414" v="4935" actId="478"/>
          <ac:spMkLst>
            <pc:docMk/>
            <pc:sldMk cId="306443251" sldId="1162"/>
            <ac:spMk id="13" creationId="{0977DBFC-B9CD-4983-B0DA-1CE0BEAFC3B2}"/>
          </ac:spMkLst>
        </pc:spChg>
      </pc:sldChg>
      <pc:sldChg chg="delSp modSp del mod ord delAnim">
        <pc:chgData name="Céline Felber" userId="03e6e5e3-26bd-4d3d-a86c-4e25438b18a3" providerId="ADAL" clId="{25CEA024-308C-4E1B-A2D6-84CCD0D2EA4B}" dt="2021-04-29T09:52:50.153" v="3131" actId="47"/>
        <pc:sldMkLst>
          <pc:docMk/>
          <pc:sldMk cId="2448549953" sldId="1166"/>
        </pc:sldMkLst>
        <pc:spChg chg="del">
          <ac:chgData name="Céline Felber" userId="03e6e5e3-26bd-4d3d-a86c-4e25438b18a3" providerId="ADAL" clId="{25CEA024-308C-4E1B-A2D6-84CCD0D2EA4B}" dt="2021-04-29T09:46:13.689" v="2983" actId="478"/>
          <ac:spMkLst>
            <pc:docMk/>
            <pc:sldMk cId="2448549953" sldId="1166"/>
            <ac:spMk id="4" creationId="{10B17486-C462-409F-B4CD-F9985C68DA45}"/>
          </ac:spMkLst>
        </pc:spChg>
        <pc:spChg chg="del">
          <ac:chgData name="Céline Felber" userId="03e6e5e3-26bd-4d3d-a86c-4e25438b18a3" providerId="ADAL" clId="{25CEA024-308C-4E1B-A2D6-84CCD0D2EA4B}" dt="2021-04-29T09:46:13.689" v="2983" actId="478"/>
          <ac:spMkLst>
            <pc:docMk/>
            <pc:sldMk cId="2448549953" sldId="1166"/>
            <ac:spMk id="7" creationId="{929059E7-4F43-478E-8307-E7B4E29AE97B}"/>
          </ac:spMkLst>
        </pc:spChg>
        <pc:spChg chg="del">
          <ac:chgData name="Céline Felber" userId="03e6e5e3-26bd-4d3d-a86c-4e25438b18a3" providerId="ADAL" clId="{25CEA024-308C-4E1B-A2D6-84CCD0D2EA4B}" dt="2021-04-29T09:46:13.689" v="2983" actId="478"/>
          <ac:spMkLst>
            <pc:docMk/>
            <pc:sldMk cId="2448549953" sldId="1166"/>
            <ac:spMk id="9" creationId="{C882F3F1-2EE0-4E49-980C-2026E2FC4BCE}"/>
          </ac:spMkLst>
        </pc:spChg>
        <pc:picChg chg="del">
          <ac:chgData name="Céline Felber" userId="03e6e5e3-26bd-4d3d-a86c-4e25438b18a3" providerId="ADAL" clId="{25CEA024-308C-4E1B-A2D6-84CCD0D2EA4B}" dt="2021-04-29T09:46:11.029" v="2982" actId="478"/>
          <ac:picMkLst>
            <pc:docMk/>
            <pc:sldMk cId="2448549953" sldId="1166"/>
            <ac:picMk id="2" creationId="{07F73513-FDFA-4C25-A107-83A9A2FA9B84}"/>
          </ac:picMkLst>
        </pc:picChg>
        <pc:picChg chg="del">
          <ac:chgData name="Céline Felber" userId="03e6e5e3-26bd-4d3d-a86c-4e25438b18a3" providerId="ADAL" clId="{25CEA024-308C-4E1B-A2D6-84CCD0D2EA4B}" dt="2021-04-29T09:45:42.661" v="2976" actId="21"/>
          <ac:picMkLst>
            <pc:docMk/>
            <pc:sldMk cId="2448549953" sldId="1166"/>
            <ac:picMk id="3" creationId="{76488F9A-1F9E-4DAE-9867-46B756BF20DF}"/>
          </ac:picMkLst>
        </pc:picChg>
        <pc:picChg chg="del mod">
          <ac:chgData name="Céline Felber" userId="03e6e5e3-26bd-4d3d-a86c-4e25438b18a3" providerId="ADAL" clId="{25CEA024-308C-4E1B-A2D6-84CCD0D2EA4B}" dt="2021-04-29T09:45:42.661" v="2976" actId="21"/>
          <ac:picMkLst>
            <pc:docMk/>
            <pc:sldMk cId="2448549953" sldId="1166"/>
            <ac:picMk id="5" creationId="{3BE67BC5-8A57-4299-9893-AC2E062F1B9E}"/>
          </ac:picMkLst>
        </pc:picChg>
        <pc:picChg chg="del mod">
          <ac:chgData name="Céline Felber" userId="03e6e5e3-26bd-4d3d-a86c-4e25438b18a3" providerId="ADAL" clId="{25CEA024-308C-4E1B-A2D6-84CCD0D2EA4B}" dt="2021-04-29T09:46:31.370" v="2984" actId="478"/>
          <ac:picMkLst>
            <pc:docMk/>
            <pc:sldMk cId="2448549953" sldId="1166"/>
            <ac:picMk id="11" creationId="{AFA3FA81-05F7-4762-86F2-38D827B5EF20}"/>
          </ac:picMkLst>
        </pc:picChg>
        <pc:picChg chg="del mod">
          <ac:chgData name="Céline Felber" userId="03e6e5e3-26bd-4d3d-a86c-4e25438b18a3" providerId="ADAL" clId="{25CEA024-308C-4E1B-A2D6-84CCD0D2EA4B}" dt="2021-04-29T09:46:33.143" v="2985" actId="478"/>
          <ac:picMkLst>
            <pc:docMk/>
            <pc:sldMk cId="2448549953" sldId="1166"/>
            <ac:picMk id="12" creationId="{B65EBCD7-A87B-4754-9636-E64AD53BBB8B}"/>
          </ac:picMkLst>
        </pc:picChg>
        <pc:picChg chg="mod">
          <ac:chgData name="Céline Felber" userId="03e6e5e3-26bd-4d3d-a86c-4e25438b18a3" providerId="ADAL" clId="{25CEA024-308C-4E1B-A2D6-84CCD0D2EA4B}" dt="2021-04-29T09:45:29.181" v="2972" actId="1076"/>
          <ac:picMkLst>
            <pc:docMk/>
            <pc:sldMk cId="2448549953" sldId="1166"/>
            <ac:picMk id="16" creationId="{3D5D131F-D984-42D7-9629-3C68B5E27C00}"/>
          </ac:picMkLst>
        </pc:picChg>
        <pc:picChg chg="mod">
          <ac:chgData name="Céline Felber" userId="03e6e5e3-26bd-4d3d-a86c-4e25438b18a3" providerId="ADAL" clId="{25CEA024-308C-4E1B-A2D6-84CCD0D2EA4B}" dt="2021-04-29T09:45:28.004" v="2971" actId="1076"/>
          <ac:picMkLst>
            <pc:docMk/>
            <pc:sldMk cId="2448549953" sldId="1166"/>
            <ac:picMk id="17" creationId="{C04E39F4-E0F8-43BE-80A0-A04226B99A34}"/>
          </ac:picMkLst>
        </pc:picChg>
        <pc:cxnChg chg="del">
          <ac:chgData name="Céline Felber" userId="03e6e5e3-26bd-4d3d-a86c-4e25438b18a3" providerId="ADAL" clId="{25CEA024-308C-4E1B-A2D6-84CCD0D2EA4B}" dt="2021-04-29T09:46:13.689" v="2983" actId="478"/>
          <ac:cxnSpMkLst>
            <pc:docMk/>
            <pc:sldMk cId="2448549953" sldId="1166"/>
            <ac:cxnSpMk id="10" creationId="{310F5072-A20E-454F-B0E9-041D17A5F841}"/>
          </ac:cxnSpMkLst>
        </pc:cxnChg>
        <pc:cxnChg chg="del">
          <ac:chgData name="Céline Felber" userId="03e6e5e3-26bd-4d3d-a86c-4e25438b18a3" providerId="ADAL" clId="{25CEA024-308C-4E1B-A2D6-84CCD0D2EA4B}" dt="2021-04-29T09:46:13.689" v="2983" actId="478"/>
          <ac:cxnSpMkLst>
            <pc:docMk/>
            <pc:sldMk cId="2448549953" sldId="1166"/>
            <ac:cxnSpMk id="15" creationId="{66630A2A-7F29-4A0B-9A35-0D9172E79738}"/>
          </ac:cxnSpMkLst>
        </pc:cxnChg>
      </pc:sldChg>
      <pc:sldChg chg="addSp delSp modSp mod">
        <pc:chgData name="Céline Felber" userId="03e6e5e3-26bd-4d3d-a86c-4e25438b18a3" providerId="ADAL" clId="{25CEA024-308C-4E1B-A2D6-84CCD0D2EA4B}" dt="2021-04-29T11:31:32.342" v="4934" actId="478"/>
        <pc:sldMkLst>
          <pc:docMk/>
          <pc:sldMk cId="2598824345" sldId="1168"/>
        </pc:sldMkLst>
        <pc:spChg chg="add del mod">
          <ac:chgData name="Céline Felber" userId="03e6e5e3-26bd-4d3d-a86c-4e25438b18a3" providerId="ADAL" clId="{25CEA024-308C-4E1B-A2D6-84CCD0D2EA4B}" dt="2021-04-29T11:31:32.342" v="4934" actId="478"/>
          <ac:spMkLst>
            <pc:docMk/>
            <pc:sldMk cId="2598824345" sldId="1168"/>
            <ac:spMk id="14" creationId="{B6CB1AF6-C0CD-4C88-9CEE-2D431705617B}"/>
          </ac:spMkLst>
        </pc:spChg>
        <pc:picChg chg="mod">
          <ac:chgData name="Céline Felber" userId="03e6e5e3-26bd-4d3d-a86c-4e25438b18a3" providerId="ADAL" clId="{25CEA024-308C-4E1B-A2D6-84CCD0D2EA4B}" dt="2021-04-29T09:55:50.791" v="3134" actId="1076"/>
          <ac:picMkLst>
            <pc:docMk/>
            <pc:sldMk cId="2598824345" sldId="1168"/>
            <ac:picMk id="25" creationId="{D583A5D8-E54C-43A9-BA25-B49DAA51232A}"/>
          </ac:picMkLst>
        </pc:picChg>
        <pc:picChg chg="mod">
          <ac:chgData name="Céline Felber" userId="03e6e5e3-26bd-4d3d-a86c-4e25438b18a3" providerId="ADAL" clId="{25CEA024-308C-4E1B-A2D6-84CCD0D2EA4B}" dt="2021-04-29T09:55:51.345" v="3135" actId="1076"/>
          <ac:picMkLst>
            <pc:docMk/>
            <pc:sldMk cId="2598824345" sldId="1168"/>
            <ac:picMk id="33" creationId="{07CA5A60-A6AF-44BA-9FAC-2A81F186164F}"/>
          </ac:picMkLst>
        </pc:picChg>
      </pc:sldChg>
      <pc:sldChg chg="modSp">
        <pc:chgData name="Céline Felber" userId="03e6e5e3-26bd-4d3d-a86c-4e25438b18a3" providerId="ADAL" clId="{25CEA024-308C-4E1B-A2D6-84CCD0D2EA4B}" dt="2021-04-29T09:13:49.599" v="1895"/>
        <pc:sldMkLst>
          <pc:docMk/>
          <pc:sldMk cId="1102447667" sldId="1189"/>
        </pc:sldMkLst>
        <pc:spChg chg="mod">
          <ac:chgData name="Céline Felber" userId="03e6e5e3-26bd-4d3d-a86c-4e25438b18a3" providerId="ADAL" clId="{25CEA024-308C-4E1B-A2D6-84CCD0D2EA4B}" dt="2021-04-29T09:13:49.599" v="1895"/>
          <ac:spMkLst>
            <pc:docMk/>
            <pc:sldMk cId="1102447667" sldId="1189"/>
            <ac:spMk id="9" creationId="{E2ECFA4D-94D8-4247-A042-D55E2686891F}"/>
          </ac:spMkLst>
        </pc:spChg>
        <pc:spChg chg="mod">
          <ac:chgData name="Céline Felber" userId="03e6e5e3-26bd-4d3d-a86c-4e25438b18a3" providerId="ADAL" clId="{25CEA024-308C-4E1B-A2D6-84CCD0D2EA4B}" dt="2021-04-29T09:13:49.599" v="1895"/>
          <ac:spMkLst>
            <pc:docMk/>
            <pc:sldMk cId="1102447667" sldId="1189"/>
            <ac:spMk id="10" creationId="{E8E7EBA0-C1EC-4B76-8390-F38783008468}"/>
          </ac:spMkLst>
        </pc:spChg>
      </pc:sldChg>
      <pc:sldChg chg="addSp delSp modSp mod">
        <pc:chgData name="Céline Felber" userId="03e6e5e3-26bd-4d3d-a86c-4e25438b18a3" providerId="ADAL" clId="{25CEA024-308C-4E1B-A2D6-84CCD0D2EA4B}" dt="2021-04-29T11:33:07.300" v="4953" actId="1076"/>
        <pc:sldMkLst>
          <pc:docMk/>
          <pc:sldMk cId="647728144" sldId="1199"/>
        </pc:sldMkLst>
        <pc:spChg chg="del mod">
          <ac:chgData name="Céline Felber" userId="03e6e5e3-26bd-4d3d-a86c-4e25438b18a3" providerId="ADAL" clId="{25CEA024-308C-4E1B-A2D6-84CCD0D2EA4B}" dt="2021-04-29T11:30:16.563" v="4871" actId="478"/>
          <ac:spMkLst>
            <pc:docMk/>
            <pc:sldMk cId="647728144" sldId="1199"/>
            <ac:spMk id="3" creationId="{3F5685DE-5CDA-48CF-8110-2F734E749111}"/>
          </ac:spMkLst>
        </pc:spChg>
        <pc:spChg chg="del mod">
          <ac:chgData name="Céline Felber" userId="03e6e5e3-26bd-4d3d-a86c-4e25438b18a3" providerId="ADAL" clId="{25CEA024-308C-4E1B-A2D6-84CCD0D2EA4B}" dt="2021-04-29T11:30:13.962" v="4869" actId="478"/>
          <ac:spMkLst>
            <pc:docMk/>
            <pc:sldMk cId="647728144" sldId="1199"/>
            <ac:spMk id="4" creationId="{D506C34E-2B80-4350-9757-5CB8820799B8}"/>
          </ac:spMkLst>
        </pc:spChg>
        <pc:spChg chg="add mod">
          <ac:chgData name="Céline Felber" userId="03e6e5e3-26bd-4d3d-a86c-4e25438b18a3" providerId="ADAL" clId="{25CEA024-308C-4E1B-A2D6-84CCD0D2EA4B}" dt="2021-04-29T11:32:39.177" v="4948" actId="20577"/>
          <ac:spMkLst>
            <pc:docMk/>
            <pc:sldMk cId="647728144" sldId="1199"/>
            <ac:spMk id="6" creationId="{800756C1-160C-445C-A46D-3BFD7A86B16A}"/>
          </ac:spMkLst>
        </pc:spChg>
        <pc:spChg chg="add del mod">
          <ac:chgData name="Céline Felber" userId="03e6e5e3-26bd-4d3d-a86c-4e25438b18a3" providerId="ADAL" clId="{25CEA024-308C-4E1B-A2D6-84CCD0D2EA4B}" dt="2021-04-29T11:30:18.250" v="4872" actId="478"/>
          <ac:spMkLst>
            <pc:docMk/>
            <pc:sldMk cId="647728144" sldId="1199"/>
            <ac:spMk id="8" creationId="{040729A4-4AAF-4726-A23E-A3D166C10EFF}"/>
          </ac:spMkLst>
        </pc:spChg>
        <pc:picChg chg="add mod">
          <ac:chgData name="Céline Felber" userId="03e6e5e3-26bd-4d3d-a86c-4e25438b18a3" providerId="ADAL" clId="{25CEA024-308C-4E1B-A2D6-84CCD0D2EA4B}" dt="2021-04-29T11:33:07.300" v="4953" actId="1076"/>
          <ac:picMkLst>
            <pc:docMk/>
            <pc:sldMk cId="647728144" sldId="1199"/>
            <ac:picMk id="10" creationId="{43F7D41A-A60B-4705-8E7E-755501F6602C}"/>
          </ac:picMkLst>
        </pc:picChg>
      </pc:sldChg>
      <pc:sldChg chg="addSp delSp modSp mod">
        <pc:chgData name="Céline Felber" userId="03e6e5e3-26bd-4d3d-a86c-4e25438b18a3" providerId="ADAL" clId="{25CEA024-308C-4E1B-A2D6-84CCD0D2EA4B}" dt="2021-04-29T08:22:05.499" v="18" actId="14100"/>
        <pc:sldMkLst>
          <pc:docMk/>
          <pc:sldMk cId="3626055260" sldId="1200"/>
        </pc:sldMkLst>
        <pc:spChg chg="mod">
          <ac:chgData name="Céline Felber" userId="03e6e5e3-26bd-4d3d-a86c-4e25438b18a3" providerId="ADAL" clId="{25CEA024-308C-4E1B-A2D6-84CCD0D2EA4B}" dt="2021-04-29T08:22:05.499" v="18" actId="14100"/>
          <ac:spMkLst>
            <pc:docMk/>
            <pc:sldMk cId="3626055260" sldId="1200"/>
            <ac:spMk id="5" creationId="{703E1EEF-9F03-4935-A117-DA05CB79537C}"/>
          </ac:spMkLst>
        </pc:spChg>
        <pc:picChg chg="del">
          <ac:chgData name="Céline Felber" userId="03e6e5e3-26bd-4d3d-a86c-4e25438b18a3" providerId="ADAL" clId="{25CEA024-308C-4E1B-A2D6-84CCD0D2EA4B}" dt="2021-04-29T08:21:25.159" v="9" actId="478"/>
          <ac:picMkLst>
            <pc:docMk/>
            <pc:sldMk cId="3626055260" sldId="1200"/>
            <ac:picMk id="8" creationId="{3587D5ED-1F3B-44C2-A22F-F3C5D7A86E3C}"/>
          </ac:picMkLst>
        </pc:picChg>
        <pc:picChg chg="add mod ord">
          <ac:chgData name="Céline Felber" userId="03e6e5e3-26bd-4d3d-a86c-4e25438b18a3" providerId="ADAL" clId="{25CEA024-308C-4E1B-A2D6-84CCD0D2EA4B}" dt="2021-04-29T08:21:27.989" v="11" actId="167"/>
          <ac:picMkLst>
            <pc:docMk/>
            <pc:sldMk cId="3626055260" sldId="1200"/>
            <ac:picMk id="9" creationId="{F8031469-E8D9-45BA-A5DE-7725E31B0B3F}"/>
          </ac:picMkLst>
        </pc:picChg>
      </pc:sldChg>
      <pc:sldChg chg="addSp delSp modSp mod">
        <pc:chgData name="Céline Felber" userId="03e6e5e3-26bd-4d3d-a86c-4e25438b18a3" providerId="ADAL" clId="{25CEA024-308C-4E1B-A2D6-84CCD0D2EA4B}" dt="2021-04-29T08:22:16.023" v="20" actId="14100"/>
        <pc:sldMkLst>
          <pc:docMk/>
          <pc:sldMk cId="2851628216" sldId="1201"/>
        </pc:sldMkLst>
        <pc:spChg chg="mod">
          <ac:chgData name="Céline Felber" userId="03e6e5e3-26bd-4d3d-a86c-4e25438b18a3" providerId="ADAL" clId="{25CEA024-308C-4E1B-A2D6-84CCD0D2EA4B}" dt="2021-04-29T08:22:16.023" v="20" actId="14100"/>
          <ac:spMkLst>
            <pc:docMk/>
            <pc:sldMk cId="2851628216" sldId="1201"/>
            <ac:spMk id="10" creationId="{6EBF42F4-201A-473F-9C58-BF22D2121B01}"/>
          </ac:spMkLst>
        </pc:spChg>
        <pc:picChg chg="add mod ord">
          <ac:chgData name="Céline Felber" userId="03e6e5e3-26bd-4d3d-a86c-4e25438b18a3" providerId="ADAL" clId="{25CEA024-308C-4E1B-A2D6-84CCD0D2EA4B}" dt="2021-04-29T08:21:41.499" v="15" actId="167"/>
          <ac:picMkLst>
            <pc:docMk/>
            <pc:sldMk cId="2851628216" sldId="1201"/>
            <ac:picMk id="8" creationId="{122D5D0F-1F35-42B3-B750-F2CCF447BC5B}"/>
          </ac:picMkLst>
        </pc:picChg>
        <pc:picChg chg="del">
          <ac:chgData name="Céline Felber" userId="03e6e5e3-26bd-4d3d-a86c-4e25438b18a3" providerId="ADAL" clId="{25CEA024-308C-4E1B-A2D6-84CCD0D2EA4B}" dt="2021-04-29T08:21:38.383" v="13" actId="478"/>
          <ac:picMkLst>
            <pc:docMk/>
            <pc:sldMk cId="2851628216" sldId="1201"/>
            <ac:picMk id="9" creationId="{782ED35A-2C7E-419D-8DCE-4965CAFBC675}"/>
          </ac:picMkLst>
        </pc:picChg>
      </pc:sldChg>
      <pc:sldChg chg="delSp modSp mod">
        <pc:chgData name="Céline Felber" userId="03e6e5e3-26bd-4d3d-a86c-4e25438b18a3" providerId="ADAL" clId="{25CEA024-308C-4E1B-A2D6-84CCD0D2EA4B}" dt="2021-04-29T08:38:53.923" v="843" actId="20577"/>
        <pc:sldMkLst>
          <pc:docMk/>
          <pc:sldMk cId="3770443279" sldId="1202"/>
        </pc:sldMkLst>
        <pc:spChg chg="mod">
          <ac:chgData name="Céline Felber" userId="03e6e5e3-26bd-4d3d-a86c-4e25438b18a3" providerId="ADAL" clId="{25CEA024-308C-4E1B-A2D6-84CCD0D2EA4B}" dt="2021-04-29T08:31:12.958" v="615" actId="20577"/>
          <ac:spMkLst>
            <pc:docMk/>
            <pc:sldMk cId="3770443279" sldId="1202"/>
            <ac:spMk id="13" creationId="{EB50838E-6F9D-4017-A719-F425EEBC4C6B}"/>
          </ac:spMkLst>
        </pc:spChg>
        <pc:spChg chg="del">
          <ac:chgData name="Céline Felber" userId="03e6e5e3-26bd-4d3d-a86c-4e25438b18a3" providerId="ADAL" clId="{25CEA024-308C-4E1B-A2D6-84CCD0D2EA4B}" dt="2021-04-29T08:30:46.757" v="597" actId="478"/>
          <ac:spMkLst>
            <pc:docMk/>
            <pc:sldMk cId="3770443279" sldId="1202"/>
            <ac:spMk id="17" creationId="{D70F8613-3E97-450D-82F6-23C4BC570DB1}"/>
          </ac:spMkLst>
        </pc:spChg>
        <pc:spChg chg="del">
          <ac:chgData name="Céline Felber" userId="03e6e5e3-26bd-4d3d-a86c-4e25438b18a3" providerId="ADAL" clId="{25CEA024-308C-4E1B-A2D6-84CCD0D2EA4B}" dt="2021-04-29T08:30:46.757" v="597" actId="478"/>
          <ac:spMkLst>
            <pc:docMk/>
            <pc:sldMk cId="3770443279" sldId="1202"/>
            <ac:spMk id="18" creationId="{DC5E6835-D5DA-48C7-B08D-A5BAADCAC130}"/>
          </ac:spMkLst>
        </pc:spChg>
        <pc:spChg chg="mod">
          <ac:chgData name="Céline Felber" userId="03e6e5e3-26bd-4d3d-a86c-4e25438b18a3" providerId="ADAL" clId="{25CEA024-308C-4E1B-A2D6-84CCD0D2EA4B}" dt="2021-04-29T08:38:30.454" v="840" actId="1076"/>
          <ac:spMkLst>
            <pc:docMk/>
            <pc:sldMk cId="3770443279" sldId="1202"/>
            <ac:spMk id="20" creationId="{0DC09DFE-62F0-45BE-A039-1EBA0EBE6667}"/>
          </ac:spMkLst>
        </pc:spChg>
        <pc:spChg chg="mod">
          <ac:chgData name="Céline Felber" userId="03e6e5e3-26bd-4d3d-a86c-4e25438b18a3" providerId="ADAL" clId="{25CEA024-308C-4E1B-A2D6-84CCD0D2EA4B}" dt="2021-04-29T08:38:53.923" v="843" actId="20577"/>
          <ac:spMkLst>
            <pc:docMk/>
            <pc:sldMk cId="3770443279" sldId="1202"/>
            <ac:spMk id="21" creationId="{DB60116E-2639-4648-AC2D-350224FEDB21}"/>
          </ac:spMkLst>
        </pc:spChg>
        <pc:spChg chg="mod">
          <ac:chgData name="Céline Felber" userId="03e6e5e3-26bd-4d3d-a86c-4e25438b18a3" providerId="ADAL" clId="{25CEA024-308C-4E1B-A2D6-84CCD0D2EA4B}" dt="2021-04-29T08:37:43.898" v="834" actId="14100"/>
          <ac:spMkLst>
            <pc:docMk/>
            <pc:sldMk cId="3770443279" sldId="1202"/>
            <ac:spMk id="22" creationId="{5999E3D1-D651-436C-93AE-E2DA28D7D18B}"/>
          </ac:spMkLst>
        </pc:spChg>
        <pc:spChg chg="mod">
          <ac:chgData name="Céline Felber" userId="03e6e5e3-26bd-4d3d-a86c-4e25438b18a3" providerId="ADAL" clId="{25CEA024-308C-4E1B-A2D6-84CCD0D2EA4B}" dt="2021-04-29T08:37:40.844" v="833" actId="14100"/>
          <ac:spMkLst>
            <pc:docMk/>
            <pc:sldMk cId="3770443279" sldId="1202"/>
            <ac:spMk id="23" creationId="{60EA4207-63C0-4AA6-BC93-24494D270DB3}"/>
          </ac:spMkLst>
        </pc:spChg>
        <pc:spChg chg="del">
          <ac:chgData name="Céline Felber" userId="03e6e5e3-26bd-4d3d-a86c-4e25438b18a3" providerId="ADAL" clId="{25CEA024-308C-4E1B-A2D6-84CCD0D2EA4B}" dt="2021-04-29T08:30:46.757" v="597" actId="478"/>
          <ac:spMkLst>
            <pc:docMk/>
            <pc:sldMk cId="3770443279" sldId="1202"/>
            <ac:spMk id="24" creationId="{4FDCF902-EF7E-4F40-A39C-BCF4276EA754}"/>
          </ac:spMkLst>
        </pc:spChg>
        <pc:spChg chg="del">
          <ac:chgData name="Céline Felber" userId="03e6e5e3-26bd-4d3d-a86c-4e25438b18a3" providerId="ADAL" clId="{25CEA024-308C-4E1B-A2D6-84CCD0D2EA4B}" dt="2021-04-29T08:30:46.757" v="597" actId="478"/>
          <ac:spMkLst>
            <pc:docMk/>
            <pc:sldMk cId="3770443279" sldId="1202"/>
            <ac:spMk id="25" creationId="{B2B3E9E6-9A74-4988-9E33-3003140F70BA}"/>
          </ac:spMkLst>
        </pc:spChg>
        <pc:spChg chg="mod">
          <ac:chgData name="Céline Felber" userId="03e6e5e3-26bd-4d3d-a86c-4e25438b18a3" providerId="ADAL" clId="{25CEA024-308C-4E1B-A2D6-84CCD0D2EA4B}" dt="2021-04-29T08:38:39.630" v="841" actId="1076"/>
          <ac:spMkLst>
            <pc:docMk/>
            <pc:sldMk cId="3770443279" sldId="1202"/>
            <ac:spMk id="26" creationId="{B97AB44A-0208-46AC-B2A4-A9FDFE1E3BC5}"/>
          </ac:spMkLst>
        </pc:spChg>
        <pc:spChg chg="mod">
          <ac:chgData name="Céline Felber" userId="03e6e5e3-26bd-4d3d-a86c-4e25438b18a3" providerId="ADAL" clId="{25CEA024-308C-4E1B-A2D6-84CCD0D2EA4B}" dt="2021-04-29T08:38:39.630" v="841" actId="1076"/>
          <ac:spMkLst>
            <pc:docMk/>
            <pc:sldMk cId="3770443279" sldId="1202"/>
            <ac:spMk id="27" creationId="{692CA4CE-9CFE-4CC9-9E2B-B5C6DAC0145F}"/>
          </ac:spMkLst>
        </pc:spChg>
        <pc:spChg chg="mod">
          <ac:chgData name="Céline Felber" userId="03e6e5e3-26bd-4d3d-a86c-4e25438b18a3" providerId="ADAL" clId="{25CEA024-308C-4E1B-A2D6-84CCD0D2EA4B}" dt="2021-04-29T08:38:39.630" v="841" actId="1076"/>
          <ac:spMkLst>
            <pc:docMk/>
            <pc:sldMk cId="3770443279" sldId="1202"/>
            <ac:spMk id="28" creationId="{604B9680-9ADD-4FE2-BC05-3EDFE00C4114}"/>
          </ac:spMkLst>
        </pc:spChg>
        <pc:spChg chg="mod">
          <ac:chgData name="Céline Felber" userId="03e6e5e3-26bd-4d3d-a86c-4e25438b18a3" providerId="ADAL" clId="{25CEA024-308C-4E1B-A2D6-84CCD0D2EA4B}" dt="2021-04-29T08:38:39.630" v="841" actId="1076"/>
          <ac:spMkLst>
            <pc:docMk/>
            <pc:sldMk cId="3770443279" sldId="1202"/>
            <ac:spMk id="29" creationId="{0514FD43-50FD-4E50-A49E-60AD1DC2F06C}"/>
          </ac:spMkLst>
        </pc:spChg>
        <pc:spChg chg="mod">
          <ac:chgData name="Céline Felber" userId="03e6e5e3-26bd-4d3d-a86c-4e25438b18a3" providerId="ADAL" clId="{25CEA024-308C-4E1B-A2D6-84CCD0D2EA4B}" dt="2021-04-29T08:38:30.454" v="840" actId="1076"/>
          <ac:spMkLst>
            <pc:docMk/>
            <pc:sldMk cId="3770443279" sldId="1202"/>
            <ac:spMk id="30" creationId="{2E3BCBA8-CEF6-459B-B4AB-074516A6038D}"/>
          </ac:spMkLst>
        </pc:spChg>
        <pc:spChg chg="mod">
          <ac:chgData name="Céline Felber" userId="03e6e5e3-26bd-4d3d-a86c-4e25438b18a3" providerId="ADAL" clId="{25CEA024-308C-4E1B-A2D6-84CCD0D2EA4B}" dt="2021-04-29T08:37:37.548" v="832" actId="14100"/>
          <ac:spMkLst>
            <pc:docMk/>
            <pc:sldMk cId="3770443279" sldId="1202"/>
            <ac:spMk id="33" creationId="{8CC8A6F9-0891-4482-A560-5DDFE7798B8C}"/>
          </ac:spMkLst>
        </pc:spChg>
      </pc:sldChg>
      <pc:sldChg chg="modSp">
        <pc:chgData name="Céline Felber" userId="03e6e5e3-26bd-4d3d-a86c-4e25438b18a3" providerId="ADAL" clId="{25CEA024-308C-4E1B-A2D6-84CCD0D2EA4B}" dt="2021-04-29T09:13:49.599" v="1895"/>
        <pc:sldMkLst>
          <pc:docMk/>
          <pc:sldMk cId="2515024649" sldId="1203"/>
        </pc:sldMkLst>
        <pc:spChg chg="mod">
          <ac:chgData name="Céline Felber" userId="03e6e5e3-26bd-4d3d-a86c-4e25438b18a3" providerId="ADAL" clId="{25CEA024-308C-4E1B-A2D6-84CCD0D2EA4B}" dt="2021-04-29T09:13:49.599" v="1895"/>
          <ac:spMkLst>
            <pc:docMk/>
            <pc:sldMk cId="2515024649" sldId="1203"/>
            <ac:spMk id="35" creationId="{2F00C498-6C91-4802-B79A-B21A351086B1}"/>
          </ac:spMkLst>
        </pc:spChg>
        <pc:spChg chg="mod">
          <ac:chgData name="Céline Felber" userId="03e6e5e3-26bd-4d3d-a86c-4e25438b18a3" providerId="ADAL" clId="{25CEA024-308C-4E1B-A2D6-84CCD0D2EA4B}" dt="2021-04-29T09:13:49.599" v="1895"/>
          <ac:spMkLst>
            <pc:docMk/>
            <pc:sldMk cId="2515024649" sldId="1203"/>
            <ac:spMk id="37" creationId="{C4BE9CCD-C203-414F-B252-20F9929F8E62}"/>
          </ac:spMkLst>
        </pc:spChg>
      </pc:sldChg>
      <pc:sldChg chg="modSp">
        <pc:chgData name="Céline Felber" userId="03e6e5e3-26bd-4d3d-a86c-4e25438b18a3" providerId="ADAL" clId="{25CEA024-308C-4E1B-A2D6-84CCD0D2EA4B}" dt="2021-04-29T09:13:49.599" v="1895"/>
        <pc:sldMkLst>
          <pc:docMk/>
          <pc:sldMk cId="3270280714" sldId="1204"/>
        </pc:sldMkLst>
        <pc:spChg chg="mod">
          <ac:chgData name="Céline Felber" userId="03e6e5e3-26bd-4d3d-a86c-4e25438b18a3" providerId="ADAL" clId="{25CEA024-308C-4E1B-A2D6-84CCD0D2EA4B}" dt="2021-04-29T09:13:49.599" v="1895"/>
          <ac:spMkLst>
            <pc:docMk/>
            <pc:sldMk cId="3270280714" sldId="1204"/>
            <ac:spMk id="35" creationId="{2F00C498-6C91-4802-B79A-B21A351086B1}"/>
          </ac:spMkLst>
        </pc:spChg>
        <pc:spChg chg="mod">
          <ac:chgData name="Céline Felber" userId="03e6e5e3-26bd-4d3d-a86c-4e25438b18a3" providerId="ADAL" clId="{25CEA024-308C-4E1B-A2D6-84CCD0D2EA4B}" dt="2021-04-29T09:13:49.599" v="1895"/>
          <ac:spMkLst>
            <pc:docMk/>
            <pc:sldMk cId="3270280714" sldId="1204"/>
            <ac:spMk id="37" creationId="{C4BE9CCD-C203-414F-B252-20F9929F8E62}"/>
          </ac:spMkLst>
        </pc:spChg>
      </pc:sldChg>
      <pc:sldChg chg="delSp modSp mod">
        <pc:chgData name="Céline Felber" userId="03e6e5e3-26bd-4d3d-a86c-4e25438b18a3" providerId="ADAL" clId="{25CEA024-308C-4E1B-A2D6-84CCD0D2EA4B}" dt="2021-04-29T08:55:50.825" v="1110" actId="478"/>
        <pc:sldMkLst>
          <pc:docMk/>
          <pc:sldMk cId="652136626" sldId="1205"/>
        </pc:sldMkLst>
        <pc:spChg chg="mod">
          <ac:chgData name="Céline Felber" userId="03e6e5e3-26bd-4d3d-a86c-4e25438b18a3" providerId="ADAL" clId="{25CEA024-308C-4E1B-A2D6-84CCD0D2EA4B}" dt="2021-04-29T08:55:44.702" v="1108" actId="20577"/>
          <ac:spMkLst>
            <pc:docMk/>
            <pc:sldMk cId="652136626" sldId="1205"/>
            <ac:spMk id="7" creationId="{22974B99-5E58-480B-92F2-3B8832468EBD}"/>
          </ac:spMkLst>
        </pc:spChg>
        <pc:spChg chg="del">
          <ac:chgData name="Céline Felber" userId="03e6e5e3-26bd-4d3d-a86c-4e25438b18a3" providerId="ADAL" clId="{25CEA024-308C-4E1B-A2D6-84CCD0D2EA4B}" dt="2021-04-29T08:55:50.825" v="1110" actId="478"/>
          <ac:spMkLst>
            <pc:docMk/>
            <pc:sldMk cId="652136626" sldId="1205"/>
            <ac:spMk id="19" creationId="{E7FF46DE-6F52-43CD-89EC-941E210C53E9}"/>
          </ac:spMkLst>
        </pc:spChg>
        <pc:picChg chg="del mod">
          <ac:chgData name="Céline Felber" userId="03e6e5e3-26bd-4d3d-a86c-4e25438b18a3" providerId="ADAL" clId="{25CEA024-308C-4E1B-A2D6-84CCD0D2EA4B}" dt="2021-04-29T08:55:19.099" v="1055" actId="478"/>
          <ac:picMkLst>
            <pc:docMk/>
            <pc:sldMk cId="652136626" sldId="1205"/>
            <ac:picMk id="10" creationId="{44EB2B1B-6BFD-4BBA-AB55-933736054488}"/>
          </ac:picMkLst>
        </pc:picChg>
        <pc:picChg chg="del">
          <ac:chgData name="Céline Felber" userId="03e6e5e3-26bd-4d3d-a86c-4e25438b18a3" providerId="ADAL" clId="{25CEA024-308C-4E1B-A2D6-84CCD0D2EA4B}" dt="2021-04-29T08:55:48.914" v="1109" actId="478"/>
          <ac:picMkLst>
            <pc:docMk/>
            <pc:sldMk cId="652136626" sldId="1205"/>
            <ac:picMk id="17" creationId="{07DF4703-F268-443D-AC7A-141CD079EFCB}"/>
          </ac:picMkLst>
        </pc:picChg>
      </pc:sldChg>
      <pc:sldChg chg="addSp delSp modSp mod ord">
        <pc:chgData name="Céline Felber" userId="03e6e5e3-26bd-4d3d-a86c-4e25438b18a3" providerId="ADAL" clId="{25CEA024-308C-4E1B-A2D6-84CCD0D2EA4B}" dt="2021-04-29T09:01:51.333" v="1112"/>
        <pc:sldMkLst>
          <pc:docMk/>
          <pc:sldMk cId="3718224806" sldId="1206"/>
        </pc:sldMkLst>
        <pc:spChg chg="del">
          <ac:chgData name="Céline Felber" userId="03e6e5e3-26bd-4d3d-a86c-4e25438b18a3" providerId="ADAL" clId="{25CEA024-308C-4E1B-A2D6-84CCD0D2EA4B}" dt="2021-04-29T08:40:00.492" v="847" actId="478"/>
          <ac:spMkLst>
            <pc:docMk/>
            <pc:sldMk cId="3718224806" sldId="1206"/>
            <ac:spMk id="10" creationId="{A793F450-6FFA-4690-B70A-987BEE9A670B}"/>
          </ac:spMkLst>
        </pc:spChg>
        <pc:spChg chg="add mod">
          <ac:chgData name="Céline Felber" userId="03e6e5e3-26bd-4d3d-a86c-4e25438b18a3" providerId="ADAL" clId="{25CEA024-308C-4E1B-A2D6-84CCD0D2EA4B}" dt="2021-04-29T08:40:00.782" v="848"/>
          <ac:spMkLst>
            <pc:docMk/>
            <pc:sldMk cId="3718224806" sldId="1206"/>
            <ac:spMk id="11" creationId="{FBEDA0A3-89EE-4694-B73A-8DA13E164161}"/>
          </ac:spMkLst>
        </pc:spChg>
        <pc:picChg chg="add mod ord">
          <ac:chgData name="Céline Felber" userId="03e6e5e3-26bd-4d3d-a86c-4e25438b18a3" providerId="ADAL" clId="{25CEA024-308C-4E1B-A2D6-84CCD0D2EA4B}" dt="2021-04-29T08:39:51.132" v="846" actId="167"/>
          <ac:picMkLst>
            <pc:docMk/>
            <pc:sldMk cId="3718224806" sldId="1206"/>
            <ac:picMk id="8" creationId="{65B949A6-3C69-4E2E-8AFF-9A11B2EF90AA}"/>
          </ac:picMkLst>
        </pc:picChg>
        <pc:picChg chg="del">
          <ac:chgData name="Céline Felber" userId="03e6e5e3-26bd-4d3d-a86c-4e25438b18a3" providerId="ADAL" clId="{25CEA024-308C-4E1B-A2D6-84CCD0D2EA4B}" dt="2021-04-29T08:39:47.826" v="844" actId="478"/>
          <ac:picMkLst>
            <pc:docMk/>
            <pc:sldMk cId="3718224806" sldId="1206"/>
            <ac:picMk id="9" creationId="{9A9FF85D-D3E7-4740-8D54-1D99B8E1C321}"/>
          </ac:picMkLst>
        </pc:picChg>
      </pc:sldChg>
      <pc:sldChg chg="addSp delSp modSp mod">
        <pc:chgData name="Céline Felber" userId="03e6e5e3-26bd-4d3d-a86c-4e25438b18a3" providerId="ADAL" clId="{25CEA024-308C-4E1B-A2D6-84CCD0D2EA4B}" dt="2021-04-29T09:13:49.599" v="1895"/>
        <pc:sldMkLst>
          <pc:docMk/>
          <pc:sldMk cId="2990732986" sldId="1208"/>
        </pc:sldMkLst>
        <pc:spChg chg="add mod">
          <ac:chgData name="Céline Felber" userId="03e6e5e3-26bd-4d3d-a86c-4e25438b18a3" providerId="ADAL" clId="{25CEA024-308C-4E1B-A2D6-84CCD0D2EA4B}" dt="2021-04-29T09:05:58.576" v="1528" actId="1076"/>
          <ac:spMkLst>
            <pc:docMk/>
            <pc:sldMk cId="2990732986" sldId="1208"/>
            <ac:spMk id="4" creationId="{FD683054-2E5F-428F-8DC2-1D39C3FA0472}"/>
          </ac:spMkLst>
        </pc:spChg>
        <pc:spChg chg="add mod">
          <ac:chgData name="Céline Felber" userId="03e6e5e3-26bd-4d3d-a86c-4e25438b18a3" providerId="ADAL" clId="{25CEA024-308C-4E1B-A2D6-84CCD0D2EA4B}" dt="2021-04-29T09:07:25.016" v="1555" actId="1076"/>
          <ac:spMkLst>
            <pc:docMk/>
            <pc:sldMk cId="2990732986" sldId="1208"/>
            <ac:spMk id="11" creationId="{842666D5-F9FD-45B9-B0DA-684D69D9C6C0}"/>
          </ac:spMkLst>
        </pc:spChg>
        <pc:spChg chg="add mod">
          <ac:chgData name="Céline Felber" userId="03e6e5e3-26bd-4d3d-a86c-4e25438b18a3" providerId="ADAL" clId="{25CEA024-308C-4E1B-A2D6-84CCD0D2EA4B}" dt="2021-04-29T09:06:20.897" v="1537" actId="571"/>
          <ac:spMkLst>
            <pc:docMk/>
            <pc:sldMk cId="2990732986" sldId="1208"/>
            <ac:spMk id="15" creationId="{AC53AC1B-1093-4B81-A141-4319A173E7B8}"/>
          </ac:spMkLst>
        </pc:spChg>
        <pc:spChg chg="mod">
          <ac:chgData name="Céline Felber" userId="03e6e5e3-26bd-4d3d-a86c-4e25438b18a3" providerId="ADAL" clId="{25CEA024-308C-4E1B-A2D6-84CCD0D2EA4B}" dt="2021-04-29T09:13:49.599" v="1895"/>
          <ac:spMkLst>
            <pc:docMk/>
            <pc:sldMk cId="2990732986" sldId="1208"/>
            <ac:spMk id="16" creationId="{F0E71A77-9C0C-47B8-9CB7-038DB3AD17C3}"/>
          </ac:spMkLst>
        </pc:spChg>
        <pc:spChg chg="add mod">
          <ac:chgData name="Céline Felber" userId="03e6e5e3-26bd-4d3d-a86c-4e25438b18a3" providerId="ADAL" clId="{25CEA024-308C-4E1B-A2D6-84CCD0D2EA4B}" dt="2021-04-29T09:06:28.597" v="1539" actId="164"/>
          <ac:spMkLst>
            <pc:docMk/>
            <pc:sldMk cId="2990732986" sldId="1208"/>
            <ac:spMk id="18" creationId="{52A66CA6-756A-4387-9A39-786E8CE04ADD}"/>
          </ac:spMkLst>
        </pc:spChg>
        <pc:spChg chg="add mod">
          <ac:chgData name="Céline Felber" userId="03e6e5e3-26bd-4d3d-a86c-4e25438b18a3" providerId="ADAL" clId="{25CEA024-308C-4E1B-A2D6-84CCD0D2EA4B}" dt="2021-04-29T09:06:28.597" v="1539" actId="164"/>
          <ac:spMkLst>
            <pc:docMk/>
            <pc:sldMk cId="2990732986" sldId="1208"/>
            <ac:spMk id="19" creationId="{BF83BB1A-1DB6-407D-98A5-C4E43B96FB8B}"/>
          </ac:spMkLst>
        </pc:spChg>
        <pc:spChg chg="mod">
          <ac:chgData name="Céline Felber" userId="03e6e5e3-26bd-4d3d-a86c-4e25438b18a3" providerId="ADAL" clId="{25CEA024-308C-4E1B-A2D6-84CCD0D2EA4B}" dt="2021-04-29T09:06:09.578" v="1534" actId="164"/>
          <ac:spMkLst>
            <pc:docMk/>
            <pc:sldMk cId="2990732986" sldId="1208"/>
            <ac:spMk id="21" creationId="{C3A30E7E-D05B-42BC-BB3B-DAB95CD96166}"/>
          </ac:spMkLst>
        </pc:spChg>
        <pc:spChg chg="mod">
          <ac:chgData name="Céline Felber" userId="03e6e5e3-26bd-4d3d-a86c-4e25438b18a3" providerId="ADAL" clId="{25CEA024-308C-4E1B-A2D6-84CCD0D2EA4B}" dt="2021-04-29T09:05:52.827" v="1527" actId="1076"/>
          <ac:spMkLst>
            <pc:docMk/>
            <pc:sldMk cId="2990732986" sldId="1208"/>
            <ac:spMk id="23" creationId="{687D6745-0F95-4D80-AB3C-8F87774B7642}"/>
          </ac:spMkLst>
        </pc:spChg>
        <pc:grpChg chg="add mod">
          <ac:chgData name="Céline Felber" userId="03e6e5e3-26bd-4d3d-a86c-4e25438b18a3" providerId="ADAL" clId="{25CEA024-308C-4E1B-A2D6-84CCD0D2EA4B}" dt="2021-04-29T09:06:48.686" v="1545" actId="1076"/>
          <ac:grpSpMkLst>
            <pc:docMk/>
            <pc:sldMk cId="2990732986" sldId="1208"/>
            <ac:grpSpMk id="5" creationId="{E6143A17-6A32-4BD2-A7CF-4FDC913B3FA8}"/>
          </ac:grpSpMkLst>
        </pc:grpChg>
        <pc:grpChg chg="add mod">
          <ac:chgData name="Céline Felber" userId="03e6e5e3-26bd-4d3d-a86c-4e25438b18a3" providerId="ADAL" clId="{25CEA024-308C-4E1B-A2D6-84CCD0D2EA4B}" dt="2021-04-29T09:06:50.321" v="1546" actId="1076"/>
          <ac:grpSpMkLst>
            <pc:docMk/>
            <pc:sldMk cId="2990732986" sldId="1208"/>
            <ac:grpSpMk id="6" creationId="{961AE2A8-1980-4BB9-9E3D-AD7BBA0299F4}"/>
          </ac:grpSpMkLst>
        </pc:grpChg>
        <pc:picChg chg="add mod ord">
          <ac:chgData name="Céline Felber" userId="03e6e5e3-26bd-4d3d-a86c-4e25438b18a3" providerId="ADAL" clId="{25CEA024-308C-4E1B-A2D6-84CCD0D2EA4B}" dt="2021-04-29T09:06:09.578" v="1534" actId="164"/>
          <ac:picMkLst>
            <pc:docMk/>
            <pc:sldMk cId="2990732986" sldId="1208"/>
            <ac:picMk id="3" creationId="{5FAA7E32-EAC2-40C4-AB6C-3DC4352B4C10}"/>
          </ac:picMkLst>
        </pc:picChg>
        <pc:picChg chg="add mod">
          <ac:chgData name="Céline Felber" userId="03e6e5e3-26bd-4d3d-a86c-4e25438b18a3" providerId="ADAL" clId="{25CEA024-308C-4E1B-A2D6-84CCD0D2EA4B}" dt="2021-04-29T09:06:04.551" v="1532" actId="571"/>
          <ac:picMkLst>
            <pc:docMk/>
            <pc:sldMk cId="2990732986" sldId="1208"/>
            <ac:picMk id="12" creationId="{3FE5799F-D069-4D88-A1F5-D0E081ED043B}"/>
          </ac:picMkLst>
        </pc:picChg>
        <pc:picChg chg="add mod">
          <ac:chgData name="Céline Felber" userId="03e6e5e3-26bd-4d3d-a86c-4e25438b18a3" providerId="ADAL" clId="{25CEA024-308C-4E1B-A2D6-84CCD0D2EA4B}" dt="2021-04-29T09:06:20.897" v="1537" actId="571"/>
          <ac:picMkLst>
            <pc:docMk/>
            <pc:sldMk cId="2990732986" sldId="1208"/>
            <ac:picMk id="14" creationId="{36F88EDE-C0FF-42A2-99F5-9899E1006E28}"/>
          </ac:picMkLst>
        </pc:picChg>
        <pc:picChg chg="del">
          <ac:chgData name="Céline Felber" userId="03e6e5e3-26bd-4d3d-a86c-4e25438b18a3" providerId="ADAL" clId="{25CEA024-308C-4E1B-A2D6-84CCD0D2EA4B}" dt="2021-04-29T08:40:39.443" v="849" actId="478"/>
          <ac:picMkLst>
            <pc:docMk/>
            <pc:sldMk cId="2990732986" sldId="1208"/>
            <ac:picMk id="20" creationId="{ABE9CED9-B09C-4B29-8EC4-2381AFA6C302}"/>
          </ac:picMkLst>
        </pc:picChg>
        <pc:picChg chg="mod">
          <ac:chgData name="Céline Felber" userId="03e6e5e3-26bd-4d3d-a86c-4e25438b18a3" providerId="ADAL" clId="{25CEA024-308C-4E1B-A2D6-84CCD0D2EA4B}" dt="2021-04-29T09:06:28.597" v="1539" actId="164"/>
          <ac:picMkLst>
            <pc:docMk/>
            <pc:sldMk cId="2990732986" sldId="1208"/>
            <ac:picMk id="22" creationId="{0AF70C44-F1F1-4BD9-AEDB-31E55D42C894}"/>
          </ac:picMkLst>
        </pc:picChg>
      </pc:sldChg>
      <pc:sldChg chg="addSp delSp modSp mod modAnim">
        <pc:chgData name="Céline Felber" userId="03e6e5e3-26bd-4d3d-a86c-4e25438b18a3" providerId="ADAL" clId="{25CEA024-308C-4E1B-A2D6-84CCD0D2EA4B}" dt="2021-04-29T09:13:49.599" v="1895"/>
        <pc:sldMkLst>
          <pc:docMk/>
          <pc:sldMk cId="2524487702" sldId="1209"/>
        </pc:sldMkLst>
        <pc:spChg chg="del mod">
          <ac:chgData name="Céline Felber" userId="03e6e5e3-26bd-4d3d-a86c-4e25438b18a3" providerId="ADAL" clId="{25CEA024-308C-4E1B-A2D6-84CCD0D2EA4B}" dt="2021-04-29T08:45:25.231" v="905" actId="478"/>
          <ac:spMkLst>
            <pc:docMk/>
            <pc:sldMk cId="2524487702" sldId="1209"/>
            <ac:spMk id="7" creationId="{C78CC871-6CD8-49EB-BA71-AEBFA4CC6E2F}"/>
          </ac:spMkLst>
        </pc:spChg>
        <pc:spChg chg="add mod">
          <ac:chgData name="Céline Felber" userId="03e6e5e3-26bd-4d3d-a86c-4e25438b18a3" providerId="ADAL" clId="{25CEA024-308C-4E1B-A2D6-84CCD0D2EA4B}" dt="2021-04-29T09:09:34.369" v="1638" actId="1076"/>
          <ac:spMkLst>
            <pc:docMk/>
            <pc:sldMk cId="2524487702" sldId="1209"/>
            <ac:spMk id="8" creationId="{B4977585-4A1D-4331-AB70-B57BC0F5623E}"/>
          </ac:spMkLst>
        </pc:spChg>
        <pc:spChg chg="add del mod">
          <ac:chgData name="Céline Felber" userId="03e6e5e3-26bd-4d3d-a86c-4e25438b18a3" providerId="ADAL" clId="{25CEA024-308C-4E1B-A2D6-84CCD0D2EA4B}" dt="2021-04-29T08:45:29.729" v="906" actId="478"/>
          <ac:spMkLst>
            <pc:docMk/>
            <pc:sldMk cId="2524487702" sldId="1209"/>
            <ac:spMk id="9" creationId="{06B4086F-295D-4446-B05B-F5677CAA028C}"/>
          </ac:spMkLst>
        </pc:spChg>
        <pc:spChg chg="add mod">
          <ac:chgData name="Céline Felber" userId="03e6e5e3-26bd-4d3d-a86c-4e25438b18a3" providerId="ADAL" clId="{25CEA024-308C-4E1B-A2D6-84CCD0D2EA4B}" dt="2021-04-29T09:07:15.852" v="1553" actId="164"/>
          <ac:spMkLst>
            <pc:docMk/>
            <pc:sldMk cId="2524487702" sldId="1209"/>
            <ac:spMk id="10" creationId="{7C855309-393E-464D-B10F-23377A323B8B}"/>
          </ac:spMkLst>
        </pc:spChg>
        <pc:spChg chg="add del mod">
          <ac:chgData name="Céline Felber" userId="03e6e5e3-26bd-4d3d-a86c-4e25438b18a3" providerId="ADAL" clId="{25CEA024-308C-4E1B-A2D6-84CCD0D2EA4B}" dt="2021-04-29T09:07:05.483" v="1550"/>
          <ac:spMkLst>
            <pc:docMk/>
            <pc:sldMk cId="2524487702" sldId="1209"/>
            <ac:spMk id="11" creationId="{9FCF4227-403D-41AB-A158-471546BE3FC3}"/>
          </ac:spMkLst>
        </pc:spChg>
        <pc:spChg chg="add mod">
          <ac:chgData name="Céline Felber" userId="03e6e5e3-26bd-4d3d-a86c-4e25438b18a3" providerId="ADAL" clId="{25CEA024-308C-4E1B-A2D6-84CCD0D2EA4B}" dt="2021-04-29T09:07:49.031" v="1626" actId="20577"/>
          <ac:spMkLst>
            <pc:docMk/>
            <pc:sldMk cId="2524487702" sldId="1209"/>
            <ac:spMk id="12" creationId="{5B063766-6EC3-49F0-8AFE-9D7B7C9BD5F9}"/>
          </ac:spMkLst>
        </pc:spChg>
        <pc:spChg chg="mod">
          <ac:chgData name="Céline Felber" userId="03e6e5e3-26bd-4d3d-a86c-4e25438b18a3" providerId="ADAL" clId="{25CEA024-308C-4E1B-A2D6-84CCD0D2EA4B}" dt="2021-04-29T09:13:49.599" v="1895"/>
          <ac:spMkLst>
            <pc:docMk/>
            <pc:sldMk cId="2524487702" sldId="1209"/>
            <ac:spMk id="13" creationId="{440DAF75-3676-460F-B2AE-4FE1A52515F5}"/>
          </ac:spMkLst>
        </pc:spChg>
        <pc:grpChg chg="add mod">
          <ac:chgData name="Céline Felber" userId="03e6e5e3-26bd-4d3d-a86c-4e25438b18a3" providerId="ADAL" clId="{25CEA024-308C-4E1B-A2D6-84CCD0D2EA4B}" dt="2021-04-29T09:07:19.885" v="1554" actId="1076"/>
          <ac:grpSpMkLst>
            <pc:docMk/>
            <pc:sldMk cId="2524487702" sldId="1209"/>
            <ac:grpSpMk id="2" creationId="{97837B25-0038-4AE2-9B71-431575F723EA}"/>
          </ac:grpSpMkLst>
        </pc:grpChg>
        <pc:picChg chg="mod">
          <ac:chgData name="Céline Felber" userId="03e6e5e3-26bd-4d3d-a86c-4e25438b18a3" providerId="ADAL" clId="{25CEA024-308C-4E1B-A2D6-84CCD0D2EA4B}" dt="2021-04-29T09:07:15.852" v="1553" actId="164"/>
          <ac:picMkLst>
            <pc:docMk/>
            <pc:sldMk cId="2524487702" sldId="1209"/>
            <ac:picMk id="6" creationId="{C788FAF7-D1C1-4EC1-A5EE-F42BEC6DDE34}"/>
          </ac:picMkLst>
        </pc:picChg>
      </pc:sldChg>
      <pc:sldChg chg="del modAnim">
        <pc:chgData name="Céline Felber" userId="03e6e5e3-26bd-4d3d-a86c-4e25438b18a3" providerId="ADAL" clId="{25CEA024-308C-4E1B-A2D6-84CCD0D2EA4B}" dt="2021-04-29T08:50:46.592" v="908" actId="47"/>
        <pc:sldMkLst>
          <pc:docMk/>
          <pc:sldMk cId="1106637889" sldId="1210"/>
        </pc:sldMkLst>
      </pc:sldChg>
      <pc:sldChg chg="del">
        <pc:chgData name="Céline Felber" userId="03e6e5e3-26bd-4d3d-a86c-4e25438b18a3" providerId="ADAL" clId="{25CEA024-308C-4E1B-A2D6-84CCD0D2EA4B}" dt="2021-04-29T08:45:49.611" v="907" actId="47"/>
        <pc:sldMkLst>
          <pc:docMk/>
          <pc:sldMk cId="3737191999" sldId="1211"/>
        </pc:sldMkLst>
      </pc:sldChg>
      <pc:sldChg chg="addSp delSp modSp mod delAnim modAnim">
        <pc:chgData name="Céline Felber" userId="03e6e5e3-26bd-4d3d-a86c-4e25438b18a3" providerId="ADAL" clId="{25CEA024-308C-4E1B-A2D6-84CCD0D2EA4B}" dt="2021-04-29T09:13:49.599" v="1895"/>
        <pc:sldMkLst>
          <pc:docMk/>
          <pc:sldMk cId="121006609" sldId="1212"/>
        </pc:sldMkLst>
        <pc:spChg chg="add mod">
          <ac:chgData name="Céline Felber" userId="03e6e5e3-26bd-4d3d-a86c-4e25438b18a3" providerId="ADAL" clId="{25CEA024-308C-4E1B-A2D6-84CCD0D2EA4B}" dt="2021-04-29T09:10:28.404" v="1728" actId="20577"/>
          <ac:spMkLst>
            <pc:docMk/>
            <pc:sldMk cId="121006609" sldId="1212"/>
            <ac:spMk id="9" creationId="{0C2B2AB8-6896-40D7-929E-45176AC0F18E}"/>
          </ac:spMkLst>
        </pc:spChg>
        <pc:spChg chg="add mod">
          <ac:chgData name="Céline Felber" userId="03e6e5e3-26bd-4d3d-a86c-4e25438b18a3" providerId="ADAL" clId="{25CEA024-308C-4E1B-A2D6-84CCD0D2EA4B}" dt="2021-04-29T09:10:35.029" v="1730" actId="1076"/>
          <ac:spMkLst>
            <pc:docMk/>
            <pc:sldMk cId="121006609" sldId="1212"/>
            <ac:spMk id="10" creationId="{4ABA9E16-29FF-4F2C-A65A-AE9FF5E0F948}"/>
          </ac:spMkLst>
        </pc:spChg>
        <pc:spChg chg="mod">
          <ac:chgData name="Céline Felber" userId="03e6e5e3-26bd-4d3d-a86c-4e25438b18a3" providerId="ADAL" clId="{25CEA024-308C-4E1B-A2D6-84CCD0D2EA4B}" dt="2021-04-29T09:09:05.437" v="1631" actId="164"/>
          <ac:spMkLst>
            <pc:docMk/>
            <pc:sldMk cId="121006609" sldId="1212"/>
            <ac:spMk id="14" creationId="{E9F8D798-F5FA-4DBC-BE64-BC9059455EF3}"/>
          </ac:spMkLst>
        </pc:spChg>
        <pc:spChg chg="mod">
          <ac:chgData name="Céline Felber" userId="03e6e5e3-26bd-4d3d-a86c-4e25438b18a3" providerId="ADAL" clId="{25CEA024-308C-4E1B-A2D6-84CCD0D2EA4B}" dt="2021-04-29T09:09:05.437" v="1631" actId="164"/>
          <ac:spMkLst>
            <pc:docMk/>
            <pc:sldMk cId="121006609" sldId="1212"/>
            <ac:spMk id="15" creationId="{95DA076A-9B06-4DE7-9139-A0C7920B8F4E}"/>
          </ac:spMkLst>
        </pc:spChg>
        <pc:spChg chg="mod">
          <ac:chgData name="Céline Felber" userId="03e6e5e3-26bd-4d3d-a86c-4e25438b18a3" providerId="ADAL" clId="{25CEA024-308C-4E1B-A2D6-84CCD0D2EA4B}" dt="2021-04-29T09:13:49.599" v="1895"/>
          <ac:spMkLst>
            <pc:docMk/>
            <pc:sldMk cId="121006609" sldId="1212"/>
            <ac:spMk id="17" creationId="{443D7FE0-F18F-4418-AF5A-0E4E4953DF76}"/>
          </ac:spMkLst>
        </pc:spChg>
        <pc:grpChg chg="add mod">
          <ac:chgData name="Céline Felber" userId="03e6e5e3-26bd-4d3d-a86c-4e25438b18a3" providerId="ADAL" clId="{25CEA024-308C-4E1B-A2D6-84CCD0D2EA4B}" dt="2021-04-29T09:10:32.024" v="1729" actId="1076"/>
          <ac:grpSpMkLst>
            <pc:docMk/>
            <pc:sldMk cId="121006609" sldId="1212"/>
            <ac:grpSpMk id="2" creationId="{F5277544-B57C-453C-8E7B-8E4E23EDF3F6}"/>
          </ac:grpSpMkLst>
        </pc:grpChg>
        <pc:picChg chg="mod">
          <ac:chgData name="Céline Felber" userId="03e6e5e3-26bd-4d3d-a86c-4e25438b18a3" providerId="ADAL" clId="{25CEA024-308C-4E1B-A2D6-84CCD0D2EA4B}" dt="2021-04-29T09:09:05.437" v="1631" actId="164"/>
          <ac:picMkLst>
            <pc:docMk/>
            <pc:sldMk cId="121006609" sldId="1212"/>
            <ac:picMk id="8" creationId="{4D23648F-9894-4F7E-9BFC-4F0B0DBAB8B8}"/>
          </ac:picMkLst>
        </pc:picChg>
        <pc:picChg chg="del">
          <ac:chgData name="Céline Felber" userId="03e6e5e3-26bd-4d3d-a86c-4e25438b18a3" providerId="ADAL" clId="{25CEA024-308C-4E1B-A2D6-84CCD0D2EA4B}" dt="2021-04-29T09:08:31.962" v="1627" actId="478"/>
          <ac:picMkLst>
            <pc:docMk/>
            <pc:sldMk cId="121006609" sldId="1212"/>
            <ac:picMk id="16" creationId="{C3F005BE-AE79-4A46-9B51-B23C711C9DC9}"/>
          </ac:picMkLst>
        </pc:picChg>
      </pc:sldChg>
      <pc:sldChg chg="del">
        <pc:chgData name="Céline Felber" userId="03e6e5e3-26bd-4d3d-a86c-4e25438b18a3" providerId="ADAL" clId="{25CEA024-308C-4E1B-A2D6-84CCD0D2EA4B}" dt="2021-04-29T09:11:03.362" v="1731" actId="47"/>
        <pc:sldMkLst>
          <pc:docMk/>
          <pc:sldMk cId="318712118" sldId="1213"/>
        </pc:sldMkLst>
      </pc:sldChg>
      <pc:sldChg chg="del">
        <pc:chgData name="Céline Felber" userId="03e6e5e3-26bd-4d3d-a86c-4e25438b18a3" providerId="ADAL" clId="{25CEA024-308C-4E1B-A2D6-84CCD0D2EA4B}" dt="2021-04-29T09:13:03.109" v="1883" actId="2696"/>
        <pc:sldMkLst>
          <pc:docMk/>
          <pc:sldMk cId="3160113469" sldId="1214"/>
        </pc:sldMkLst>
      </pc:sldChg>
      <pc:sldChg chg="del">
        <pc:chgData name="Céline Felber" userId="03e6e5e3-26bd-4d3d-a86c-4e25438b18a3" providerId="ADAL" clId="{25CEA024-308C-4E1B-A2D6-84CCD0D2EA4B}" dt="2021-04-29T09:13:04.563" v="1884" actId="2696"/>
        <pc:sldMkLst>
          <pc:docMk/>
          <pc:sldMk cId="327010024" sldId="1215"/>
        </pc:sldMkLst>
      </pc:sldChg>
      <pc:sldChg chg="add del">
        <pc:chgData name="Céline Felber" userId="03e6e5e3-26bd-4d3d-a86c-4e25438b18a3" providerId="ADAL" clId="{25CEA024-308C-4E1B-A2D6-84CCD0D2EA4B}" dt="2021-04-29T09:13:22.872" v="1892"/>
        <pc:sldMkLst>
          <pc:docMk/>
          <pc:sldMk cId="1280725385" sldId="1215"/>
        </pc:sldMkLst>
      </pc:sldChg>
      <pc:sldChg chg="addSp delSp modSp mod delAnim modAnim">
        <pc:chgData name="Céline Felber" userId="03e6e5e3-26bd-4d3d-a86c-4e25438b18a3" providerId="ADAL" clId="{25CEA024-308C-4E1B-A2D6-84CCD0D2EA4B}" dt="2021-04-29T09:44:38.294" v="2963" actId="1076"/>
        <pc:sldMkLst>
          <pc:docMk/>
          <pc:sldMk cId="2345400522" sldId="1218"/>
        </pc:sldMkLst>
        <pc:spChg chg="add mod ord">
          <ac:chgData name="Céline Felber" userId="03e6e5e3-26bd-4d3d-a86c-4e25438b18a3" providerId="ADAL" clId="{25CEA024-308C-4E1B-A2D6-84CCD0D2EA4B}" dt="2021-04-29T09:33:39.898" v="2817" actId="20577"/>
          <ac:spMkLst>
            <pc:docMk/>
            <pc:sldMk cId="2345400522" sldId="1218"/>
            <ac:spMk id="11" creationId="{C619EA10-47CE-4B1A-BAA4-797664F8BA40}"/>
          </ac:spMkLst>
        </pc:spChg>
        <pc:spChg chg="mod">
          <ac:chgData name="Céline Felber" userId="03e6e5e3-26bd-4d3d-a86c-4e25438b18a3" providerId="ADAL" clId="{25CEA024-308C-4E1B-A2D6-84CCD0D2EA4B}" dt="2021-04-29T09:16:13.339" v="1924" actId="20577"/>
          <ac:spMkLst>
            <pc:docMk/>
            <pc:sldMk cId="2345400522" sldId="1218"/>
            <ac:spMk id="16" creationId="{E6E48567-ACC1-482E-81E5-56FC06BFBF80}"/>
          </ac:spMkLst>
        </pc:spChg>
        <pc:spChg chg="mod">
          <ac:chgData name="Céline Felber" userId="03e6e5e3-26bd-4d3d-a86c-4e25438b18a3" providerId="ADAL" clId="{25CEA024-308C-4E1B-A2D6-84CCD0D2EA4B}" dt="2021-04-29T09:30:25.719" v="2624" actId="14100"/>
          <ac:spMkLst>
            <pc:docMk/>
            <pc:sldMk cId="2345400522" sldId="1218"/>
            <ac:spMk id="19" creationId="{1C357AAC-4CD9-491C-9B50-9716EE8C6773}"/>
          </ac:spMkLst>
        </pc:spChg>
        <pc:spChg chg="del">
          <ac:chgData name="Céline Felber" userId="03e6e5e3-26bd-4d3d-a86c-4e25438b18a3" providerId="ADAL" clId="{25CEA024-308C-4E1B-A2D6-84CCD0D2EA4B}" dt="2021-04-29T09:14:49.413" v="1903" actId="478"/>
          <ac:spMkLst>
            <pc:docMk/>
            <pc:sldMk cId="2345400522" sldId="1218"/>
            <ac:spMk id="20" creationId="{E8E8EF40-E4A1-43A5-A47C-8C98F0D8ACE5}"/>
          </ac:spMkLst>
        </pc:spChg>
        <pc:spChg chg="mod">
          <ac:chgData name="Céline Felber" userId="03e6e5e3-26bd-4d3d-a86c-4e25438b18a3" providerId="ADAL" clId="{25CEA024-308C-4E1B-A2D6-84CCD0D2EA4B}" dt="2021-04-29T09:15:50.345" v="1918" actId="164"/>
          <ac:spMkLst>
            <pc:docMk/>
            <pc:sldMk cId="2345400522" sldId="1218"/>
            <ac:spMk id="21" creationId="{E463DA0C-5C50-43A9-BA28-62A24649FFD0}"/>
          </ac:spMkLst>
        </pc:spChg>
        <pc:spChg chg="mod">
          <ac:chgData name="Céline Felber" userId="03e6e5e3-26bd-4d3d-a86c-4e25438b18a3" providerId="ADAL" clId="{25CEA024-308C-4E1B-A2D6-84CCD0D2EA4B}" dt="2021-04-29T09:14:39.607" v="1901" actId="164"/>
          <ac:spMkLst>
            <pc:docMk/>
            <pc:sldMk cId="2345400522" sldId="1218"/>
            <ac:spMk id="23" creationId="{B00B0EE1-C1AF-43B7-BBBF-036A3679CADE}"/>
          </ac:spMkLst>
        </pc:spChg>
        <pc:spChg chg="add del mod">
          <ac:chgData name="Céline Felber" userId="03e6e5e3-26bd-4d3d-a86c-4e25438b18a3" providerId="ADAL" clId="{25CEA024-308C-4E1B-A2D6-84CCD0D2EA4B}" dt="2021-04-29T09:44:12.343" v="2957" actId="478"/>
          <ac:spMkLst>
            <pc:docMk/>
            <pc:sldMk cId="2345400522" sldId="1218"/>
            <ac:spMk id="25" creationId="{D26226ED-F56C-48D1-AC84-E1C970047285}"/>
          </ac:spMkLst>
        </pc:spChg>
        <pc:spChg chg="add mod">
          <ac:chgData name="Céline Felber" userId="03e6e5e3-26bd-4d3d-a86c-4e25438b18a3" providerId="ADAL" clId="{25CEA024-308C-4E1B-A2D6-84CCD0D2EA4B}" dt="2021-04-29T09:44:30.041" v="2960" actId="1076"/>
          <ac:spMkLst>
            <pc:docMk/>
            <pc:sldMk cId="2345400522" sldId="1218"/>
            <ac:spMk id="27" creationId="{AE2BC08F-FA58-4940-9393-53DE6FD46FE7}"/>
          </ac:spMkLst>
        </pc:spChg>
        <pc:spChg chg="add mod">
          <ac:chgData name="Céline Felber" userId="03e6e5e3-26bd-4d3d-a86c-4e25438b18a3" providerId="ADAL" clId="{25CEA024-308C-4E1B-A2D6-84CCD0D2EA4B}" dt="2021-04-29T09:44:30.041" v="2960" actId="1076"/>
          <ac:spMkLst>
            <pc:docMk/>
            <pc:sldMk cId="2345400522" sldId="1218"/>
            <ac:spMk id="28" creationId="{275A368B-3362-429D-B6BC-8BC39E233126}"/>
          </ac:spMkLst>
        </pc:spChg>
        <pc:spChg chg="add mod">
          <ac:chgData name="Céline Felber" userId="03e6e5e3-26bd-4d3d-a86c-4e25438b18a3" providerId="ADAL" clId="{25CEA024-308C-4E1B-A2D6-84CCD0D2EA4B}" dt="2021-04-29T09:44:30.041" v="2960" actId="1076"/>
          <ac:spMkLst>
            <pc:docMk/>
            <pc:sldMk cId="2345400522" sldId="1218"/>
            <ac:spMk id="29" creationId="{B9A7204A-B6A2-48B9-9E5C-C27CD38988EA}"/>
          </ac:spMkLst>
        </pc:spChg>
        <pc:spChg chg="add mod">
          <ac:chgData name="Céline Felber" userId="03e6e5e3-26bd-4d3d-a86c-4e25438b18a3" providerId="ADAL" clId="{25CEA024-308C-4E1B-A2D6-84CCD0D2EA4B}" dt="2021-04-29T09:44:30.041" v="2960" actId="1076"/>
          <ac:spMkLst>
            <pc:docMk/>
            <pc:sldMk cId="2345400522" sldId="1218"/>
            <ac:spMk id="30" creationId="{A92E1B01-78E2-4197-86A6-0A2E63DBEA55}"/>
          </ac:spMkLst>
        </pc:spChg>
        <pc:spChg chg="add mod">
          <ac:chgData name="Céline Felber" userId="03e6e5e3-26bd-4d3d-a86c-4e25438b18a3" providerId="ADAL" clId="{25CEA024-308C-4E1B-A2D6-84CCD0D2EA4B}" dt="2021-04-29T09:44:30.041" v="2960" actId="1076"/>
          <ac:spMkLst>
            <pc:docMk/>
            <pc:sldMk cId="2345400522" sldId="1218"/>
            <ac:spMk id="31" creationId="{F3F288EC-9FF6-4729-9FD1-DBE5BC040BE7}"/>
          </ac:spMkLst>
        </pc:spChg>
        <pc:spChg chg="add mod">
          <ac:chgData name="Céline Felber" userId="03e6e5e3-26bd-4d3d-a86c-4e25438b18a3" providerId="ADAL" clId="{25CEA024-308C-4E1B-A2D6-84CCD0D2EA4B}" dt="2021-04-29T09:44:30.041" v="2960" actId="1076"/>
          <ac:spMkLst>
            <pc:docMk/>
            <pc:sldMk cId="2345400522" sldId="1218"/>
            <ac:spMk id="32" creationId="{3139AA62-1520-414E-8415-624BC388D4E1}"/>
          </ac:spMkLst>
        </pc:spChg>
        <pc:spChg chg="add mod">
          <ac:chgData name="Céline Felber" userId="03e6e5e3-26bd-4d3d-a86c-4e25438b18a3" providerId="ADAL" clId="{25CEA024-308C-4E1B-A2D6-84CCD0D2EA4B}" dt="2021-04-29T09:44:30.041" v="2960" actId="1076"/>
          <ac:spMkLst>
            <pc:docMk/>
            <pc:sldMk cId="2345400522" sldId="1218"/>
            <ac:spMk id="33" creationId="{BCADAB94-4433-40A8-BF05-679DFDB3B580}"/>
          </ac:spMkLst>
        </pc:spChg>
        <pc:spChg chg="add mod">
          <ac:chgData name="Céline Felber" userId="03e6e5e3-26bd-4d3d-a86c-4e25438b18a3" providerId="ADAL" clId="{25CEA024-308C-4E1B-A2D6-84CCD0D2EA4B}" dt="2021-04-29T09:44:30.041" v="2960" actId="1076"/>
          <ac:spMkLst>
            <pc:docMk/>
            <pc:sldMk cId="2345400522" sldId="1218"/>
            <ac:spMk id="34" creationId="{AD6D9776-296D-4E3C-9234-2BDD7D295FF8}"/>
          </ac:spMkLst>
        </pc:spChg>
        <pc:grpChg chg="add mod">
          <ac:chgData name="Céline Felber" userId="03e6e5e3-26bd-4d3d-a86c-4e25438b18a3" providerId="ADAL" clId="{25CEA024-308C-4E1B-A2D6-84CCD0D2EA4B}" dt="2021-04-29T09:44:38.294" v="2963" actId="1076"/>
          <ac:grpSpMkLst>
            <pc:docMk/>
            <pc:sldMk cId="2345400522" sldId="1218"/>
            <ac:grpSpMk id="2" creationId="{0FC65639-85DD-4D7E-A9CF-48D3E574691C}"/>
          </ac:grpSpMkLst>
        </pc:grpChg>
        <pc:grpChg chg="add del mod">
          <ac:chgData name="Céline Felber" userId="03e6e5e3-26bd-4d3d-a86c-4e25438b18a3" providerId="ADAL" clId="{25CEA024-308C-4E1B-A2D6-84CCD0D2EA4B}" dt="2021-04-29T09:44:07.694" v="2956" actId="478"/>
          <ac:grpSpMkLst>
            <pc:docMk/>
            <pc:sldMk cId="2345400522" sldId="1218"/>
            <ac:grpSpMk id="3" creationId="{5F651D56-81B1-4102-8FE0-A723302EB8A1}"/>
          </ac:grpSpMkLst>
        </pc:grpChg>
        <pc:picChg chg="del mod ord modCrop">
          <ac:chgData name="Céline Felber" userId="03e6e5e3-26bd-4d3d-a86c-4e25438b18a3" providerId="ADAL" clId="{25CEA024-308C-4E1B-A2D6-84CCD0D2EA4B}" dt="2021-04-29T09:44:12.343" v="2957" actId="478"/>
          <ac:picMkLst>
            <pc:docMk/>
            <pc:sldMk cId="2345400522" sldId="1218"/>
            <ac:picMk id="18" creationId="{34D78A3C-8244-4F74-83A0-074CA21532A4}"/>
          </ac:picMkLst>
        </pc:picChg>
        <pc:picChg chg="mod">
          <ac:chgData name="Céline Felber" userId="03e6e5e3-26bd-4d3d-a86c-4e25438b18a3" providerId="ADAL" clId="{25CEA024-308C-4E1B-A2D6-84CCD0D2EA4B}" dt="2021-04-29T09:14:39.607" v="1901" actId="164"/>
          <ac:picMkLst>
            <pc:docMk/>
            <pc:sldMk cId="2345400522" sldId="1218"/>
            <ac:picMk id="22" creationId="{55E0642A-5B16-4290-BEE0-60B9930DE451}"/>
          </ac:picMkLst>
        </pc:picChg>
        <pc:picChg chg="mod">
          <ac:chgData name="Céline Felber" userId="03e6e5e3-26bd-4d3d-a86c-4e25438b18a3" providerId="ADAL" clId="{25CEA024-308C-4E1B-A2D6-84CCD0D2EA4B}" dt="2021-04-29T09:15:50.345" v="1918" actId="164"/>
          <ac:picMkLst>
            <pc:docMk/>
            <pc:sldMk cId="2345400522" sldId="1218"/>
            <ac:picMk id="24" creationId="{A3972079-A204-4776-9D3A-C408B512B5B1}"/>
          </ac:picMkLst>
        </pc:picChg>
        <pc:picChg chg="add mod">
          <ac:chgData name="Céline Felber" userId="03e6e5e3-26bd-4d3d-a86c-4e25438b18a3" providerId="ADAL" clId="{25CEA024-308C-4E1B-A2D6-84CCD0D2EA4B}" dt="2021-04-29T09:44:30.041" v="2960" actId="1076"/>
          <ac:picMkLst>
            <pc:docMk/>
            <pc:sldMk cId="2345400522" sldId="1218"/>
            <ac:picMk id="26" creationId="{0A08A896-903B-4C4B-B239-AEFC8CBE07EB}"/>
          </ac:picMkLst>
        </pc:picChg>
        <pc:cxnChg chg="add del mod">
          <ac:chgData name="Céline Felber" userId="03e6e5e3-26bd-4d3d-a86c-4e25438b18a3" providerId="ADAL" clId="{25CEA024-308C-4E1B-A2D6-84CCD0D2EA4B}" dt="2021-04-29T09:44:12.343" v="2957" actId="478"/>
          <ac:cxnSpMkLst>
            <pc:docMk/>
            <pc:sldMk cId="2345400522" sldId="1218"/>
            <ac:cxnSpMk id="5" creationId="{7B93893A-1BD1-4953-B712-0F2B252C44B5}"/>
          </ac:cxnSpMkLst>
        </pc:cxnChg>
      </pc:sldChg>
      <pc:sldChg chg="addSp delSp modSp mod">
        <pc:chgData name="Céline Felber" userId="03e6e5e3-26bd-4d3d-a86c-4e25438b18a3" providerId="ADAL" clId="{25CEA024-308C-4E1B-A2D6-84CCD0D2EA4B}" dt="2021-04-29T09:35:48.654" v="2879" actId="1076"/>
        <pc:sldMkLst>
          <pc:docMk/>
          <pc:sldMk cId="4050391844" sldId="1219"/>
        </pc:sldMkLst>
        <pc:spChg chg="add mod">
          <ac:chgData name="Céline Felber" userId="03e6e5e3-26bd-4d3d-a86c-4e25438b18a3" providerId="ADAL" clId="{25CEA024-308C-4E1B-A2D6-84CCD0D2EA4B}" dt="2021-04-29T09:35:43.266" v="2877" actId="20577"/>
          <ac:spMkLst>
            <pc:docMk/>
            <pc:sldMk cId="4050391844" sldId="1219"/>
            <ac:spMk id="9" creationId="{6EA210E0-48B9-4A31-9991-2A0879C7CF5A}"/>
          </ac:spMkLst>
        </pc:spChg>
        <pc:spChg chg="del">
          <ac:chgData name="Céline Felber" userId="03e6e5e3-26bd-4d3d-a86c-4e25438b18a3" providerId="ADAL" clId="{25CEA024-308C-4E1B-A2D6-84CCD0D2EA4B}" dt="2021-04-29T09:34:47.751" v="2833" actId="478"/>
          <ac:spMkLst>
            <pc:docMk/>
            <pc:sldMk cId="4050391844" sldId="1219"/>
            <ac:spMk id="42" creationId="{C40FB6F7-2C40-4B69-816D-E8DD234B6450}"/>
          </ac:spMkLst>
        </pc:spChg>
        <pc:spChg chg="del">
          <ac:chgData name="Céline Felber" userId="03e6e5e3-26bd-4d3d-a86c-4e25438b18a3" providerId="ADAL" clId="{25CEA024-308C-4E1B-A2D6-84CCD0D2EA4B}" dt="2021-04-29T09:34:47.751" v="2833" actId="478"/>
          <ac:spMkLst>
            <pc:docMk/>
            <pc:sldMk cId="4050391844" sldId="1219"/>
            <ac:spMk id="47" creationId="{B3D25EAD-154E-45D5-AEFF-D1EA73C7B51E}"/>
          </ac:spMkLst>
        </pc:spChg>
        <pc:spChg chg="del">
          <ac:chgData name="Céline Felber" userId="03e6e5e3-26bd-4d3d-a86c-4e25438b18a3" providerId="ADAL" clId="{25CEA024-308C-4E1B-A2D6-84CCD0D2EA4B}" dt="2021-04-29T09:34:44.300" v="2831" actId="478"/>
          <ac:spMkLst>
            <pc:docMk/>
            <pc:sldMk cId="4050391844" sldId="1219"/>
            <ac:spMk id="49" creationId="{6CC12E1B-32D1-4BF1-9A08-55665D2554AC}"/>
          </ac:spMkLst>
        </pc:spChg>
        <pc:picChg chg="mod modCrop">
          <ac:chgData name="Céline Felber" userId="03e6e5e3-26bd-4d3d-a86c-4e25438b18a3" providerId="ADAL" clId="{25CEA024-308C-4E1B-A2D6-84CCD0D2EA4B}" dt="2021-04-29T09:35:48.654" v="2879" actId="1076"/>
          <ac:picMkLst>
            <pc:docMk/>
            <pc:sldMk cId="4050391844" sldId="1219"/>
            <ac:picMk id="10" creationId="{81EF2E3A-F04B-48D1-9819-50802858CAFB}"/>
          </ac:picMkLst>
        </pc:picChg>
        <pc:picChg chg="mod modCrop">
          <ac:chgData name="Céline Felber" userId="03e6e5e3-26bd-4d3d-a86c-4e25438b18a3" providerId="ADAL" clId="{25CEA024-308C-4E1B-A2D6-84CCD0D2EA4B}" dt="2021-04-29T09:35:47.434" v="2878" actId="1076"/>
          <ac:picMkLst>
            <pc:docMk/>
            <pc:sldMk cId="4050391844" sldId="1219"/>
            <ac:picMk id="11" creationId="{235CF679-7204-417A-9EDC-85929865B619}"/>
          </ac:picMkLst>
        </pc:picChg>
      </pc:sldChg>
      <pc:sldChg chg="del">
        <pc:chgData name="Céline Felber" userId="03e6e5e3-26bd-4d3d-a86c-4e25438b18a3" providerId="ADAL" clId="{25CEA024-308C-4E1B-A2D6-84CCD0D2EA4B}" dt="2021-04-29T09:32:03.295" v="2633" actId="47"/>
        <pc:sldMkLst>
          <pc:docMk/>
          <pc:sldMk cId="2427945853" sldId="1220"/>
        </pc:sldMkLst>
      </pc:sldChg>
      <pc:sldChg chg="addSp delSp modSp del mod">
        <pc:chgData name="Céline Felber" userId="03e6e5e3-26bd-4d3d-a86c-4e25438b18a3" providerId="ADAL" clId="{25CEA024-308C-4E1B-A2D6-84CCD0D2EA4B}" dt="2021-04-29T09:36:34.144" v="2890" actId="47"/>
        <pc:sldMkLst>
          <pc:docMk/>
          <pc:sldMk cId="4072342990" sldId="1221"/>
        </pc:sldMkLst>
        <pc:picChg chg="add del mod">
          <ac:chgData name="Céline Felber" userId="03e6e5e3-26bd-4d3d-a86c-4e25438b18a3" providerId="ADAL" clId="{25CEA024-308C-4E1B-A2D6-84CCD0D2EA4B}" dt="2021-04-29T09:36:21.811" v="2887" actId="1076"/>
          <ac:picMkLst>
            <pc:docMk/>
            <pc:sldMk cId="4072342990" sldId="1221"/>
            <ac:picMk id="7" creationId="{37F3A8FC-E668-4ECF-A07F-3EC928FC333F}"/>
          </ac:picMkLst>
        </pc:picChg>
        <pc:picChg chg="add del mod">
          <ac:chgData name="Céline Felber" userId="03e6e5e3-26bd-4d3d-a86c-4e25438b18a3" providerId="ADAL" clId="{25CEA024-308C-4E1B-A2D6-84CCD0D2EA4B}" dt="2021-04-29T09:36:21.811" v="2887" actId="1076"/>
          <ac:picMkLst>
            <pc:docMk/>
            <pc:sldMk cId="4072342990" sldId="1221"/>
            <ac:picMk id="8" creationId="{7E0959DE-DCA9-4952-85C2-E7FE0682A2EB}"/>
          </ac:picMkLst>
        </pc:picChg>
      </pc:sldChg>
      <pc:sldChg chg="addSp modSp mod">
        <pc:chgData name="Céline Felber" userId="03e6e5e3-26bd-4d3d-a86c-4e25438b18a3" providerId="ADAL" clId="{25CEA024-308C-4E1B-A2D6-84CCD0D2EA4B}" dt="2021-04-29T10:07:49.786" v="3423" actId="1076"/>
        <pc:sldMkLst>
          <pc:docMk/>
          <pc:sldMk cId="2492622638" sldId="1235"/>
        </pc:sldMkLst>
        <pc:spChg chg="add mod ord">
          <ac:chgData name="Céline Felber" userId="03e6e5e3-26bd-4d3d-a86c-4e25438b18a3" providerId="ADAL" clId="{25CEA024-308C-4E1B-A2D6-84CCD0D2EA4B}" dt="2021-04-29T10:07:29.028" v="3420" actId="20577"/>
          <ac:spMkLst>
            <pc:docMk/>
            <pc:sldMk cId="2492622638" sldId="1235"/>
            <ac:spMk id="8" creationId="{A7456E7F-10D1-4C0A-90FA-14C8584650A9}"/>
          </ac:spMkLst>
        </pc:spChg>
        <pc:spChg chg="add mod">
          <ac:chgData name="Céline Felber" userId="03e6e5e3-26bd-4d3d-a86c-4e25438b18a3" providerId="ADAL" clId="{25CEA024-308C-4E1B-A2D6-84CCD0D2EA4B}" dt="2021-04-29T10:07:49.786" v="3423" actId="1076"/>
          <ac:spMkLst>
            <pc:docMk/>
            <pc:sldMk cId="2492622638" sldId="1235"/>
            <ac:spMk id="10" creationId="{EF9BA075-5A30-4EE0-A703-2233EEDFCD55}"/>
          </ac:spMkLst>
        </pc:spChg>
        <pc:spChg chg="mod">
          <ac:chgData name="Céline Felber" userId="03e6e5e3-26bd-4d3d-a86c-4e25438b18a3" providerId="ADAL" clId="{25CEA024-308C-4E1B-A2D6-84CCD0D2EA4B}" dt="2021-04-29T10:05:33.013" v="3271" actId="164"/>
          <ac:spMkLst>
            <pc:docMk/>
            <pc:sldMk cId="2492622638" sldId="1235"/>
            <ac:spMk id="11" creationId="{5CBCB983-3E98-47E2-A262-A0CAADF60EC9}"/>
          </ac:spMkLst>
        </pc:spChg>
        <pc:spChg chg="mod">
          <ac:chgData name="Céline Felber" userId="03e6e5e3-26bd-4d3d-a86c-4e25438b18a3" providerId="ADAL" clId="{25CEA024-308C-4E1B-A2D6-84CCD0D2EA4B}" dt="2021-04-29T10:05:56.028" v="3278" actId="20577"/>
          <ac:spMkLst>
            <pc:docMk/>
            <pc:sldMk cId="2492622638" sldId="1235"/>
            <ac:spMk id="18" creationId="{097A3AC2-60ED-49C8-B07C-89B133E09027}"/>
          </ac:spMkLst>
        </pc:spChg>
        <pc:spChg chg="mod">
          <ac:chgData name="Céline Felber" userId="03e6e5e3-26bd-4d3d-a86c-4e25438b18a3" providerId="ADAL" clId="{25CEA024-308C-4E1B-A2D6-84CCD0D2EA4B}" dt="2021-04-29T10:07:03.313" v="3418" actId="14100"/>
          <ac:spMkLst>
            <pc:docMk/>
            <pc:sldMk cId="2492622638" sldId="1235"/>
            <ac:spMk id="24" creationId="{64CE230C-2929-449A-A9BE-88AA9755CDBA}"/>
          </ac:spMkLst>
        </pc:spChg>
        <pc:grpChg chg="add mod">
          <ac:chgData name="Céline Felber" userId="03e6e5e3-26bd-4d3d-a86c-4e25438b18a3" providerId="ADAL" clId="{25CEA024-308C-4E1B-A2D6-84CCD0D2EA4B}" dt="2021-04-29T10:07:36.862" v="3421" actId="1076"/>
          <ac:grpSpMkLst>
            <pc:docMk/>
            <pc:sldMk cId="2492622638" sldId="1235"/>
            <ac:grpSpMk id="2" creationId="{F4E8971B-F310-454B-9C7E-224FEC772D90}"/>
          </ac:grpSpMkLst>
        </pc:grpChg>
        <pc:picChg chg="mod">
          <ac:chgData name="Céline Felber" userId="03e6e5e3-26bd-4d3d-a86c-4e25438b18a3" providerId="ADAL" clId="{25CEA024-308C-4E1B-A2D6-84CCD0D2EA4B}" dt="2021-04-29T10:05:33.013" v="3271" actId="164"/>
          <ac:picMkLst>
            <pc:docMk/>
            <pc:sldMk cId="2492622638" sldId="1235"/>
            <ac:picMk id="3" creationId="{E4ABA034-08FC-4CDE-95D2-D2A0680B8879}"/>
          </ac:picMkLst>
        </pc:picChg>
        <pc:picChg chg="mod">
          <ac:chgData name="Céline Felber" userId="03e6e5e3-26bd-4d3d-a86c-4e25438b18a3" providerId="ADAL" clId="{25CEA024-308C-4E1B-A2D6-84CCD0D2EA4B}" dt="2021-04-29T10:05:48.277" v="3276" actId="1076"/>
          <ac:picMkLst>
            <pc:docMk/>
            <pc:sldMk cId="2492622638" sldId="1235"/>
            <ac:picMk id="5" creationId="{A3F0014F-CB50-4E9E-B018-48EDD4F6F66D}"/>
          </ac:picMkLst>
        </pc:picChg>
      </pc:sldChg>
      <pc:sldChg chg="addSp modSp mod">
        <pc:chgData name="Céline Felber" userId="03e6e5e3-26bd-4d3d-a86c-4e25438b18a3" providerId="ADAL" clId="{25CEA024-308C-4E1B-A2D6-84CCD0D2EA4B}" dt="2021-04-29T10:08:53.422" v="3498" actId="1076"/>
        <pc:sldMkLst>
          <pc:docMk/>
          <pc:sldMk cId="1854249031" sldId="1236"/>
        </pc:sldMkLst>
        <pc:spChg chg="add mod">
          <ac:chgData name="Céline Felber" userId="03e6e5e3-26bd-4d3d-a86c-4e25438b18a3" providerId="ADAL" clId="{25CEA024-308C-4E1B-A2D6-84CCD0D2EA4B}" dt="2021-04-29T10:08:19.621" v="3490" actId="20577"/>
          <ac:spMkLst>
            <pc:docMk/>
            <pc:sldMk cId="1854249031" sldId="1236"/>
            <ac:spMk id="5" creationId="{0E269DA8-951A-4215-8F29-D205310203B1}"/>
          </ac:spMkLst>
        </pc:spChg>
        <pc:spChg chg="add mod">
          <ac:chgData name="Céline Felber" userId="03e6e5e3-26bd-4d3d-a86c-4e25438b18a3" providerId="ADAL" clId="{25CEA024-308C-4E1B-A2D6-84CCD0D2EA4B}" dt="2021-04-29T10:08:45.263" v="3495" actId="14100"/>
          <ac:spMkLst>
            <pc:docMk/>
            <pc:sldMk cId="1854249031" sldId="1236"/>
            <ac:spMk id="6" creationId="{6FD89FEB-87FB-4632-8108-6E59B254A9C7}"/>
          </ac:spMkLst>
        </pc:spChg>
        <pc:spChg chg="add mod">
          <ac:chgData name="Céline Felber" userId="03e6e5e3-26bd-4d3d-a86c-4e25438b18a3" providerId="ADAL" clId="{25CEA024-308C-4E1B-A2D6-84CCD0D2EA4B}" dt="2021-04-29T10:08:53.422" v="3498" actId="1076"/>
          <ac:spMkLst>
            <pc:docMk/>
            <pc:sldMk cId="1854249031" sldId="1236"/>
            <ac:spMk id="7" creationId="{C0E61E3D-73B8-46B1-8C88-53A2A6D9C5C0}"/>
          </ac:spMkLst>
        </pc:spChg>
        <pc:spChg chg="mod">
          <ac:chgData name="Céline Felber" userId="03e6e5e3-26bd-4d3d-a86c-4e25438b18a3" providerId="ADAL" clId="{25CEA024-308C-4E1B-A2D6-84CCD0D2EA4B}" dt="2021-04-29T09:13:49.599" v="1895"/>
          <ac:spMkLst>
            <pc:docMk/>
            <pc:sldMk cId="1854249031" sldId="1236"/>
            <ac:spMk id="11" creationId="{F4C04A4C-6B27-453E-91D1-E74C1A8BF64F}"/>
          </ac:spMkLst>
        </pc:spChg>
        <pc:picChg chg="mod">
          <ac:chgData name="Céline Felber" userId="03e6e5e3-26bd-4d3d-a86c-4e25438b18a3" providerId="ADAL" clId="{25CEA024-308C-4E1B-A2D6-84CCD0D2EA4B}" dt="2021-04-29T10:07:59.231" v="3425" actId="1076"/>
          <ac:picMkLst>
            <pc:docMk/>
            <pc:sldMk cId="1854249031" sldId="1236"/>
            <ac:picMk id="3" creationId="{49140C31-CFA1-4042-8C2F-1CED06B1AD91}"/>
          </ac:picMkLst>
        </pc:picChg>
      </pc:sldChg>
      <pc:sldChg chg="addSp modSp mod">
        <pc:chgData name="Céline Felber" userId="03e6e5e3-26bd-4d3d-a86c-4e25438b18a3" providerId="ADAL" clId="{25CEA024-308C-4E1B-A2D6-84CCD0D2EA4B}" dt="2021-04-29T10:12:55.760" v="3813" actId="1076"/>
        <pc:sldMkLst>
          <pc:docMk/>
          <pc:sldMk cId="478634626" sldId="1237"/>
        </pc:sldMkLst>
        <pc:spChg chg="mod">
          <ac:chgData name="Céline Felber" userId="03e6e5e3-26bd-4d3d-a86c-4e25438b18a3" providerId="ADAL" clId="{25CEA024-308C-4E1B-A2D6-84CCD0D2EA4B}" dt="2021-04-29T10:09:10.073" v="3502" actId="164"/>
          <ac:spMkLst>
            <pc:docMk/>
            <pc:sldMk cId="478634626" sldId="1237"/>
            <ac:spMk id="6" creationId="{C9D4A238-D237-4141-A13E-F0DDD70C5F03}"/>
          </ac:spMkLst>
        </pc:spChg>
        <pc:spChg chg="mod">
          <ac:chgData name="Céline Felber" userId="03e6e5e3-26bd-4d3d-a86c-4e25438b18a3" providerId="ADAL" clId="{25CEA024-308C-4E1B-A2D6-84CCD0D2EA4B}" dt="2021-04-29T10:10:12.647" v="3569" actId="14100"/>
          <ac:spMkLst>
            <pc:docMk/>
            <pc:sldMk cId="478634626" sldId="1237"/>
            <ac:spMk id="7" creationId="{82E04FAE-F005-4628-BE03-6A4FB54499F0}"/>
          </ac:spMkLst>
        </pc:spChg>
        <pc:spChg chg="add mod">
          <ac:chgData name="Céline Felber" userId="03e6e5e3-26bd-4d3d-a86c-4e25438b18a3" providerId="ADAL" clId="{25CEA024-308C-4E1B-A2D6-84CCD0D2EA4B}" dt="2021-04-29T10:11:54.164" v="3793" actId="20577"/>
          <ac:spMkLst>
            <pc:docMk/>
            <pc:sldMk cId="478634626" sldId="1237"/>
            <ac:spMk id="8" creationId="{B936CAA5-4B12-45AD-8D8C-65BC85DF92BF}"/>
          </ac:spMkLst>
        </pc:spChg>
        <pc:spChg chg="add mod">
          <ac:chgData name="Céline Felber" userId="03e6e5e3-26bd-4d3d-a86c-4e25438b18a3" providerId="ADAL" clId="{25CEA024-308C-4E1B-A2D6-84CCD0D2EA4B}" dt="2021-04-29T10:10:33.766" v="3573" actId="164"/>
          <ac:spMkLst>
            <pc:docMk/>
            <pc:sldMk cId="478634626" sldId="1237"/>
            <ac:spMk id="9" creationId="{E829B942-084D-4CD6-B641-2EDA418E78AF}"/>
          </ac:spMkLst>
        </pc:spChg>
        <pc:spChg chg="mod">
          <ac:chgData name="Céline Felber" userId="03e6e5e3-26bd-4d3d-a86c-4e25438b18a3" providerId="ADAL" clId="{25CEA024-308C-4E1B-A2D6-84CCD0D2EA4B}" dt="2021-04-29T09:13:49.599" v="1895"/>
          <ac:spMkLst>
            <pc:docMk/>
            <pc:sldMk cId="478634626" sldId="1237"/>
            <ac:spMk id="11" creationId="{54E040F2-824E-4187-86E8-030FD147EF5F}"/>
          </ac:spMkLst>
        </pc:spChg>
        <pc:spChg chg="add mod">
          <ac:chgData name="Céline Felber" userId="03e6e5e3-26bd-4d3d-a86c-4e25438b18a3" providerId="ADAL" clId="{25CEA024-308C-4E1B-A2D6-84CCD0D2EA4B}" dt="2021-04-29T10:10:33.766" v="3573" actId="164"/>
          <ac:spMkLst>
            <pc:docMk/>
            <pc:sldMk cId="478634626" sldId="1237"/>
            <ac:spMk id="13" creationId="{300117D4-057C-4181-89C3-FD9A978184A0}"/>
          </ac:spMkLst>
        </pc:spChg>
        <pc:spChg chg="add mod">
          <ac:chgData name="Céline Felber" userId="03e6e5e3-26bd-4d3d-a86c-4e25438b18a3" providerId="ADAL" clId="{25CEA024-308C-4E1B-A2D6-84CCD0D2EA4B}" dt="2021-04-29T10:12:38.622" v="3806" actId="20577"/>
          <ac:spMkLst>
            <pc:docMk/>
            <pc:sldMk cId="478634626" sldId="1237"/>
            <ac:spMk id="14" creationId="{CA78941B-D273-4E16-BFB2-2F308D4A3416}"/>
          </ac:spMkLst>
        </pc:spChg>
        <pc:spChg chg="add mod">
          <ac:chgData name="Céline Felber" userId="03e6e5e3-26bd-4d3d-a86c-4e25438b18a3" providerId="ADAL" clId="{25CEA024-308C-4E1B-A2D6-84CCD0D2EA4B}" dt="2021-04-29T10:12:42.695" v="3808" actId="20577"/>
          <ac:spMkLst>
            <pc:docMk/>
            <pc:sldMk cId="478634626" sldId="1237"/>
            <ac:spMk id="15" creationId="{04C81CFA-A20F-418C-9699-7B60F732A62E}"/>
          </ac:spMkLst>
        </pc:spChg>
        <pc:spChg chg="add mod">
          <ac:chgData name="Céline Felber" userId="03e6e5e3-26bd-4d3d-a86c-4e25438b18a3" providerId="ADAL" clId="{25CEA024-308C-4E1B-A2D6-84CCD0D2EA4B}" dt="2021-04-29T10:12:46.348" v="3810" actId="20577"/>
          <ac:spMkLst>
            <pc:docMk/>
            <pc:sldMk cId="478634626" sldId="1237"/>
            <ac:spMk id="16" creationId="{464F7162-0CC4-4F5D-A0C3-A1CFAD831574}"/>
          </ac:spMkLst>
        </pc:spChg>
        <pc:spChg chg="add mod">
          <ac:chgData name="Céline Felber" userId="03e6e5e3-26bd-4d3d-a86c-4e25438b18a3" providerId="ADAL" clId="{25CEA024-308C-4E1B-A2D6-84CCD0D2EA4B}" dt="2021-04-29T10:12:55.760" v="3813" actId="1076"/>
          <ac:spMkLst>
            <pc:docMk/>
            <pc:sldMk cId="478634626" sldId="1237"/>
            <ac:spMk id="17" creationId="{A0D931C6-D191-47A5-B2E2-1B08EB96E892}"/>
          </ac:spMkLst>
        </pc:spChg>
        <pc:grpChg chg="add mod">
          <ac:chgData name="Céline Felber" userId="03e6e5e3-26bd-4d3d-a86c-4e25438b18a3" providerId="ADAL" clId="{25CEA024-308C-4E1B-A2D6-84CCD0D2EA4B}" dt="2021-04-29T10:10:33.766" v="3573" actId="164"/>
          <ac:grpSpMkLst>
            <pc:docMk/>
            <pc:sldMk cId="478634626" sldId="1237"/>
            <ac:grpSpMk id="2" creationId="{C740C945-0489-4FED-BDAE-2D573D32FEDC}"/>
          </ac:grpSpMkLst>
        </pc:grpChg>
        <pc:grpChg chg="add mod">
          <ac:chgData name="Céline Felber" userId="03e6e5e3-26bd-4d3d-a86c-4e25438b18a3" providerId="ADAL" clId="{25CEA024-308C-4E1B-A2D6-84CCD0D2EA4B}" dt="2021-04-29T10:12:01.593" v="3796" actId="1076"/>
          <ac:grpSpMkLst>
            <pc:docMk/>
            <pc:sldMk cId="478634626" sldId="1237"/>
            <ac:grpSpMk id="3" creationId="{BE53EC58-C668-425D-B2A4-1561DC046BC5}"/>
          </ac:grpSpMkLst>
        </pc:grpChg>
        <pc:picChg chg="mod">
          <ac:chgData name="Céline Felber" userId="03e6e5e3-26bd-4d3d-a86c-4e25438b18a3" providerId="ADAL" clId="{25CEA024-308C-4E1B-A2D6-84CCD0D2EA4B}" dt="2021-04-29T10:09:10.073" v="3502" actId="164"/>
          <ac:picMkLst>
            <pc:docMk/>
            <pc:sldMk cId="478634626" sldId="1237"/>
            <ac:picMk id="10" creationId="{42E744B4-4C5B-4760-A2E2-667BC92AEB03}"/>
          </ac:picMkLst>
        </pc:picChg>
      </pc:sldChg>
      <pc:sldChg chg="addSp delSp modSp mod delAnim">
        <pc:chgData name="Céline Felber" userId="03e6e5e3-26bd-4d3d-a86c-4e25438b18a3" providerId="ADAL" clId="{25CEA024-308C-4E1B-A2D6-84CCD0D2EA4B}" dt="2021-04-29T11:10:36.789" v="4245" actId="20577"/>
        <pc:sldMkLst>
          <pc:docMk/>
          <pc:sldMk cId="3026775920" sldId="1238"/>
        </pc:sldMkLst>
        <pc:spChg chg="add del mod">
          <ac:chgData name="Céline Felber" userId="03e6e5e3-26bd-4d3d-a86c-4e25438b18a3" providerId="ADAL" clId="{25CEA024-308C-4E1B-A2D6-84CCD0D2EA4B}" dt="2021-04-29T11:08:27.498" v="4028"/>
          <ac:spMkLst>
            <pc:docMk/>
            <pc:sldMk cId="3026775920" sldId="1238"/>
            <ac:spMk id="8" creationId="{2097B806-EDB0-4F7E-B401-889F7F4E3B61}"/>
          </ac:spMkLst>
        </pc:spChg>
        <pc:spChg chg="add mod">
          <ac:chgData name="Céline Felber" userId="03e6e5e3-26bd-4d3d-a86c-4e25438b18a3" providerId="ADAL" clId="{25CEA024-308C-4E1B-A2D6-84CCD0D2EA4B}" dt="2021-04-29T11:10:02.154" v="4236" actId="20577"/>
          <ac:spMkLst>
            <pc:docMk/>
            <pc:sldMk cId="3026775920" sldId="1238"/>
            <ac:spMk id="9" creationId="{527B0853-7766-4A2D-BD49-DDE8941FFC00}"/>
          </ac:spMkLst>
        </pc:spChg>
        <pc:spChg chg="add mod">
          <ac:chgData name="Céline Felber" userId="03e6e5e3-26bd-4d3d-a86c-4e25438b18a3" providerId="ADAL" clId="{25CEA024-308C-4E1B-A2D6-84CCD0D2EA4B}" dt="2021-04-29T11:10:36.789" v="4245" actId="20577"/>
          <ac:spMkLst>
            <pc:docMk/>
            <pc:sldMk cId="3026775920" sldId="1238"/>
            <ac:spMk id="10" creationId="{F32B2B0C-3555-4CD5-97B9-A2CE53500FC1}"/>
          </ac:spMkLst>
        </pc:spChg>
        <pc:spChg chg="mod">
          <ac:chgData name="Céline Felber" userId="03e6e5e3-26bd-4d3d-a86c-4e25438b18a3" providerId="ADAL" clId="{25CEA024-308C-4E1B-A2D6-84CCD0D2EA4B}" dt="2021-04-29T11:10:18.765" v="4240" actId="14100"/>
          <ac:spMkLst>
            <pc:docMk/>
            <pc:sldMk cId="3026775920" sldId="1238"/>
            <ac:spMk id="19" creationId="{5C21513C-0B28-478A-A946-BCAF91F945A6}"/>
          </ac:spMkLst>
        </pc:spChg>
        <pc:picChg chg="del mod">
          <ac:chgData name="Céline Felber" userId="03e6e5e3-26bd-4d3d-a86c-4e25438b18a3" providerId="ADAL" clId="{25CEA024-308C-4E1B-A2D6-84CCD0D2EA4B}" dt="2021-04-29T11:08:42.063" v="4031" actId="478"/>
          <ac:picMkLst>
            <pc:docMk/>
            <pc:sldMk cId="3026775920" sldId="1238"/>
            <ac:picMk id="18" creationId="{8CBEEDF1-2021-432A-8710-11DBE95F8B0B}"/>
          </ac:picMkLst>
        </pc:picChg>
        <pc:picChg chg="mod ord modCrop">
          <ac:chgData name="Céline Felber" userId="03e6e5e3-26bd-4d3d-a86c-4e25438b18a3" providerId="ADAL" clId="{25CEA024-308C-4E1B-A2D6-84CCD0D2EA4B}" dt="2021-04-29T11:10:07.377" v="4238" actId="167"/>
          <ac:picMkLst>
            <pc:docMk/>
            <pc:sldMk cId="3026775920" sldId="1238"/>
            <ac:picMk id="21" creationId="{A3EA3CCB-BB69-42AD-AD3C-5CF17CFB644A}"/>
          </ac:picMkLst>
        </pc:picChg>
        <pc:cxnChg chg="del">
          <ac:chgData name="Céline Felber" userId="03e6e5e3-26bd-4d3d-a86c-4e25438b18a3" providerId="ADAL" clId="{25CEA024-308C-4E1B-A2D6-84CCD0D2EA4B}" dt="2021-04-29T11:08:44.296" v="4032" actId="478"/>
          <ac:cxnSpMkLst>
            <pc:docMk/>
            <pc:sldMk cId="3026775920" sldId="1238"/>
            <ac:cxnSpMk id="20" creationId="{B8944F27-64FD-4808-A964-77A747493A9E}"/>
          </ac:cxnSpMkLst>
        </pc:cxnChg>
      </pc:sldChg>
      <pc:sldChg chg="addSp modSp">
        <pc:chgData name="Céline Felber" userId="03e6e5e3-26bd-4d3d-a86c-4e25438b18a3" providerId="ADAL" clId="{25CEA024-308C-4E1B-A2D6-84CCD0D2EA4B}" dt="2021-04-29T11:11:03.571" v="4246"/>
        <pc:sldMkLst>
          <pc:docMk/>
          <pc:sldMk cId="2728220748" sldId="1239"/>
        </pc:sldMkLst>
        <pc:spChg chg="add mod">
          <ac:chgData name="Céline Felber" userId="03e6e5e3-26bd-4d3d-a86c-4e25438b18a3" providerId="ADAL" clId="{25CEA024-308C-4E1B-A2D6-84CCD0D2EA4B}" dt="2021-04-29T11:11:03.571" v="4246"/>
          <ac:spMkLst>
            <pc:docMk/>
            <pc:sldMk cId="2728220748" sldId="1239"/>
            <ac:spMk id="18" creationId="{36294B8C-2534-47BF-A050-24DBE7442FF0}"/>
          </ac:spMkLst>
        </pc:spChg>
      </pc:sldChg>
      <pc:sldChg chg="addSp delSp modSp mod">
        <pc:chgData name="Céline Felber" userId="03e6e5e3-26bd-4d3d-a86c-4e25438b18a3" providerId="ADAL" clId="{25CEA024-308C-4E1B-A2D6-84CCD0D2EA4B}" dt="2021-04-29T11:24:57.969" v="4817" actId="20577"/>
        <pc:sldMkLst>
          <pc:docMk/>
          <pc:sldMk cId="718142970" sldId="1241"/>
        </pc:sldMkLst>
        <pc:spChg chg="add mod ord">
          <ac:chgData name="Céline Felber" userId="03e6e5e3-26bd-4d3d-a86c-4e25438b18a3" providerId="ADAL" clId="{25CEA024-308C-4E1B-A2D6-84CCD0D2EA4B}" dt="2021-04-29T11:16:13.869" v="4440" actId="20577"/>
          <ac:spMkLst>
            <pc:docMk/>
            <pc:sldMk cId="718142970" sldId="1241"/>
            <ac:spMk id="10" creationId="{1654A0EB-E4AD-45F9-9DEC-C47CC9A8A467}"/>
          </ac:spMkLst>
        </pc:spChg>
        <pc:spChg chg="mod">
          <ac:chgData name="Céline Felber" userId="03e6e5e3-26bd-4d3d-a86c-4e25438b18a3" providerId="ADAL" clId="{25CEA024-308C-4E1B-A2D6-84CCD0D2EA4B}" dt="2021-04-29T11:15:44.860" v="4334" actId="20577"/>
          <ac:spMkLst>
            <pc:docMk/>
            <pc:sldMk cId="718142970" sldId="1241"/>
            <ac:spMk id="13" creationId="{ECB51D32-7566-4870-8FA5-D42DFFA709F5}"/>
          </ac:spMkLst>
        </pc:spChg>
        <pc:spChg chg="mod">
          <ac:chgData name="Céline Felber" userId="03e6e5e3-26bd-4d3d-a86c-4e25438b18a3" providerId="ADAL" clId="{25CEA024-308C-4E1B-A2D6-84CCD0D2EA4B}" dt="2021-04-29T11:11:38.401" v="4250" actId="164"/>
          <ac:spMkLst>
            <pc:docMk/>
            <pc:sldMk cId="718142970" sldId="1241"/>
            <ac:spMk id="16" creationId="{6D8845BE-23AA-4B3F-A258-1CE4EF44B685}"/>
          </ac:spMkLst>
        </pc:spChg>
        <pc:spChg chg="mod">
          <ac:chgData name="Céline Felber" userId="03e6e5e3-26bd-4d3d-a86c-4e25438b18a3" providerId="ADAL" clId="{25CEA024-308C-4E1B-A2D6-84CCD0D2EA4B}" dt="2021-04-29T11:11:38.401" v="4250" actId="164"/>
          <ac:spMkLst>
            <pc:docMk/>
            <pc:sldMk cId="718142970" sldId="1241"/>
            <ac:spMk id="17" creationId="{1F283020-6E04-40BE-B092-FDAA74B27912}"/>
          </ac:spMkLst>
        </pc:spChg>
        <pc:spChg chg="mod topLvl">
          <ac:chgData name="Céline Felber" userId="03e6e5e3-26bd-4d3d-a86c-4e25438b18a3" providerId="ADAL" clId="{25CEA024-308C-4E1B-A2D6-84CCD0D2EA4B}" dt="2021-04-29T11:14:56.466" v="4317" actId="164"/>
          <ac:spMkLst>
            <pc:docMk/>
            <pc:sldMk cId="718142970" sldId="1241"/>
            <ac:spMk id="19" creationId="{F252C76E-0619-4517-9166-0391EC0513AB}"/>
          </ac:spMkLst>
        </pc:spChg>
        <pc:spChg chg="add mod ord">
          <ac:chgData name="Céline Felber" userId="03e6e5e3-26bd-4d3d-a86c-4e25438b18a3" providerId="ADAL" clId="{25CEA024-308C-4E1B-A2D6-84CCD0D2EA4B}" dt="2021-04-29T11:14:52.660" v="4316" actId="571"/>
          <ac:spMkLst>
            <pc:docMk/>
            <pc:sldMk cId="718142970" sldId="1241"/>
            <ac:spMk id="21" creationId="{A5895B75-0AE2-45A3-9664-E596D5AD8C42}"/>
          </ac:spMkLst>
        </pc:spChg>
        <pc:spChg chg="add mod">
          <ac:chgData name="Céline Felber" userId="03e6e5e3-26bd-4d3d-a86c-4e25438b18a3" providerId="ADAL" clId="{25CEA024-308C-4E1B-A2D6-84CCD0D2EA4B}" dt="2021-04-29T11:16:52.471" v="4450" actId="14100"/>
          <ac:spMkLst>
            <pc:docMk/>
            <pc:sldMk cId="718142970" sldId="1241"/>
            <ac:spMk id="22" creationId="{5CB53CF6-B939-4CF5-B01A-98C36E6C7FEB}"/>
          </ac:spMkLst>
        </pc:spChg>
        <pc:spChg chg="add mod">
          <ac:chgData name="Céline Felber" userId="03e6e5e3-26bd-4d3d-a86c-4e25438b18a3" providerId="ADAL" clId="{25CEA024-308C-4E1B-A2D6-84CCD0D2EA4B}" dt="2021-04-29T11:24:57.969" v="4817" actId="20577"/>
          <ac:spMkLst>
            <pc:docMk/>
            <pc:sldMk cId="718142970" sldId="1241"/>
            <ac:spMk id="23" creationId="{099FAF26-B274-43C4-AC51-C502752691FF}"/>
          </ac:spMkLst>
        </pc:spChg>
        <pc:grpChg chg="add del mod">
          <ac:chgData name="Céline Felber" userId="03e6e5e3-26bd-4d3d-a86c-4e25438b18a3" providerId="ADAL" clId="{25CEA024-308C-4E1B-A2D6-84CCD0D2EA4B}" dt="2021-04-29T11:13:51.328" v="4293" actId="165"/>
          <ac:grpSpMkLst>
            <pc:docMk/>
            <pc:sldMk cId="718142970" sldId="1241"/>
            <ac:grpSpMk id="2" creationId="{E4BC8D79-BA7D-43AE-9E0C-A499EE74E7DA}"/>
          </ac:grpSpMkLst>
        </pc:grpChg>
        <pc:grpChg chg="add del mod">
          <ac:chgData name="Céline Felber" userId="03e6e5e3-26bd-4d3d-a86c-4e25438b18a3" providerId="ADAL" clId="{25CEA024-308C-4E1B-A2D6-84CCD0D2EA4B}" dt="2021-04-29T11:15:28.356" v="4325" actId="478"/>
          <ac:grpSpMkLst>
            <pc:docMk/>
            <pc:sldMk cId="718142970" sldId="1241"/>
            <ac:grpSpMk id="3" creationId="{09C1B75F-CFDA-44BB-B492-B1956D4D1B55}"/>
          </ac:grpSpMkLst>
        </pc:grpChg>
        <pc:grpChg chg="add mod">
          <ac:chgData name="Céline Felber" userId="03e6e5e3-26bd-4d3d-a86c-4e25438b18a3" providerId="ADAL" clId="{25CEA024-308C-4E1B-A2D6-84CCD0D2EA4B}" dt="2021-04-29T11:16:26.353" v="4445" actId="1076"/>
          <ac:grpSpMkLst>
            <pc:docMk/>
            <pc:sldMk cId="718142970" sldId="1241"/>
            <ac:grpSpMk id="6" creationId="{8C4089DD-92EC-4596-98C9-B5D508123DCA}"/>
          </ac:grpSpMkLst>
        </pc:grpChg>
        <pc:picChg chg="add del mod ord">
          <ac:chgData name="Céline Felber" userId="03e6e5e3-26bd-4d3d-a86c-4e25438b18a3" providerId="ADAL" clId="{25CEA024-308C-4E1B-A2D6-84CCD0D2EA4B}" dt="2021-04-29T11:14:56.466" v="4317" actId="164"/>
          <ac:picMkLst>
            <pc:docMk/>
            <pc:sldMk cId="718142970" sldId="1241"/>
            <ac:picMk id="5" creationId="{6414ED29-8B96-4DA0-93ED-D2167F258C9D}"/>
          </ac:picMkLst>
        </pc:picChg>
        <pc:picChg chg="add mod">
          <ac:chgData name="Céline Felber" userId="03e6e5e3-26bd-4d3d-a86c-4e25438b18a3" providerId="ADAL" clId="{25CEA024-308C-4E1B-A2D6-84CCD0D2EA4B}" dt="2021-04-29T11:16:38.664" v="4447" actId="108"/>
          <ac:picMkLst>
            <pc:docMk/>
            <pc:sldMk cId="718142970" sldId="1241"/>
            <ac:picMk id="8" creationId="{9A8C1491-943C-43B3-82B8-7FABB928747A}"/>
          </ac:picMkLst>
        </pc:picChg>
        <pc:picChg chg="mod">
          <ac:chgData name="Céline Felber" userId="03e6e5e3-26bd-4d3d-a86c-4e25438b18a3" providerId="ADAL" clId="{25CEA024-308C-4E1B-A2D6-84CCD0D2EA4B}" dt="2021-04-29T11:11:38.401" v="4250" actId="164"/>
          <ac:picMkLst>
            <pc:docMk/>
            <pc:sldMk cId="718142970" sldId="1241"/>
            <ac:picMk id="15" creationId="{5D7A16CD-BBC0-4BF0-AA1A-5EFFD8A7C52D}"/>
          </ac:picMkLst>
        </pc:picChg>
        <pc:picChg chg="del mod topLvl">
          <ac:chgData name="Céline Felber" userId="03e6e5e3-26bd-4d3d-a86c-4e25438b18a3" providerId="ADAL" clId="{25CEA024-308C-4E1B-A2D6-84CCD0D2EA4B}" dt="2021-04-29T11:13:58.302" v="4296" actId="478"/>
          <ac:picMkLst>
            <pc:docMk/>
            <pc:sldMk cId="718142970" sldId="1241"/>
            <ac:picMk id="18" creationId="{B6B1F20D-D54F-4EA1-8CC1-698953BBE2BF}"/>
          </ac:picMkLst>
        </pc:picChg>
        <pc:picChg chg="add mod ord">
          <ac:chgData name="Céline Felber" userId="03e6e5e3-26bd-4d3d-a86c-4e25438b18a3" providerId="ADAL" clId="{25CEA024-308C-4E1B-A2D6-84CCD0D2EA4B}" dt="2021-04-29T11:14:52.660" v="4316" actId="571"/>
          <ac:picMkLst>
            <pc:docMk/>
            <pc:sldMk cId="718142970" sldId="1241"/>
            <ac:picMk id="20" creationId="{74725389-6781-4452-94D6-9644E86BD40C}"/>
          </ac:picMkLst>
        </pc:picChg>
      </pc:sldChg>
      <pc:sldChg chg="addSp delSp modSp del mod ord">
        <pc:chgData name="Céline Felber" userId="03e6e5e3-26bd-4d3d-a86c-4e25438b18a3" providerId="ADAL" clId="{25CEA024-308C-4E1B-A2D6-84CCD0D2EA4B}" dt="2021-04-29T11:24:40.828" v="4813" actId="47"/>
        <pc:sldMkLst>
          <pc:docMk/>
          <pc:sldMk cId="24814241" sldId="1242"/>
        </pc:sldMkLst>
        <pc:picChg chg="add del mod">
          <ac:chgData name="Céline Felber" userId="03e6e5e3-26bd-4d3d-a86c-4e25438b18a3" providerId="ADAL" clId="{25CEA024-308C-4E1B-A2D6-84CCD0D2EA4B}" dt="2021-04-29T11:24:29.030" v="4812" actId="478"/>
          <ac:picMkLst>
            <pc:docMk/>
            <pc:sldMk cId="24814241" sldId="1242"/>
            <ac:picMk id="3" creationId="{29BEE9CE-8634-4D1A-B6BA-BBAD193482EA}"/>
          </ac:picMkLst>
        </pc:picChg>
        <pc:picChg chg="mod">
          <ac:chgData name="Céline Felber" userId="03e6e5e3-26bd-4d3d-a86c-4e25438b18a3" providerId="ADAL" clId="{25CEA024-308C-4E1B-A2D6-84CCD0D2EA4B}" dt="2021-04-29T11:17:04.613" v="4452" actId="1076"/>
          <ac:picMkLst>
            <pc:docMk/>
            <pc:sldMk cId="24814241" sldId="1242"/>
            <ac:picMk id="16" creationId="{1A9B6A85-35C3-45E2-8E57-19C6999316D8}"/>
          </ac:picMkLst>
        </pc:picChg>
      </pc:sldChg>
      <pc:sldChg chg="addSp delSp modSp mod">
        <pc:chgData name="Céline Felber" userId="03e6e5e3-26bd-4d3d-a86c-4e25438b18a3" providerId="ADAL" clId="{25CEA024-308C-4E1B-A2D6-84CCD0D2EA4B}" dt="2021-04-29T11:29:12.854" v="4866" actId="478"/>
        <pc:sldMkLst>
          <pc:docMk/>
          <pc:sldMk cId="787866711" sldId="1248"/>
        </pc:sldMkLst>
        <pc:spChg chg="add del mod">
          <ac:chgData name="Céline Felber" userId="03e6e5e3-26bd-4d3d-a86c-4e25438b18a3" providerId="ADAL" clId="{25CEA024-308C-4E1B-A2D6-84CCD0D2EA4B}" dt="2021-04-29T11:29:12.854" v="4866" actId="478"/>
          <ac:spMkLst>
            <pc:docMk/>
            <pc:sldMk cId="787866711" sldId="1248"/>
            <ac:spMk id="15" creationId="{891E2CF9-3574-4827-B60F-D0D816975378}"/>
          </ac:spMkLst>
        </pc:spChg>
      </pc:sldChg>
      <pc:sldChg chg="modSp">
        <pc:chgData name="Céline Felber" userId="03e6e5e3-26bd-4d3d-a86c-4e25438b18a3" providerId="ADAL" clId="{25CEA024-308C-4E1B-A2D6-84CCD0D2EA4B}" dt="2021-04-29T09:13:49.599" v="1895"/>
        <pc:sldMkLst>
          <pc:docMk/>
          <pc:sldMk cId="2097992450" sldId="1263"/>
        </pc:sldMkLst>
        <pc:spChg chg="mod">
          <ac:chgData name="Céline Felber" userId="03e6e5e3-26bd-4d3d-a86c-4e25438b18a3" providerId="ADAL" clId="{25CEA024-308C-4E1B-A2D6-84CCD0D2EA4B}" dt="2021-04-29T09:13:49.599" v="1895"/>
          <ac:spMkLst>
            <pc:docMk/>
            <pc:sldMk cId="2097992450" sldId="1263"/>
            <ac:spMk id="29" creationId="{65F26C82-68E6-4D19-850F-F8D3E42283C5}"/>
          </ac:spMkLst>
        </pc:spChg>
      </pc:sldChg>
      <pc:sldChg chg="modSp">
        <pc:chgData name="Céline Felber" userId="03e6e5e3-26bd-4d3d-a86c-4e25438b18a3" providerId="ADAL" clId="{25CEA024-308C-4E1B-A2D6-84CCD0D2EA4B}" dt="2021-04-29T09:13:49.599" v="1895"/>
        <pc:sldMkLst>
          <pc:docMk/>
          <pc:sldMk cId="926567963" sldId="1266"/>
        </pc:sldMkLst>
        <pc:spChg chg="mod">
          <ac:chgData name="Céline Felber" userId="03e6e5e3-26bd-4d3d-a86c-4e25438b18a3" providerId="ADAL" clId="{25CEA024-308C-4E1B-A2D6-84CCD0D2EA4B}" dt="2021-04-29T09:13:49.599" v="1895"/>
          <ac:spMkLst>
            <pc:docMk/>
            <pc:sldMk cId="926567963" sldId="1266"/>
            <ac:spMk id="6" creationId="{A19744FE-0122-4458-A703-1ED9355A7C5F}"/>
          </ac:spMkLst>
        </pc:spChg>
      </pc:sldChg>
      <pc:sldChg chg="modSp">
        <pc:chgData name="Céline Felber" userId="03e6e5e3-26bd-4d3d-a86c-4e25438b18a3" providerId="ADAL" clId="{25CEA024-308C-4E1B-A2D6-84CCD0D2EA4B}" dt="2021-04-29T09:13:49.599" v="1895"/>
        <pc:sldMkLst>
          <pc:docMk/>
          <pc:sldMk cId="3315475924" sldId="1272"/>
        </pc:sldMkLst>
        <pc:spChg chg="mod">
          <ac:chgData name="Céline Felber" userId="03e6e5e3-26bd-4d3d-a86c-4e25438b18a3" providerId="ADAL" clId="{25CEA024-308C-4E1B-A2D6-84CCD0D2EA4B}" dt="2021-04-29T09:13:49.599" v="1895"/>
          <ac:spMkLst>
            <pc:docMk/>
            <pc:sldMk cId="3315475924" sldId="1272"/>
            <ac:spMk id="2" creationId="{441F4646-E8DB-4A47-961C-1EFD7A4C3CE7}"/>
          </ac:spMkLst>
        </pc:spChg>
      </pc:sldChg>
      <pc:sldChg chg="modSp">
        <pc:chgData name="Céline Felber" userId="03e6e5e3-26bd-4d3d-a86c-4e25438b18a3" providerId="ADAL" clId="{25CEA024-308C-4E1B-A2D6-84CCD0D2EA4B}" dt="2021-04-29T09:13:49.599" v="1895"/>
        <pc:sldMkLst>
          <pc:docMk/>
          <pc:sldMk cId="649153855" sldId="1273"/>
        </pc:sldMkLst>
        <pc:spChg chg="mod">
          <ac:chgData name="Céline Felber" userId="03e6e5e3-26bd-4d3d-a86c-4e25438b18a3" providerId="ADAL" clId="{25CEA024-308C-4E1B-A2D6-84CCD0D2EA4B}" dt="2021-04-29T09:13:49.599" v="1895"/>
          <ac:spMkLst>
            <pc:docMk/>
            <pc:sldMk cId="649153855" sldId="1273"/>
            <ac:spMk id="6" creationId="{A19744FE-0122-4458-A703-1ED9355A7C5F}"/>
          </ac:spMkLst>
        </pc:spChg>
        <pc:spChg chg="mod">
          <ac:chgData name="Céline Felber" userId="03e6e5e3-26bd-4d3d-a86c-4e25438b18a3" providerId="ADAL" clId="{25CEA024-308C-4E1B-A2D6-84CCD0D2EA4B}" dt="2021-04-29T09:13:49.599" v="1895"/>
          <ac:spMkLst>
            <pc:docMk/>
            <pc:sldMk cId="649153855" sldId="1273"/>
            <ac:spMk id="35" creationId="{2F00C498-6C91-4802-B79A-B21A351086B1}"/>
          </ac:spMkLst>
        </pc:spChg>
        <pc:spChg chg="mod">
          <ac:chgData name="Céline Felber" userId="03e6e5e3-26bd-4d3d-a86c-4e25438b18a3" providerId="ADAL" clId="{25CEA024-308C-4E1B-A2D6-84CCD0D2EA4B}" dt="2021-04-29T09:13:49.599" v="1895"/>
          <ac:spMkLst>
            <pc:docMk/>
            <pc:sldMk cId="649153855" sldId="1273"/>
            <ac:spMk id="37" creationId="{C4BE9CCD-C203-414F-B252-20F9929F8E62}"/>
          </ac:spMkLst>
        </pc:spChg>
      </pc:sldChg>
      <pc:sldChg chg="modSp">
        <pc:chgData name="Céline Felber" userId="03e6e5e3-26bd-4d3d-a86c-4e25438b18a3" providerId="ADAL" clId="{25CEA024-308C-4E1B-A2D6-84CCD0D2EA4B}" dt="2021-04-29T09:13:49.599" v="1895"/>
        <pc:sldMkLst>
          <pc:docMk/>
          <pc:sldMk cId="2439780910" sldId="1274"/>
        </pc:sldMkLst>
        <pc:spChg chg="mod">
          <ac:chgData name="Céline Felber" userId="03e6e5e3-26bd-4d3d-a86c-4e25438b18a3" providerId="ADAL" clId="{25CEA024-308C-4E1B-A2D6-84CCD0D2EA4B}" dt="2021-04-29T09:13:49.599" v="1895"/>
          <ac:spMkLst>
            <pc:docMk/>
            <pc:sldMk cId="2439780910" sldId="1274"/>
            <ac:spMk id="35" creationId="{2F00C498-6C91-4802-B79A-B21A351086B1}"/>
          </ac:spMkLst>
        </pc:spChg>
        <pc:spChg chg="mod">
          <ac:chgData name="Céline Felber" userId="03e6e5e3-26bd-4d3d-a86c-4e25438b18a3" providerId="ADAL" clId="{25CEA024-308C-4E1B-A2D6-84CCD0D2EA4B}" dt="2021-04-29T09:13:49.599" v="1895"/>
          <ac:spMkLst>
            <pc:docMk/>
            <pc:sldMk cId="2439780910" sldId="1274"/>
            <ac:spMk id="37" creationId="{C4BE9CCD-C203-414F-B252-20F9929F8E62}"/>
          </ac:spMkLst>
        </pc:spChg>
      </pc:sldChg>
      <pc:sldChg chg="modSp">
        <pc:chgData name="Céline Felber" userId="03e6e5e3-26bd-4d3d-a86c-4e25438b18a3" providerId="ADAL" clId="{25CEA024-308C-4E1B-A2D6-84CCD0D2EA4B}" dt="2021-04-29T09:13:49.599" v="1895"/>
        <pc:sldMkLst>
          <pc:docMk/>
          <pc:sldMk cId="1309742216" sldId="1275"/>
        </pc:sldMkLst>
        <pc:spChg chg="mod">
          <ac:chgData name="Céline Felber" userId="03e6e5e3-26bd-4d3d-a86c-4e25438b18a3" providerId="ADAL" clId="{25CEA024-308C-4E1B-A2D6-84CCD0D2EA4B}" dt="2021-04-29T09:13:49.599" v="1895"/>
          <ac:spMkLst>
            <pc:docMk/>
            <pc:sldMk cId="1309742216" sldId="1275"/>
            <ac:spMk id="35" creationId="{2F00C498-6C91-4802-B79A-B21A351086B1}"/>
          </ac:spMkLst>
        </pc:spChg>
        <pc:spChg chg="mod">
          <ac:chgData name="Céline Felber" userId="03e6e5e3-26bd-4d3d-a86c-4e25438b18a3" providerId="ADAL" clId="{25CEA024-308C-4E1B-A2D6-84CCD0D2EA4B}" dt="2021-04-29T09:13:49.599" v="1895"/>
          <ac:spMkLst>
            <pc:docMk/>
            <pc:sldMk cId="1309742216" sldId="1275"/>
            <ac:spMk id="37" creationId="{C4BE9CCD-C203-414F-B252-20F9929F8E62}"/>
          </ac:spMkLst>
        </pc:spChg>
      </pc:sldChg>
      <pc:sldChg chg="modSp">
        <pc:chgData name="Céline Felber" userId="03e6e5e3-26bd-4d3d-a86c-4e25438b18a3" providerId="ADAL" clId="{25CEA024-308C-4E1B-A2D6-84CCD0D2EA4B}" dt="2021-04-29T09:13:49.599" v="1895"/>
        <pc:sldMkLst>
          <pc:docMk/>
          <pc:sldMk cId="782947647" sldId="1276"/>
        </pc:sldMkLst>
        <pc:spChg chg="mod">
          <ac:chgData name="Céline Felber" userId="03e6e5e3-26bd-4d3d-a86c-4e25438b18a3" providerId="ADAL" clId="{25CEA024-308C-4E1B-A2D6-84CCD0D2EA4B}" dt="2021-04-29T09:13:49.599" v="1895"/>
          <ac:spMkLst>
            <pc:docMk/>
            <pc:sldMk cId="782947647" sldId="1276"/>
            <ac:spMk id="35" creationId="{2F00C498-6C91-4802-B79A-B21A351086B1}"/>
          </ac:spMkLst>
        </pc:spChg>
        <pc:spChg chg="mod">
          <ac:chgData name="Céline Felber" userId="03e6e5e3-26bd-4d3d-a86c-4e25438b18a3" providerId="ADAL" clId="{25CEA024-308C-4E1B-A2D6-84CCD0D2EA4B}" dt="2021-04-29T09:13:49.599" v="1895"/>
          <ac:spMkLst>
            <pc:docMk/>
            <pc:sldMk cId="782947647" sldId="1276"/>
            <ac:spMk id="37" creationId="{C4BE9CCD-C203-414F-B252-20F9929F8E62}"/>
          </ac:spMkLst>
        </pc:spChg>
      </pc:sldChg>
      <pc:sldChg chg="modSp">
        <pc:chgData name="Céline Felber" userId="03e6e5e3-26bd-4d3d-a86c-4e25438b18a3" providerId="ADAL" clId="{25CEA024-308C-4E1B-A2D6-84CCD0D2EA4B}" dt="2021-04-29T09:13:49.599" v="1895"/>
        <pc:sldMkLst>
          <pc:docMk/>
          <pc:sldMk cId="3332168581" sldId="1277"/>
        </pc:sldMkLst>
        <pc:spChg chg="mod">
          <ac:chgData name="Céline Felber" userId="03e6e5e3-26bd-4d3d-a86c-4e25438b18a3" providerId="ADAL" clId="{25CEA024-308C-4E1B-A2D6-84CCD0D2EA4B}" dt="2021-04-29T09:13:49.599" v="1895"/>
          <ac:spMkLst>
            <pc:docMk/>
            <pc:sldMk cId="3332168581" sldId="1277"/>
            <ac:spMk id="35" creationId="{2F00C498-6C91-4802-B79A-B21A351086B1}"/>
          </ac:spMkLst>
        </pc:spChg>
        <pc:spChg chg="mod">
          <ac:chgData name="Céline Felber" userId="03e6e5e3-26bd-4d3d-a86c-4e25438b18a3" providerId="ADAL" clId="{25CEA024-308C-4E1B-A2D6-84CCD0D2EA4B}" dt="2021-04-29T09:13:49.599" v="1895"/>
          <ac:spMkLst>
            <pc:docMk/>
            <pc:sldMk cId="3332168581" sldId="1277"/>
            <ac:spMk id="37" creationId="{C4BE9CCD-C203-414F-B252-20F9929F8E62}"/>
          </ac:spMkLst>
        </pc:spChg>
      </pc:sldChg>
      <pc:sldChg chg="modSp">
        <pc:chgData name="Céline Felber" userId="03e6e5e3-26bd-4d3d-a86c-4e25438b18a3" providerId="ADAL" clId="{25CEA024-308C-4E1B-A2D6-84CCD0D2EA4B}" dt="2021-04-29T09:13:49.599" v="1895"/>
        <pc:sldMkLst>
          <pc:docMk/>
          <pc:sldMk cId="2268086466" sldId="1278"/>
        </pc:sldMkLst>
        <pc:spChg chg="mod">
          <ac:chgData name="Céline Felber" userId="03e6e5e3-26bd-4d3d-a86c-4e25438b18a3" providerId="ADAL" clId="{25CEA024-308C-4E1B-A2D6-84CCD0D2EA4B}" dt="2021-04-29T09:13:49.599" v="1895"/>
          <ac:spMkLst>
            <pc:docMk/>
            <pc:sldMk cId="2268086466" sldId="1278"/>
            <ac:spMk id="35" creationId="{2F00C498-6C91-4802-B79A-B21A351086B1}"/>
          </ac:spMkLst>
        </pc:spChg>
        <pc:spChg chg="mod">
          <ac:chgData name="Céline Felber" userId="03e6e5e3-26bd-4d3d-a86c-4e25438b18a3" providerId="ADAL" clId="{25CEA024-308C-4E1B-A2D6-84CCD0D2EA4B}" dt="2021-04-29T09:13:49.599" v="1895"/>
          <ac:spMkLst>
            <pc:docMk/>
            <pc:sldMk cId="2268086466" sldId="1278"/>
            <ac:spMk id="37" creationId="{C4BE9CCD-C203-414F-B252-20F9929F8E62}"/>
          </ac:spMkLst>
        </pc:spChg>
      </pc:sldChg>
      <pc:sldChg chg="addSp delSp modSp mod">
        <pc:chgData name="Céline Felber" userId="03e6e5e3-26bd-4d3d-a86c-4e25438b18a3" providerId="ADAL" clId="{25CEA024-308C-4E1B-A2D6-84CCD0D2EA4B}" dt="2021-04-29T11:29:22.907" v="4867" actId="478"/>
        <pc:sldMkLst>
          <pc:docMk/>
          <pc:sldMk cId="3010360863" sldId="1280"/>
        </pc:sldMkLst>
        <pc:spChg chg="add del mod">
          <ac:chgData name="Céline Felber" userId="03e6e5e3-26bd-4d3d-a86c-4e25438b18a3" providerId="ADAL" clId="{25CEA024-308C-4E1B-A2D6-84CCD0D2EA4B}" dt="2021-04-29T11:29:22.907" v="4867" actId="478"/>
          <ac:spMkLst>
            <pc:docMk/>
            <pc:sldMk cId="3010360863" sldId="1280"/>
            <ac:spMk id="22" creationId="{1BBD7672-F3C6-4EC2-9AAB-470E9EB720D3}"/>
          </ac:spMkLst>
        </pc:spChg>
      </pc:sldChg>
      <pc:sldChg chg="modSp">
        <pc:chgData name="Céline Felber" userId="03e6e5e3-26bd-4d3d-a86c-4e25438b18a3" providerId="ADAL" clId="{25CEA024-308C-4E1B-A2D6-84CCD0D2EA4B}" dt="2021-04-29T09:13:49.599" v="1895"/>
        <pc:sldMkLst>
          <pc:docMk/>
          <pc:sldMk cId="3486765988" sldId="1281"/>
        </pc:sldMkLst>
        <pc:spChg chg="mod">
          <ac:chgData name="Céline Felber" userId="03e6e5e3-26bd-4d3d-a86c-4e25438b18a3" providerId="ADAL" clId="{25CEA024-308C-4E1B-A2D6-84CCD0D2EA4B}" dt="2021-04-29T09:13:49.599" v="1895"/>
          <ac:spMkLst>
            <pc:docMk/>
            <pc:sldMk cId="3486765988" sldId="1281"/>
            <ac:spMk id="35" creationId="{2F00C498-6C91-4802-B79A-B21A351086B1}"/>
          </ac:spMkLst>
        </pc:spChg>
        <pc:spChg chg="mod">
          <ac:chgData name="Céline Felber" userId="03e6e5e3-26bd-4d3d-a86c-4e25438b18a3" providerId="ADAL" clId="{25CEA024-308C-4E1B-A2D6-84CCD0D2EA4B}" dt="2021-04-29T09:13:49.599" v="1895"/>
          <ac:spMkLst>
            <pc:docMk/>
            <pc:sldMk cId="3486765988" sldId="1281"/>
            <ac:spMk id="37" creationId="{C4BE9CCD-C203-414F-B252-20F9929F8E62}"/>
          </ac:spMkLst>
        </pc:spChg>
      </pc:sldChg>
      <pc:sldChg chg="modSp">
        <pc:chgData name="Céline Felber" userId="03e6e5e3-26bd-4d3d-a86c-4e25438b18a3" providerId="ADAL" clId="{25CEA024-308C-4E1B-A2D6-84CCD0D2EA4B}" dt="2021-04-29T09:13:49.599" v="1895"/>
        <pc:sldMkLst>
          <pc:docMk/>
          <pc:sldMk cId="822394876" sldId="1282"/>
        </pc:sldMkLst>
        <pc:spChg chg="mod">
          <ac:chgData name="Céline Felber" userId="03e6e5e3-26bd-4d3d-a86c-4e25438b18a3" providerId="ADAL" clId="{25CEA024-308C-4E1B-A2D6-84CCD0D2EA4B}" dt="2021-04-29T09:13:49.599" v="1895"/>
          <ac:spMkLst>
            <pc:docMk/>
            <pc:sldMk cId="822394876" sldId="1282"/>
            <ac:spMk id="35" creationId="{2F00C498-6C91-4802-B79A-B21A351086B1}"/>
          </ac:spMkLst>
        </pc:spChg>
        <pc:spChg chg="mod">
          <ac:chgData name="Céline Felber" userId="03e6e5e3-26bd-4d3d-a86c-4e25438b18a3" providerId="ADAL" clId="{25CEA024-308C-4E1B-A2D6-84CCD0D2EA4B}" dt="2021-04-29T09:13:49.599" v="1895"/>
          <ac:spMkLst>
            <pc:docMk/>
            <pc:sldMk cId="822394876" sldId="1282"/>
            <ac:spMk id="37" creationId="{C4BE9CCD-C203-414F-B252-20F9929F8E62}"/>
          </ac:spMkLst>
        </pc:spChg>
      </pc:sldChg>
      <pc:sldChg chg="modSp">
        <pc:chgData name="Céline Felber" userId="03e6e5e3-26bd-4d3d-a86c-4e25438b18a3" providerId="ADAL" clId="{25CEA024-308C-4E1B-A2D6-84CCD0D2EA4B}" dt="2021-04-29T09:13:49.599" v="1895"/>
        <pc:sldMkLst>
          <pc:docMk/>
          <pc:sldMk cId="2092146857" sldId="1283"/>
        </pc:sldMkLst>
        <pc:spChg chg="mod">
          <ac:chgData name="Céline Felber" userId="03e6e5e3-26bd-4d3d-a86c-4e25438b18a3" providerId="ADAL" clId="{25CEA024-308C-4E1B-A2D6-84CCD0D2EA4B}" dt="2021-04-29T09:13:49.599" v="1895"/>
          <ac:spMkLst>
            <pc:docMk/>
            <pc:sldMk cId="2092146857" sldId="1283"/>
            <ac:spMk id="35" creationId="{2F00C498-6C91-4802-B79A-B21A351086B1}"/>
          </ac:spMkLst>
        </pc:spChg>
        <pc:spChg chg="mod">
          <ac:chgData name="Céline Felber" userId="03e6e5e3-26bd-4d3d-a86c-4e25438b18a3" providerId="ADAL" clId="{25CEA024-308C-4E1B-A2D6-84CCD0D2EA4B}" dt="2021-04-29T09:13:49.599" v="1895"/>
          <ac:spMkLst>
            <pc:docMk/>
            <pc:sldMk cId="2092146857" sldId="1283"/>
            <ac:spMk id="37" creationId="{C4BE9CCD-C203-414F-B252-20F9929F8E62}"/>
          </ac:spMkLst>
        </pc:spChg>
      </pc:sldChg>
      <pc:sldChg chg="modSp add mod">
        <pc:chgData name="Céline Felber" userId="03e6e5e3-26bd-4d3d-a86c-4e25438b18a3" providerId="ADAL" clId="{25CEA024-308C-4E1B-A2D6-84CCD0D2EA4B}" dt="2021-04-29T09:29:50.929" v="2614" actId="20577"/>
        <pc:sldMkLst>
          <pc:docMk/>
          <pc:sldMk cId="4185054735" sldId="1285"/>
        </pc:sldMkLst>
        <pc:spChg chg="mod">
          <ac:chgData name="Céline Felber" userId="03e6e5e3-26bd-4d3d-a86c-4e25438b18a3" providerId="ADAL" clId="{25CEA024-308C-4E1B-A2D6-84CCD0D2EA4B}" dt="2021-04-29T09:29:50.929" v="2614" actId="20577"/>
          <ac:spMkLst>
            <pc:docMk/>
            <pc:sldMk cId="4185054735" sldId="1285"/>
            <ac:spMk id="9" creationId="{0C2B2AB8-6896-40D7-929E-45176AC0F18E}"/>
          </ac:spMkLst>
        </pc:spChg>
        <pc:spChg chg="mod">
          <ac:chgData name="Céline Felber" userId="03e6e5e3-26bd-4d3d-a86c-4e25438b18a3" providerId="ADAL" clId="{25CEA024-308C-4E1B-A2D6-84CCD0D2EA4B}" dt="2021-04-29T09:12:33.797" v="1882" actId="1076"/>
          <ac:spMkLst>
            <pc:docMk/>
            <pc:sldMk cId="4185054735" sldId="1285"/>
            <ac:spMk id="10" creationId="{4ABA9E16-29FF-4F2C-A65A-AE9FF5E0F948}"/>
          </ac:spMkLst>
        </pc:spChg>
        <pc:spChg chg="mod">
          <ac:chgData name="Céline Felber" userId="03e6e5e3-26bd-4d3d-a86c-4e25438b18a3" providerId="ADAL" clId="{25CEA024-308C-4E1B-A2D6-84CCD0D2EA4B}" dt="2021-04-29T09:12:27.120" v="1879" actId="14100"/>
          <ac:spMkLst>
            <pc:docMk/>
            <pc:sldMk cId="4185054735" sldId="1285"/>
            <ac:spMk id="14" creationId="{E9F8D798-F5FA-4DBC-BE64-BC9059455EF3}"/>
          </ac:spMkLst>
        </pc:spChg>
        <pc:spChg chg="mod">
          <ac:chgData name="Céline Felber" userId="03e6e5e3-26bd-4d3d-a86c-4e25438b18a3" providerId="ADAL" clId="{25CEA024-308C-4E1B-A2D6-84CCD0D2EA4B}" dt="2021-04-29T09:12:20.205" v="1877" actId="14100"/>
          <ac:spMkLst>
            <pc:docMk/>
            <pc:sldMk cId="4185054735" sldId="1285"/>
            <ac:spMk id="15" creationId="{95DA076A-9B06-4DE7-9139-A0C7920B8F4E}"/>
          </ac:spMkLst>
        </pc:spChg>
        <pc:spChg chg="mod">
          <ac:chgData name="Céline Felber" userId="03e6e5e3-26bd-4d3d-a86c-4e25438b18a3" providerId="ADAL" clId="{25CEA024-308C-4E1B-A2D6-84CCD0D2EA4B}" dt="2021-04-29T09:13:49.599" v="1895"/>
          <ac:spMkLst>
            <pc:docMk/>
            <pc:sldMk cId="4185054735" sldId="1285"/>
            <ac:spMk id="17" creationId="{443D7FE0-F18F-4418-AF5A-0E4E4953DF76}"/>
          </ac:spMkLst>
        </pc:spChg>
      </pc:sldChg>
      <pc:sldChg chg="addSp delSp modSp add mod ord delAnim">
        <pc:chgData name="Céline Felber" userId="03e6e5e3-26bd-4d3d-a86c-4e25438b18a3" providerId="ADAL" clId="{25CEA024-308C-4E1B-A2D6-84CCD0D2EA4B}" dt="2021-04-29T09:36:42.027" v="2894" actId="1076"/>
        <pc:sldMkLst>
          <pc:docMk/>
          <pc:sldMk cId="1181025130" sldId="1286"/>
        </pc:sldMkLst>
        <pc:picChg chg="add mod">
          <ac:chgData name="Céline Felber" userId="03e6e5e3-26bd-4d3d-a86c-4e25438b18a3" providerId="ADAL" clId="{25CEA024-308C-4E1B-A2D6-84CCD0D2EA4B}" dt="2021-04-29T09:36:40.198" v="2893" actId="1076"/>
          <ac:picMkLst>
            <pc:docMk/>
            <pc:sldMk cId="1181025130" sldId="1286"/>
            <ac:picMk id="7" creationId="{632B343B-131F-43E5-B8BF-A4156597B354}"/>
          </ac:picMkLst>
        </pc:picChg>
        <pc:picChg chg="add mod">
          <ac:chgData name="Céline Felber" userId="03e6e5e3-26bd-4d3d-a86c-4e25438b18a3" providerId="ADAL" clId="{25CEA024-308C-4E1B-A2D6-84CCD0D2EA4B}" dt="2021-04-29T09:36:42.027" v="2894" actId="1076"/>
          <ac:picMkLst>
            <pc:docMk/>
            <pc:sldMk cId="1181025130" sldId="1286"/>
            <ac:picMk id="8" creationId="{66867F5F-1A8C-4BF5-91F3-DFC9328FA0DD}"/>
          </ac:picMkLst>
        </pc:picChg>
        <pc:picChg chg="del mod">
          <ac:chgData name="Céline Felber" userId="03e6e5e3-26bd-4d3d-a86c-4e25438b18a3" providerId="ADAL" clId="{25CEA024-308C-4E1B-A2D6-84CCD0D2EA4B}" dt="2021-04-29T09:36:11.721" v="2882" actId="478"/>
          <ac:picMkLst>
            <pc:docMk/>
            <pc:sldMk cId="1181025130" sldId="1286"/>
            <ac:picMk id="10" creationId="{81EF2E3A-F04B-48D1-9819-50802858CAFB}"/>
          </ac:picMkLst>
        </pc:picChg>
        <pc:picChg chg="del">
          <ac:chgData name="Céline Felber" userId="03e6e5e3-26bd-4d3d-a86c-4e25438b18a3" providerId="ADAL" clId="{25CEA024-308C-4E1B-A2D6-84CCD0D2EA4B}" dt="2021-04-29T09:36:13.065" v="2883" actId="478"/>
          <ac:picMkLst>
            <pc:docMk/>
            <pc:sldMk cId="1181025130" sldId="1286"/>
            <ac:picMk id="11" creationId="{235CF679-7204-417A-9EDC-85929865B619}"/>
          </ac:picMkLst>
        </pc:picChg>
      </pc:sldChg>
      <pc:sldChg chg="add del">
        <pc:chgData name="Céline Felber" userId="03e6e5e3-26bd-4d3d-a86c-4e25438b18a3" providerId="ADAL" clId="{25CEA024-308C-4E1B-A2D6-84CCD0D2EA4B}" dt="2021-04-29T09:13:19.542" v="1889"/>
        <pc:sldMkLst>
          <pc:docMk/>
          <pc:sldMk cId="2979560643" sldId="1286"/>
        </pc:sldMkLst>
      </pc:sldChg>
      <pc:sldChg chg="addSp delSp modSp add mod delAnim modAnim">
        <pc:chgData name="Céline Felber" userId="03e6e5e3-26bd-4d3d-a86c-4e25438b18a3" providerId="ADAL" clId="{25CEA024-308C-4E1B-A2D6-84CCD0D2EA4B}" dt="2021-04-29T10:04:27.905" v="3263" actId="1076"/>
        <pc:sldMkLst>
          <pc:docMk/>
          <pc:sldMk cId="1593946341" sldId="1287"/>
        </pc:sldMkLst>
        <pc:spChg chg="add del mod">
          <ac:chgData name="Céline Felber" userId="03e6e5e3-26bd-4d3d-a86c-4e25438b18a3" providerId="ADAL" clId="{25CEA024-308C-4E1B-A2D6-84CCD0D2EA4B}" dt="2021-04-29T10:04:02.631" v="3259" actId="478"/>
          <ac:spMkLst>
            <pc:docMk/>
            <pc:sldMk cId="1593946341" sldId="1287"/>
            <ac:spMk id="3" creationId="{A2A5C4BA-83AF-48EE-A23F-53AC864F3325}"/>
          </ac:spMkLst>
        </pc:spChg>
        <pc:spChg chg="mod">
          <ac:chgData name="Céline Felber" userId="03e6e5e3-26bd-4d3d-a86c-4e25438b18a3" providerId="ADAL" clId="{25CEA024-308C-4E1B-A2D6-84CCD0D2EA4B}" dt="2021-04-29T09:52:32.376" v="3128" actId="20577"/>
          <ac:spMkLst>
            <pc:docMk/>
            <pc:sldMk cId="1593946341" sldId="1287"/>
            <ac:spMk id="11" creationId="{C619EA10-47CE-4B1A-BAA4-797664F8BA40}"/>
          </ac:spMkLst>
        </pc:spChg>
        <pc:spChg chg="add del mod">
          <ac:chgData name="Céline Felber" userId="03e6e5e3-26bd-4d3d-a86c-4e25438b18a3" providerId="ADAL" clId="{25CEA024-308C-4E1B-A2D6-84CCD0D2EA4B}" dt="2021-04-29T10:04:02.631" v="3259" actId="478"/>
          <ac:spMkLst>
            <pc:docMk/>
            <pc:sldMk cId="1593946341" sldId="1287"/>
            <ac:spMk id="20" creationId="{A2E7BC45-94E5-4748-8F01-9EBCF8B1029F}"/>
          </ac:spMkLst>
        </pc:spChg>
        <pc:spChg chg="add mod">
          <ac:chgData name="Céline Felber" userId="03e6e5e3-26bd-4d3d-a86c-4e25438b18a3" providerId="ADAL" clId="{25CEA024-308C-4E1B-A2D6-84CCD0D2EA4B}" dt="2021-04-29T10:04:10.589" v="3260" actId="164"/>
          <ac:spMkLst>
            <pc:docMk/>
            <pc:sldMk cId="1593946341" sldId="1287"/>
            <ac:spMk id="21" creationId="{6EF2C1FF-DABD-455D-AD7D-CFE34D23AEB9}"/>
          </ac:spMkLst>
        </pc:spChg>
        <pc:spChg chg="add del mod">
          <ac:chgData name="Céline Felber" userId="03e6e5e3-26bd-4d3d-a86c-4e25438b18a3" providerId="ADAL" clId="{25CEA024-308C-4E1B-A2D6-84CCD0D2EA4B}" dt="2021-04-29T10:04:02.631" v="3259" actId="478"/>
          <ac:spMkLst>
            <pc:docMk/>
            <pc:sldMk cId="1593946341" sldId="1287"/>
            <ac:spMk id="24" creationId="{1B335687-6EBA-4390-B23E-66224647EABE}"/>
          </ac:spMkLst>
        </pc:spChg>
        <pc:spChg chg="add del mod">
          <ac:chgData name="Céline Felber" userId="03e6e5e3-26bd-4d3d-a86c-4e25438b18a3" providerId="ADAL" clId="{25CEA024-308C-4E1B-A2D6-84CCD0D2EA4B}" dt="2021-04-29T10:04:02.631" v="3259" actId="478"/>
          <ac:spMkLst>
            <pc:docMk/>
            <pc:sldMk cId="1593946341" sldId="1287"/>
            <ac:spMk id="25" creationId="{25CB94B3-218E-4184-900C-3EC93C1FBEF0}"/>
          </ac:spMkLst>
        </pc:spChg>
        <pc:spChg chg="del">
          <ac:chgData name="Céline Felber" userId="03e6e5e3-26bd-4d3d-a86c-4e25438b18a3" providerId="ADAL" clId="{25CEA024-308C-4E1B-A2D6-84CCD0D2EA4B}" dt="2021-04-29T09:45:24.698" v="2969" actId="478"/>
          <ac:spMkLst>
            <pc:docMk/>
            <pc:sldMk cId="1593946341" sldId="1287"/>
            <ac:spMk id="27" creationId="{AE2BC08F-FA58-4940-9393-53DE6FD46FE7}"/>
          </ac:spMkLst>
        </pc:spChg>
        <pc:spChg chg="del">
          <ac:chgData name="Céline Felber" userId="03e6e5e3-26bd-4d3d-a86c-4e25438b18a3" providerId="ADAL" clId="{25CEA024-308C-4E1B-A2D6-84CCD0D2EA4B}" dt="2021-04-29T09:45:24.698" v="2969" actId="478"/>
          <ac:spMkLst>
            <pc:docMk/>
            <pc:sldMk cId="1593946341" sldId="1287"/>
            <ac:spMk id="28" creationId="{275A368B-3362-429D-B6BC-8BC39E233126}"/>
          </ac:spMkLst>
        </pc:spChg>
        <pc:spChg chg="del">
          <ac:chgData name="Céline Felber" userId="03e6e5e3-26bd-4d3d-a86c-4e25438b18a3" providerId="ADAL" clId="{25CEA024-308C-4E1B-A2D6-84CCD0D2EA4B}" dt="2021-04-29T09:45:24.698" v="2969" actId="478"/>
          <ac:spMkLst>
            <pc:docMk/>
            <pc:sldMk cId="1593946341" sldId="1287"/>
            <ac:spMk id="29" creationId="{B9A7204A-B6A2-48B9-9E5C-C27CD38988EA}"/>
          </ac:spMkLst>
        </pc:spChg>
        <pc:spChg chg="del">
          <ac:chgData name="Céline Felber" userId="03e6e5e3-26bd-4d3d-a86c-4e25438b18a3" providerId="ADAL" clId="{25CEA024-308C-4E1B-A2D6-84CCD0D2EA4B}" dt="2021-04-29T09:45:24.698" v="2969" actId="478"/>
          <ac:spMkLst>
            <pc:docMk/>
            <pc:sldMk cId="1593946341" sldId="1287"/>
            <ac:spMk id="30" creationId="{A92E1B01-78E2-4197-86A6-0A2E63DBEA55}"/>
          </ac:spMkLst>
        </pc:spChg>
        <pc:spChg chg="del">
          <ac:chgData name="Céline Felber" userId="03e6e5e3-26bd-4d3d-a86c-4e25438b18a3" providerId="ADAL" clId="{25CEA024-308C-4E1B-A2D6-84CCD0D2EA4B}" dt="2021-04-29T09:45:24.698" v="2969" actId="478"/>
          <ac:spMkLst>
            <pc:docMk/>
            <pc:sldMk cId="1593946341" sldId="1287"/>
            <ac:spMk id="31" creationId="{F3F288EC-9FF6-4729-9FD1-DBE5BC040BE7}"/>
          </ac:spMkLst>
        </pc:spChg>
        <pc:spChg chg="del">
          <ac:chgData name="Céline Felber" userId="03e6e5e3-26bd-4d3d-a86c-4e25438b18a3" providerId="ADAL" clId="{25CEA024-308C-4E1B-A2D6-84CCD0D2EA4B}" dt="2021-04-29T09:45:24.698" v="2969" actId="478"/>
          <ac:spMkLst>
            <pc:docMk/>
            <pc:sldMk cId="1593946341" sldId="1287"/>
            <ac:spMk id="32" creationId="{3139AA62-1520-414E-8415-624BC388D4E1}"/>
          </ac:spMkLst>
        </pc:spChg>
        <pc:spChg chg="del">
          <ac:chgData name="Céline Felber" userId="03e6e5e3-26bd-4d3d-a86c-4e25438b18a3" providerId="ADAL" clId="{25CEA024-308C-4E1B-A2D6-84CCD0D2EA4B}" dt="2021-04-29T09:45:24.698" v="2969" actId="478"/>
          <ac:spMkLst>
            <pc:docMk/>
            <pc:sldMk cId="1593946341" sldId="1287"/>
            <ac:spMk id="33" creationId="{BCADAB94-4433-40A8-BF05-679DFDB3B580}"/>
          </ac:spMkLst>
        </pc:spChg>
        <pc:spChg chg="del">
          <ac:chgData name="Céline Felber" userId="03e6e5e3-26bd-4d3d-a86c-4e25438b18a3" providerId="ADAL" clId="{25CEA024-308C-4E1B-A2D6-84CCD0D2EA4B}" dt="2021-04-29T09:45:24.698" v="2969" actId="478"/>
          <ac:spMkLst>
            <pc:docMk/>
            <pc:sldMk cId="1593946341" sldId="1287"/>
            <ac:spMk id="34" creationId="{AD6D9776-296D-4E3C-9234-2BDD7D295FF8}"/>
          </ac:spMkLst>
        </pc:spChg>
        <pc:spChg chg="add del mod">
          <ac:chgData name="Céline Felber" userId="03e6e5e3-26bd-4d3d-a86c-4e25438b18a3" providerId="ADAL" clId="{25CEA024-308C-4E1B-A2D6-84CCD0D2EA4B}" dt="2021-04-29T10:04:02.631" v="3259" actId="478"/>
          <ac:spMkLst>
            <pc:docMk/>
            <pc:sldMk cId="1593946341" sldId="1287"/>
            <ac:spMk id="35" creationId="{994980D8-1763-462B-92F8-A5E165A595CD}"/>
          </ac:spMkLst>
        </pc:spChg>
        <pc:spChg chg="add mod">
          <ac:chgData name="Céline Felber" userId="03e6e5e3-26bd-4d3d-a86c-4e25438b18a3" providerId="ADAL" clId="{25CEA024-308C-4E1B-A2D6-84CCD0D2EA4B}" dt="2021-04-29T10:04:10.589" v="3260" actId="164"/>
          <ac:spMkLst>
            <pc:docMk/>
            <pc:sldMk cId="1593946341" sldId="1287"/>
            <ac:spMk id="36" creationId="{44D3489F-2B54-4080-A4F6-18230F3B7081}"/>
          </ac:spMkLst>
        </pc:spChg>
        <pc:spChg chg="add del mod">
          <ac:chgData name="Céline Felber" userId="03e6e5e3-26bd-4d3d-a86c-4e25438b18a3" providerId="ADAL" clId="{25CEA024-308C-4E1B-A2D6-84CCD0D2EA4B}" dt="2021-04-29T10:03:36.795" v="3252" actId="478"/>
          <ac:spMkLst>
            <pc:docMk/>
            <pc:sldMk cId="1593946341" sldId="1287"/>
            <ac:spMk id="37" creationId="{3D3B425D-92AF-4977-AA32-31D1D7240E11}"/>
          </ac:spMkLst>
        </pc:spChg>
        <pc:spChg chg="add mod">
          <ac:chgData name="Céline Felber" userId="03e6e5e3-26bd-4d3d-a86c-4e25438b18a3" providerId="ADAL" clId="{25CEA024-308C-4E1B-A2D6-84CCD0D2EA4B}" dt="2021-04-29T10:04:10.589" v="3260" actId="164"/>
          <ac:spMkLst>
            <pc:docMk/>
            <pc:sldMk cId="1593946341" sldId="1287"/>
            <ac:spMk id="38" creationId="{683AB757-9064-4D13-8D12-E8240260DE31}"/>
          </ac:spMkLst>
        </pc:spChg>
        <pc:spChg chg="add del mod">
          <ac:chgData name="Céline Felber" userId="03e6e5e3-26bd-4d3d-a86c-4e25438b18a3" providerId="ADAL" clId="{25CEA024-308C-4E1B-A2D6-84CCD0D2EA4B}" dt="2021-04-29T10:04:02.631" v="3259" actId="478"/>
          <ac:spMkLst>
            <pc:docMk/>
            <pc:sldMk cId="1593946341" sldId="1287"/>
            <ac:spMk id="39" creationId="{4F12B4DC-895F-4F8C-BD6E-92292B562E9C}"/>
          </ac:spMkLst>
        </pc:spChg>
        <pc:spChg chg="add del mod">
          <ac:chgData name="Céline Felber" userId="03e6e5e3-26bd-4d3d-a86c-4e25438b18a3" providerId="ADAL" clId="{25CEA024-308C-4E1B-A2D6-84CCD0D2EA4B}" dt="2021-04-29T10:04:02.631" v="3259" actId="478"/>
          <ac:spMkLst>
            <pc:docMk/>
            <pc:sldMk cId="1593946341" sldId="1287"/>
            <ac:spMk id="40" creationId="{1F673799-48B7-4316-871B-B9397E443093}"/>
          </ac:spMkLst>
        </pc:spChg>
        <pc:spChg chg="add mod">
          <ac:chgData name="Céline Felber" userId="03e6e5e3-26bd-4d3d-a86c-4e25438b18a3" providerId="ADAL" clId="{25CEA024-308C-4E1B-A2D6-84CCD0D2EA4B}" dt="2021-04-29T10:04:10.589" v="3260" actId="164"/>
          <ac:spMkLst>
            <pc:docMk/>
            <pc:sldMk cId="1593946341" sldId="1287"/>
            <ac:spMk id="43" creationId="{921CCF4E-975F-4CB3-9D7E-0444EA0CDFA8}"/>
          </ac:spMkLst>
        </pc:spChg>
        <pc:grpChg chg="del">
          <ac:chgData name="Céline Felber" userId="03e6e5e3-26bd-4d3d-a86c-4e25438b18a3" providerId="ADAL" clId="{25CEA024-308C-4E1B-A2D6-84CCD0D2EA4B}" dt="2021-04-29T09:45:24.698" v="2969" actId="478"/>
          <ac:grpSpMkLst>
            <pc:docMk/>
            <pc:sldMk cId="1593946341" sldId="1287"/>
            <ac:grpSpMk id="2" creationId="{0FC65639-85DD-4D7E-A9CF-48D3E574691C}"/>
          </ac:grpSpMkLst>
        </pc:grpChg>
        <pc:grpChg chg="add mod">
          <ac:chgData name="Céline Felber" userId="03e6e5e3-26bd-4d3d-a86c-4e25438b18a3" providerId="ADAL" clId="{25CEA024-308C-4E1B-A2D6-84CCD0D2EA4B}" dt="2021-04-29T10:04:27.905" v="3263" actId="1076"/>
          <ac:grpSpMkLst>
            <pc:docMk/>
            <pc:sldMk cId="1593946341" sldId="1287"/>
            <ac:grpSpMk id="4" creationId="{2FEA1BE9-6A2C-40C1-92D5-429483F6A0AC}"/>
          </ac:grpSpMkLst>
        </pc:grpChg>
        <pc:picChg chg="add del mod modCrop">
          <ac:chgData name="Céline Felber" userId="03e6e5e3-26bd-4d3d-a86c-4e25438b18a3" providerId="ADAL" clId="{25CEA024-308C-4E1B-A2D6-84CCD0D2EA4B}" dt="2021-04-29T10:04:02.631" v="3259" actId="478"/>
          <ac:picMkLst>
            <pc:docMk/>
            <pc:sldMk cId="1593946341" sldId="1287"/>
            <ac:picMk id="18" creationId="{1EABC3F1-F4BF-4964-92D1-CC0275C034BC}"/>
          </ac:picMkLst>
        </pc:picChg>
        <pc:picChg chg="add del mod modCrop">
          <ac:chgData name="Céline Felber" userId="03e6e5e3-26bd-4d3d-a86c-4e25438b18a3" providerId="ADAL" clId="{25CEA024-308C-4E1B-A2D6-84CCD0D2EA4B}" dt="2021-04-29T10:04:02.631" v="3259" actId="478"/>
          <ac:picMkLst>
            <pc:docMk/>
            <pc:sldMk cId="1593946341" sldId="1287"/>
            <ac:picMk id="19" creationId="{1E320CB6-000D-482E-B247-EB6A94140FE8}"/>
          </ac:picMkLst>
        </pc:picChg>
        <pc:picChg chg="del">
          <ac:chgData name="Céline Felber" userId="03e6e5e3-26bd-4d3d-a86c-4e25438b18a3" providerId="ADAL" clId="{25CEA024-308C-4E1B-A2D6-84CCD0D2EA4B}" dt="2021-04-29T09:45:24.698" v="2969" actId="478"/>
          <ac:picMkLst>
            <pc:docMk/>
            <pc:sldMk cId="1593946341" sldId="1287"/>
            <ac:picMk id="26" creationId="{0A08A896-903B-4C4B-B239-AEFC8CBE07EB}"/>
          </ac:picMkLst>
        </pc:picChg>
        <pc:picChg chg="add del mod modCrop">
          <ac:chgData name="Céline Felber" userId="03e6e5e3-26bd-4d3d-a86c-4e25438b18a3" providerId="ADAL" clId="{25CEA024-308C-4E1B-A2D6-84CCD0D2EA4B}" dt="2021-04-29T09:58:17.932" v="3148" actId="478"/>
          <ac:picMkLst>
            <pc:docMk/>
            <pc:sldMk cId="1593946341" sldId="1287"/>
            <ac:picMk id="41" creationId="{C67DC89E-067A-4934-9C8B-163D620635F6}"/>
          </ac:picMkLst>
        </pc:picChg>
        <pc:picChg chg="add mod ord modCrop">
          <ac:chgData name="Céline Felber" userId="03e6e5e3-26bd-4d3d-a86c-4e25438b18a3" providerId="ADAL" clId="{25CEA024-308C-4E1B-A2D6-84CCD0D2EA4B}" dt="2021-04-29T10:04:21.464" v="3262" actId="732"/>
          <ac:picMkLst>
            <pc:docMk/>
            <pc:sldMk cId="1593946341" sldId="1287"/>
            <ac:picMk id="42" creationId="{847E9438-3FF1-489E-A17F-FA5729D7449D}"/>
          </ac:picMkLst>
        </pc:picChg>
      </pc:sldChg>
      <pc:sldChg chg="addSp delSp modSp add del mod ord delAnim modAnim">
        <pc:chgData name="Céline Felber" userId="03e6e5e3-26bd-4d3d-a86c-4e25438b18a3" providerId="ADAL" clId="{25CEA024-308C-4E1B-A2D6-84CCD0D2EA4B}" dt="2021-04-29T09:44:50.044" v="2964" actId="47"/>
        <pc:sldMkLst>
          <pc:docMk/>
          <pc:sldMk cId="2570768708" sldId="1287"/>
        </pc:sldMkLst>
        <pc:spChg chg="del mod">
          <ac:chgData name="Céline Felber" userId="03e6e5e3-26bd-4d3d-a86c-4e25438b18a3" providerId="ADAL" clId="{25CEA024-308C-4E1B-A2D6-84CCD0D2EA4B}" dt="2021-04-29T09:44:23.399" v="2958" actId="21"/>
          <ac:spMkLst>
            <pc:docMk/>
            <pc:sldMk cId="2570768708" sldId="1287"/>
            <ac:spMk id="4" creationId="{10B17486-C462-409F-B4CD-F9985C68DA45}"/>
          </ac:spMkLst>
        </pc:spChg>
        <pc:spChg chg="del mod">
          <ac:chgData name="Céline Felber" userId="03e6e5e3-26bd-4d3d-a86c-4e25438b18a3" providerId="ADAL" clId="{25CEA024-308C-4E1B-A2D6-84CCD0D2EA4B}" dt="2021-04-29T09:44:23.399" v="2958" actId="21"/>
          <ac:spMkLst>
            <pc:docMk/>
            <pc:sldMk cId="2570768708" sldId="1287"/>
            <ac:spMk id="7" creationId="{929059E7-4F43-478E-8307-E7B4E29AE97B}"/>
          </ac:spMkLst>
        </pc:spChg>
        <pc:spChg chg="del mod">
          <ac:chgData name="Céline Felber" userId="03e6e5e3-26bd-4d3d-a86c-4e25438b18a3" providerId="ADAL" clId="{25CEA024-308C-4E1B-A2D6-84CCD0D2EA4B}" dt="2021-04-29T09:38:43.659" v="2911" actId="478"/>
          <ac:spMkLst>
            <pc:docMk/>
            <pc:sldMk cId="2570768708" sldId="1287"/>
            <ac:spMk id="9" creationId="{C882F3F1-2EE0-4E49-980C-2026E2FC4BCE}"/>
          </ac:spMkLst>
        </pc:spChg>
        <pc:spChg chg="add del mod">
          <ac:chgData name="Céline Felber" userId="03e6e5e3-26bd-4d3d-a86c-4e25438b18a3" providerId="ADAL" clId="{25CEA024-308C-4E1B-A2D6-84CCD0D2EA4B}" dt="2021-04-29T09:38:34.279" v="2908"/>
          <ac:spMkLst>
            <pc:docMk/>
            <pc:sldMk cId="2570768708" sldId="1287"/>
            <ac:spMk id="18" creationId="{649FE060-8371-4805-A705-4285CA2A4705}"/>
          </ac:spMkLst>
        </pc:spChg>
        <pc:spChg chg="add mod">
          <ac:chgData name="Céline Felber" userId="03e6e5e3-26bd-4d3d-a86c-4e25438b18a3" providerId="ADAL" clId="{25CEA024-308C-4E1B-A2D6-84CCD0D2EA4B}" dt="2021-04-29T09:38:38.815" v="2910"/>
          <ac:spMkLst>
            <pc:docMk/>
            <pc:sldMk cId="2570768708" sldId="1287"/>
            <ac:spMk id="19" creationId="{D41B8EA4-2E00-42F8-888E-20189DA7E8BF}"/>
          </ac:spMkLst>
        </pc:spChg>
        <pc:spChg chg="add del mod">
          <ac:chgData name="Céline Felber" userId="03e6e5e3-26bd-4d3d-a86c-4e25438b18a3" providerId="ADAL" clId="{25CEA024-308C-4E1B-A2D6-84CCD0D2EA4B}" dt="2021-04-29T09:44:23.399" v="2958" actId="21"/>
          <ac:spMkLst>
            <pc:docMk/>
            <pc:sldMk cId="2570768708" sldId="1287"/>
            <ac:spMk id="20" creationId="{1F633223-84D2-4216-84BA-01C84FA24C1F}"/>
          </ac:spMkLst>
        </pc:spChg>
        <pc:spChg chg="add del mod">
          <ac:chgData name="Céline Felber" userId="03e6e5e3-26bd-4d3d-a86c-4e25438b18a3" providerId="ADAL" clId="{25CEA024-308C-4E1B-A2D6-84CCD0D2EA4B}" dt="2021-04-29T09:44:23.399" v="2958" actId="21"/>
          <ac:spMkLst>
            <pc:docMk/>
            <pc:sldMk cId="2570768708" sldId="1287"/>
            <ac:spMk id="23" creationId="{49257594-28DE-4E13-852C-80BA4CBC0485}"/>
          </ac:spMkLst>
        </pc:spChg>
        <pc:spChg chg="add del mod">
          <ac:chgData name="Céline Felber" userId="03e6e5e3-26bd-4d3d-a86c-4e25438b18a3" providerId="ADAL" clId="{25CEA024-308C-4E1B-A2D6-84CCD0D2EA4B}" dt="2021-04-29T09:44:23.399" v="2958" actId="21"/>
          <ac:spMkLst>
            <pc:docMk/>
            <pc:sldMk cId="2570768708" sldId="1287"/>
            <ac:spMk id="24" creationId="{822C0D24-4715-4E80-9852-152DBBC73E18}"/>
          </ac:spMkLst>
        </pc:spChg>
        <pc:spChg chg="add del mod">
          <ac:chgData name="Céline Felber" userId="03e6e5e3-26bd-4d3d-a86c-4e25438b18a3" providerId="ADAL" clId="{25CEA024-308C-4E1B-A2D6-84CCD0D2EA4B}" dt="2021-04-29T09:44:23.399" v="2958" actId="21"/>
          <ac:spMkLst>
            <pc:docMk/>
            <pc:sldMk cId="2570768708" sldId="1287"/>
            <ac:spMk id="25" creationId="{C3E07D55-7975-4CD9-AD9E-6D9549D34C49}"/>
          </ac:spMkLst>
        </pc:spChg>
        <pc:spChg chg="add del mod">
          <ac:chgData name="Céline Felber" userId="03e6e5e3-26bd-4d3d-a86c-4e25438b18a3" providerId="ADAL" clId="{25CEA024-308C-4E1B-A2D6-84CCD0D2EA4B}" dt="2021-04-29T09:44:23.399" v="2958" actId="21"/>
          <ac:spMkLst>
            <pc:docMk/>
            <pc:sldMk cId="2570768708" sldId="1287"/>
            <ac:spMk id="26" creationId="{40698661-7591-4CA3-9808-28634F1529D0}"/>
          </ac:spMkLst>
        </pc:spChg>
        <pc:spChg chg="add del mod">
          <ac:chgData name="Céline Felber" userId="03e6e5e3-26bd-4d3d-a86c-4e25438b18a3" providerId="ADAL" clId="{25CEA024-308C-4E1B-A2D6-84CCD0D2EA4B}" dt="2021-04-29T09:44:23.399" v="2958" actId="21"/>
          <ac:spMkLst>
            <pc:docMk/>
            <pc:sldMk cId="2570768708" sldId="1287"/>
            <ac:spMk id="27" creationId="{1BF57439-3731-4BE9-B9AE-9FEC7A809A78}"/>
          </ac:spMkLst>
        </pc:spChg>
        <pc:picChg chg="del mod">
          <ac:chgData name="Céline Felber" userId="03e6e5e3-26bd-4d3d-a86c-4e25438b18a3" providerId="ADAL" clId="{25CEA024-308C-4E1B-A2D6-84CCD0D2EA4B}" dt="2021-04-29T09:41:11.209" v="2914" actId="478"/>
          <ac:picMkLst>
            <pc:docMk/>
            <pc:sldMk cId="2570768708" sldId="1287"/>
            <ac:picMk id="2" creationId="{07F73513-FDFA-4C25-A107-83A9A2FA9B84}"/>
          </ac:picMkLst>
        </pc:picChg>
        <pc:picChg chg="del">
          <ac:chgData name="Céline Felber" userId="03e6e5e3-26bd-4d3d-a86c-4e25438b18a3" providerId="ADAL" clId="{25CEA024-308C-4E1B-A2D6-84CCD0D2EA4B}" dt="2021-04-29T09:37:56.288" v="2902" actId="478"/>
          <ac:picMkLst>
            <pc:docMk/>
            <pc:sldMk cId="2570768708" sldId="1287"/>
            <ac:picMk id="3" creationId="{76488F9A-1F9E-4DAE-9867-46B756BF20DF}"/>
          </ac:picMkLst>
        </pc:picChg>
        <pc:picChg chg="del">
          <ac:chgData name="Céline Felber" userId="03e6e5e3-26bd-4d3d-a86c-4e25438b18a3" providerId="ADAL" clId="{25CEA024-308C-4E1B-A2D6-84CCD0D2EA4B}" dt="2021-04-29T09:37:58.849" v="2904" actId="478"/>
          <ac:picMkLst>
            <pc:docMk/>
            <pc:sldMk cId="2570768708" sldId="1287"/>
            <ac:picMk id="5" creationId="{3BE67BC5-8A57-4299-9893-AC2E062F1B9E}"/>
          </ac:picMkLst>
        </pc:picChg>
        <pc:picChg chg="add del mod ord">
          <ac:chgData name="Céline Felber" userId="03e6e5e3-26bd-4d3d-a86c-4e25438b18a3" providerId="ADAL" clId="{25CEA024-308C-4E1B-A2D6-84CCD0D2EA4B}" dt="2021-04-29T09:44:23.399" v="2958" actId="21"/>
          <ac:picMkLst>
            <pc:docMk/>
            <pc:sldMk cId="2570768708" sldId="1287"/>
            <ac:picMk id="8" creationId="{BAA6F5B5-8E9D-460C-BF2C-BFBA8665FBD9}"/>
          </ac:picMkLst>
        </pc:picChg>
        <pc:picChg chg="del">
          <ac:chgData name="Céline Felber" userId="03e6e5e3-26bd-4d3d-a86c-4e25438b18a3" providerId="ADAL" clId="{25CEA024-308C-4E1B-A2D6-84CCD0D2EA4B}" dt="2021-04-29T09:37:55.045" v="2901" actId="478"/>
          <ac:picMkLst>
            <pc:docMk/>
            <pc:sldMk cId="2570768708" sldId="1287"/>
            <ac:picMk id="11" creationId="{AFA3FA81-05F7-4762-86F2-38D827B5EF20}"/>
          </ac:picMkLst>
        </pc:picChg>
        <pc:picChg chg="del">
          <ac:chgData name="Céline Felber" userId="03e6e5e3-26bd-4d3d-a86c-4e25438b18a3" providerId="ADAL" clId="{25CEA024-308C-4E1B-A2D6-84CCD0D2EA4B}" dt="2021-04-29T09:37:57.896" v="2903" actId="478"/>
          <ac:picMkLst>
            <pc:docMk/>
            <pc:sldMk cId="2570768708" sldId="1287"/>
            <ac:picMk id="12" creationId="{B65EBCD7-A87B-4754-9636-E64AD53BBB8B}"/>
          </ac:picMkLst>
        </pc:picChg>
        <pc:picChg chg="del">
          <ac:chgData name="Céline Felber" userId="03e6e5e3-26bd-4d3d-a86c-4e25438b18a3" providerId="ADAL" clId="{25CEA024-308C-4E1B-A2D6-84CCD0D2EA4B}" dt="2021-04-29T09:37:53.741" v="2900" actId="478"/>
          <ac:picMkLst>
            <pc:docMk/>
            <pc:sldMk cId="2570768708" sldId="1287"/>
            <ac:picMk id="16" creationId="{3D5D131F-D984-42D7-9629-3C68B5E27C00}"/>
          </ac:picMkLst>
        </pc:picChg>
        <pc:picChg chg="del mod">
          <ac:chgData name="Céline Felber" userId="03e6e5e3-26bd-4d3d-a86c-4e25438b18a3" providerId="ADAL" clId="{25CEA024-308C-4E1B-A2D6-84CCD0D2EA4B}" dt="2021-04-29T09:37:52.661" v="2899" actId="478"/>
          <ac:picMkLst>
            <pc:docMk/>
            <pc:sldMk cId="2570768708" sldId="1287"/>
            <ac:picMk id="17" creationId="{C04E39F4-E0F8-43BE-80A0-A04226B99A34}"/>
          </ac:picMkLst>
        </pc:picChg>
        <pc:cxnChg chg="del mod">
          <ac:chgData name="Céline Felber" userId="03e6e5e3-26bd-4d3d-a86c-4e25438b18a3" providerId="ADAL" clId="{25CEA024-308C-4E1B-A2D6-84CCD0D2EA4B}" dt="2021-04-29T09:38:43.659" v="2911" actId="478"/>
          <ac:cxnSpMkLst>
            <pc:docMk/>
            <pc:sldMk cId="2570768708" sldId="1287"/>
            <ac:cxnSpMk id="10" creationId="{310F5072-A20E-454F-B0E9-041D17A5F841}"/>
          </ac:cxnSpMkLst>
        </pc:cxnChg>
        <pc:cxnChg chg="del mod">
          <ac:chgData name="Céline Felber" userId="03e6e5e3-26bd-4d3d-a86c-4e25438b18a3" providerId="ADAL" clId="{25CEA024-308C-4E1B-A2D6-84CCD0D2EA4B}" dt="2021-04-29T09:38:43.659" v="2911" actId="478"/>
          <ac:cxnSpMkLst>
            <pc:docMk/>
            <pc:sldMk cId="2570768708" sldId="1287"/>
            <ac:cxnSpMk id="15" creationId="{66630A2A-7F29-4A0B-9A35-0D9172E79738}"/>
          </ac:cxnSpMkLst>
        </pc:cxnChg>
      </pc:sldChg>
      <pc:sldChg chg="add ord">
        <pc:chgData name="Céline Felber" userId="03e6e5e3-26bd-4d3d-a86c-4e25438b18a3" providerId="ADAL" clId="{25CEA024-308C-4E1B-A2D6-84CCD0D2EA4B}" dt="2021-04-29T10:05:09.111" v="3266"/>
        <pc:sldMkLst>
          <pc:docMk/>
          <pc:sldMk cId="3549447166" sldId="1288"/>
        </pc:sldMkLst>
      </pc:sldChg>
      <pc:sldChg chg="addSp delSp add del mod delAnim">
        <pc:chgData name="Céline Felber" userId="03e6e5e3-26bd-4d3d-a86c-4e25438b18a3" providerId="ADAL" clId="{25CEA024-308C-4E1B-A2D6-84CCD0D2EA4B}" dt="2021-04-29T09:56:05.948" v="3143" actId="47"/>
        <pc:sldMkLst>
          <pc:docMk/>
          <pc:sldMk cId="4056101064" sldId="1288"/>
        </pc:sldMkLst>
        <pc:picChg chg="add del">
          <ac:chgData name="Céline Felber" userId="03e6e5e3-26bd-4d3d-a86c-4e25438b18a3" providerId="ADAL" clId="{25CEA024-308C-4E1B-A2D6-84CCD0D2EA4B}" dt="2021-04-29T09:56:00.956" v="3142" actId="478"/>
          <ac:picMkLst>
            <pc:docMk/>
            <pc:sldMk cId="4056101064" sldId="1288"/>
            <ac:picMk id="25" creationId="{D583A5D8-E54C-43A9-BA25-B49DAA51232A}"/>
          </ac:picMkLst>
        </pc:picChg>
        <pc:picChg chg="del">
          <ac:chgData name="Céline Felber" userId="03e6e5e3-26bd-4d3d-a86c-4e25438b18a3" providerId="ADAL" clId="{25CEA024-308C-4E1B-A2D6-84CCD0D2EA4B}" dt="2021-04-29T09:55:58.818" v="3140" actId="478"/>
          <ac:picMkLst>
            <pc:docMk/>
            <pc:sldMk cId="4056101064" sldId="1288"/>
            <ac:picMk id="27" creationId="{9A3451D3-F187-4C4B-9209-64087C879F5D}"/>
          </ac:picMkLst>
        </pc:picChg>
        <pc:picChg chg="del">
          <ac:chgData name="Céline Felber" userId="03e6e5e3-26bd-4d3d-a86c-4e25438b18a3" providerId="ADAL" clId="{25CEA024-308C-4E1B-A2D6-84CCD0D2EA4B}" dt="2021-04-29T09:55:58.002" v="3139" actId="478"/>
          <ac:picMkLst>
            <pc:docMk/>
            <pc:sldMk cId="4056101064" sldId="1288"/>
            <ac:picMk id="29" creationId="{D578B2C3-3437-43A3-9E4A-354A576687FD}"/>
          </ac:picMkLst>
        </pc:picChg>
        <pc:picChg chg="del">
          <ac:chgData name="Céline Felber" userId="03e6e5e3-26bd-4d3d-a86c-4e25438b18a3" providerId="ADAL" clId="{25CEA024-308C-4E1B-A2D6-84CCD0D2EA4B}" dt="2021-04-29T09:55:56.953" v="3138" actId="478"/>
          <ac:picMkLst>
            <pc:docMk/>
            <pc:sldMk cId="4056101064" sldId="1288"/>
            <ac:picMk id="31" creationId="{F262BD1B-6913-4AF8-A806-EDD8D81DFA63}"/>
          </ac:picMkLst>
        </pc:picChg>
        <pc:picChg chg="del">
          <ac:chgData name="Céline Felber" userId="03e6e5e3-26bd-4d3d-a86c-4e25438b18a3" providerId="ADAL" clId="{25CEA024-308C-4E1B-A2D6-84CCD0D2EA4B}" dt="2021-04-29T09:55:55.505" v="3137" actId="478"/>
          <ac:picMkLst>
            <pc:docMk/>
            <pc:sldMk cId="4056101064" sldId="1288"/>
            <ac:picMk id="33" creationId="{07CA5A60-A6AF-44BA-9FAC-2A81F186164F}"/>
          </ac:picMkLst>
        </pc:picChg>
      </pc:sldChg>
      <pc:sldChg chg="addSp delSp modSp add mod delAnim modAnim">
        <pc:chgData name="Céline Felber" userId="03e6e5e3-26bd-4d3d-a86c-4e25438b18a3" providerId="ADAL" clId="{25CEA024-308C-4E1B-A2D6-84CCD0D2EA4B}" dt="2021-04-29T11:27:42.220" v="4863" actId="20577"/>
        <pc:sldMkLst>
          <pc:docMk/>
          <pc:sldMk cId="2039230434" sldId="1289"/>
        </pc:sldMkLst>
        <pc:spChg chg="del">
          <ac:chgData name="Céline Felber" userId="03e6e5e3-26bd-4d3d-a86c-4e25438b18a3" providerId="ADAL" clId="{25CEA024-308C-4E1B-A2D6-84CCD0D2EA4B}" dt="2021-04-29T11:18:38.849" v="4456" actId="478"/>
          <ac:spMkLst>
            <pc:docMk/>
            <pc:sldMk cId="2039230434" sldId="1289"/>
            <ac:spMk id="13" creationId="{7279BCDC-3797-49AC-B67D-C1D45784BD45}"/>
          </ac:spMkLst>
        </pc:spChg>
        <pc:spChg chg="del">
          <ac:chgData name="Céline Felber" userId="03e6e5e3-26bd-4d3d-a86c-4e25438b18a3" providerId="ADAL" clId="{25CEA024-308C-4E1B-A2D6-84CCD0D2EA4B}" dt="2021-04-29T11:18:38.849" v="4456" actId="478"/>
          <ac:spMkLst>
            <pc:docMk/>
            <pc:sldMk cId="2039230434" sldId="1289"/>
            <ac:spMk id="14" creationId="{4594365F-9AC3-4847-8953-38F5D9D8120C}"/>
          </ac:spMkLst>
        </pc:spChg>
        <pc:spChg chg="del">
          <ac:chgData name="Céline Felber" userId="03e6e5e3-26bd-4d3d-a86c-4e25438b18a3" providerId="ADAL" clId="{25CEA024-308C-4E1B-A2D6-84CCD0D2EA4B}" dt="2021-04-29T11:18:38.849" v="4456" actId="478"/>
          <ac:spMkLst>
            <pc:docMk/>
            <pc:sldMk cId="2039230434" sldId="1289"/>
            <ac:spMk id="15" creationId="{5143860E-83F2-43EB-804F-BE958F06046D}"/>
          </ac:spMkLst>
        </pc:spChg>
        <pc:spChg chg="del">
          <ac:chgData name="Céline Felber" userId="03e6e5e3-26bd-4d3d-a86c-4e25438b18a3" providerId="ADAL" clId="{25CEA024-308C-4E1B-A2D6-84CCD0D2EA4B}" dt="2021-04-29T11:18:38.849" v="4456" actId="478"/>
          <ac:spMkLst>
            <pc:docMk/>
            <pc:sldMk cId="2039230434" sldId="1289"/>
            <ac:spMk id="17" creationId="{813FA853-099C-4328-B687-2712A350FFFD}"/>
          </ac:spMkLst>
        </pc:spChg>
        <pc:spChg chg="add mod">
          <ac:chgData name="Céline Felber" userId="03e6e5e3-26bd-4d3d-a86c-4e25438b18a3" providerId="ADAL" clId="{25CEA024-308C-4E1B-A2D6-84CCD0D2EA4B}" dt="2021-04-29T11:23:47.035" v="4802" actId="20577"/>
          <ac:spMkLst>
            <pc:docMk/>
            <pc:sldMk cId="2039230434" sldId="1289"/>
            <ac:spMk id="19" creationId="{7372B78E-EAEA-4433-8E1E-460979286880}"/>
          </ac:spMkLst>
        </pc:spChg>
        <pc:spChg chg="add mod">
          <ac:chgData name="Céline Felber" userId="03e6e5e3-26bd-4d3d-a86c-4e25438b18a3" providerId="ADAL" clId="{25CEA024-308C-4E1B-A2D6-84CCD0D2EA4B}" dt="2021-04-29T11:25:56.516" v="4834" actId="14100"/>
          <ac:spMkLst>
            <pc:docMk/>
            <pc:sldMk cId="2039230434" sldId="1289"/>
            <ac:spMk id="20" creationId="{2B4987A6-EB73-40DD-AB1B-50594ABD093F}"/>
          </ac:spMkLst>
        </pc:spChg>
        <pc:spChg chg="add del mod">
          <ac:chgData name="Céline Felber" userId="03e6e5e3-26bd-4d3d-a86c-4e25438b18a3" providerId="ADAL" clId="{25CEA024-308C-4E1B-A2D6-84CCD0D2EA4B}" dt="2021-04-29T11:25:50.776" v="4833" actId="478"/>
          <ac:spMkLst>
            <pc:docMk/>
            <pc:sldMk cId="2039230434" sldId="1289"/>
            <ac:spMk id="21" creationId="{F7695887-F89A-4D1F-8802-F9DDF0C7ACCC}"/>
          </ac:spMkLst>
        </pc:spChg>
        <pc:spChg chg="add mod">
          <ac:chgData name="Céline Felber" userId="03e6e5e3-26bd-4d3d-a86c-4e25438b18a3" providerId="ADAL" clId="{25CEA024-308C-4E1B-A2D6-84CCD0D2EA4B}" dt="2021-04-29T11:20:24.020" v="4478" actId="164"/>
          <ac:spMkLst>
            <pc:docMk/>
            <pc:sldMk cId="2039230434" sldId="1289"/>
            <ac:spMk id="24" creationId="{D82C32C0-1A6B-499A-B69B-72C38ECD43D8}"/>
          </ac:spMkLst>
        </pc:spChg>
        <pc:spChg chg="add mod">
          <ac:chgData name="Céline Felber" userId="03e6e5e3-26bd-4d3d-a86c-4e25438b18a3" providerId="ADAL" clId="{25CEA024-308C-4E1B-A2D6-84CCD0D2EA4B}" dt="2021-04-29T11:24:06.437" v="4806" actId="14100"/>
          <ac:spMkLst>
            <pc:docMk/>
            <pc:sldMk cId="2039230434" sldId="1289"/>
            <ac:spMk id="25" creationId="{B76B0BC4-83D4-4470-A3AB-B77EB1C76594}"/>
          </ac:spMkLst>
        </pc:spChg>
        <pc:spChg chg="add mod">
          <ac:chgData name="Céline Felber" userId="03e6e5e3-26bd-4d3d-a86c-4e25438b18a3" providerId="ADAL" clId="{25CEA024-308C-4E1B-A2D6-84CCD0D2EA4B}" dt="2021-04-29T11:27:33.546" v="4857" actId="14100"/>
          <ac:spMkLst>
            <pc:docMk/>
            <pc:sldMk cId="2039230434" sldId="1289"/>
            <ac:spMk id="26" creationId="{C61EEEE5-F9D1-4646-B356-170B7258D732}"/>
          </ac:spMkLst>
        </pc:spChg>
        <pc:spChg chg="add mod">
          <ac:chgData name="Céline Felber" userId="03e6e5e3-26bd-4d3d-a86c-4e25438b18a3" providerId="ADAL" clId="{25CEA024-308C-4E1B-A2D6-84CCD0D2EA4B}" dt="2021-04-29T11:25:15.917" v="4827" actId="20577"/>
          <ac:spMkLst>
            <pc:docMk/>
            <pc:sldMk cId="2039230434" sldId="1289"/>
            <ac:spMk id="27" creationId="{B6CCECCD-4946-4894-8213-C52A8DEF08ED}"/>
          </ac:spMkLst>
        </pc:spChg>
        <pc:spChg chg="add mod">
          <ac:chgData name="Céline Felber" userId="03e6e5e3-26bd-4d3d-a86c-4e25438b18a3" providerId="ADAL" clId="{25CEA024-308C-4E1B-A2D6-84CCD0D2EA4B}" dt="2021-04-29T11:26:11.691" v="4835" actId="1076"/>
          <ac:spMkLst>
            <pc:docMk/>
            <pc:sldMk cId="2039230434" sldId="1289"/>
            <ac:spMk id="28" creationId="{6998445A-DD4A-4433-AE4C-A2C871F9BEE2}"/>
          </ac:spMkLst>
        </pc:spChg>
        <pc:spChg chg="add mod">
          <ac:chgData name="Céline Felber" userId="03e6e5e3-26bd-4d3d-a86c-4e25438b18a3" providerId="ADAL" clId="{25CEA024-308C-4E1B-A2D6-84CCD0D2EA4B}" dt="2021-04-29T11:27:36.149" v="4859" actId="20577"/>
          <ac:spMkLst>
            <pc:docMk/>
            <pc:sldMk cId="2039230434" sldId="1289"/>
            <ac:spMk id="29" creationId="{285E283C-D320-475D-B87A-E102E8F4122A}"/>
          </ac:spMkLst>
        </pc:spChg>
        <pc:spChg chg="add mod">
          <ac:chgData name="Céline Felber" userId="03e6e5e3-26bd-4d3d-a86c-4e25438b18a3" providerId="ADAL" clId="{25CEA024-308C-4E1B-A2D6-84CCD0D2EA4B}" dt="2021-04-29T11:27:39.053" v="4861" actId="20577"/>
          <ac:spMkLst>
            <pc:docMk/>
            <pc:sldMk cId="2039230434" sldId="1289"/>
            <ac:spMk id="30" creationId="{B4450B7F-605B-438E-BBAD-15ED2CDB4C34}"/>
          </ac:spMkLst>
        </pc:spChg>
        <pc:spChg chg="add mod">
          <ac:chgData name="Céline Felber" userId="03e6e5e3-26bd-4d3d-a86c-4e25438b18a3" providerId="ADAL" clId="{25CEA024-308C-4E1B-A2D6-84CCD0D2EA4B}" dt="2021-04-29T11:27:42.220" v="4863" actId="20577"/>
          <ac:spMkLst>
            <pc:docMk/>
            <pc:sldMk cId="2039230434" sldId="1289"/>
            <ac:spMk id="31" creationId="{373466C1-7D29-445B-B09E-87778E6A6BBD}"/>
          </ac:spMkLst>
        </pc:spChg>
        <pc:grpChg chg="add mod">
          <ac:chgData name="Céline Felber" userId="03e6e5e3-26bd-4d3d-a86c-4e25438b18a3" providerId="ADAL" clId="{25CEA024-308C-4E1B-A2D6-84CCD0D2EA4B}" dt="2021-04-29T11:24:10.560" v="4809" actId="1076"/>
          <ac:grpSpMkLst>
            <pc:docMk/>
            <pc:sldMk cId="2039230434" sldId="1289"/>
            <ac:grpSpMk id="2" creationId="{8F72F641-5683-4960-8D2C-0EF756438476}"/>
          </ac:grpSpMkLst>
        </pc:grpChg>
        <pc:picChg chg="mod modCrop">
          <ac:chgData name="Céline Felber" userId="03e6e5e3-26bd-4d3d-a86c-4e25438b18a3" providerId="ADAL" clId="{25CEA024-308C-4E1B-A2D6-84CCD0D2EA4B}" dt="2021-04-29T11:21:18.490" v="4479" actId="108"/>
          <ac:picMkLst>
            <pc:docMk/>
            <pc:sldMk cId="2039230434" sldId="1289"/>
            <ac:picMk id="3" creationId="{29BEE9CE-8634-4D1A-B6BA-BBAD193482EA}"/>
          </ac:picMkLst>
        </pc:picChg>
        <pc:picChg chg="add mod">
          <ac:chgData name="Céline Felber" userId="03e6e5e3-26bd-4d3d-a86c-4e25438b18a3" providerId="ADAL" clId="{25CEA024-308C-4E1B-A2D6-84CCD0D2EA4B}" dt="2021-04-29T11:27:03.032" v="4850" actId="1036"/>
          <ac:picMkLst>
            <pc:docMk/>
            <pc:sldMk cId="2039230434" sldId="1289"/>
            <ac:picMk id="5" creationId="{AA27486A-6975-4950-AB8D-91BB5596ECCE}"/>
          </ac:picMkLst>
        </pc:picChg>
        <pc:picChg chg="del">
          <ac:chgData name="Céline Felber" userId="03e6e5e3-26bd-4d3d-a86c-4e25438b18a3" providerId="ADAL" clId="{25CEA024-308C-4E1B-A2D6-84CCD0D2EA4B}" dt="2021-04-29T11:18:38.849" v="4456" actId="478"/>
          <ac:picMkLst>
            <pc:docMk/>
            <pc:sldMk cId="2039230434" sldId="1289"/>
            <ac:picMk id="12" creationId="{145BBB41-9C3D-43A6-BB9F-8732F899C758}"/>
          </ac:picMkLst>
        </pc:picChg>
        <pc:picChg chg="del">
          <ac:chgData name="Céline Felber" userId="03e6e5e3-26bd-4d3d-a86c-4e25438b18a3" providerId="ADAL" clId="{25CEA024-308C-4E1B-A2D6-84CCD0D2EA4B}" dt="2021-04-29T11:18:38.849" v="4456" actId="478"/>
          <ac:picMkLst>
            <pc:docMk/>
            <pc:sldMk cId="2039230434" sldId="1289"/>
            <ac:picMk id="16" creationId="{1A9B6A85-35C3-45E2-8E57-19C6999316D8}"/>
          </ac:picMkLst>
        </pc:picChg>
        <pc:cxnChg chg="del">
          <ac:chgData name="Céline Felber" userId="03e6e5e3-26bd-4d3d-a86c-4e25438b18a3" providerId="ADAL" clId="{25CEA024-308C-4E1B-A2D6-84CCD0D2EA4B}" dt="2021-04-29T11:18:38.849" v="4456" actId="478"/>
          <ac:cxnSpMkLst>
            <pc:docMk/>
            <pc:sldMk cId="2039230434" sldId="1289"/>
            <ac:cxnSpMk id="18" creationId="{23158288-3BFE-4DA4-8C45-99816F0E51D9}"/>
          </ac:cxnSpMkLst>
        </pc:cxnChg>
      </pc:sldChg>
      <pc:sldChg chg="add">
        <pc:chgData name="Céline Felber" userId="03e6e5e3-26bd-4d3d-a86c-4e25438b18a3" providerId="ADAL" clId="{25CEA024-308C-4E1B-A2D6-84CCD0D2EA4B}" dt="2021-04-29T11:30:08.654" v="4868"/>
        <pc:sldMkLst>
          <pc:docMk/>
          <pc:sldMk cId="6323355" sldId="1290"/>
        </pc:sldMkLst>
      </pc:sldChg>
    </pc:docChg>
  </pc:docChgLst>
  <pc:docChgLst>
    <pc:chgData name="Ieva Dzene" userId="36e850b3-6b13-42b6-8b78-9778956e69b6" providerId="ADAL" clId="{84C58544-8481-46FA-A93C-096BEF1A0011}"/>
    <pc:docChg chg="custSel addSld modSld modSection">
      <pc:chgData name="Ieva Dzene" userId="36e850b3-6b13-42b6-8b78-9778956e69b6" providerId="ADAL" clId="{84C58544-8481-46FA-A93C-096BEF1A0011}" dt="2021-04-21T13:29:29.024" v="16" actId="108"/>
      <pc:docMkLst>
        <pc:docMk/>
      </pc:docMkLst>
      <pc:sldChg chg="addSp delSp modSp add mod delAnim">
        <pc:chgData name="Ieva Dzene" userId="36e850b3-6b13-42b6-8b78-9778956e69b6" providerId="ADAL" clId="{84C58544-8481-46FA-A93C-096BEF1A0011}" dt="2021-04-21T13:29:29.024" v="16" actId="108"/>
        <pc:sldMkLst>
          <pc:docMk/>
          <pc:sldMk cId="4010631327" sldId="1284"/>
        </pc:sldMkLst>
        <pc:spChg chg="del mod">
          <ac:chgData name="Ieva Dzene" userId="36e850b3-6b13-42b6-8b78-9778956e69b6" providerId="ADAL" clId="{84C58544-8481-46FA-A93C-096BEF1A0011}" dt="2021-04-21T13:29:13.429" v="11" actId="478"/>
          <ac:spMkLst>
            <pc:docMk/>
            <pc:sldMk cId="4010631327" sldId="1284"/>
            <ac:spMk id="19" creationId="{1C357AAC-4CD9-491C-9B50-9716EE8C6773}"/>
          </ac:spMkLst>
        </pc:spChg>
        <pc:spChg chg="del">
          <ac:chgData name="Ieva Dzene" userId="36e850b3-6b13-42b6-8b78-9778956e69b6" providerId="ADAL" clId="{84C58544-8481-46FA-A93C-096BEF1A0011}" dt="2021-04-21T13:29:13.429" v="11" actId="478"/>
          <ac:spMkLst>
            <pc:docMk/>
            <pc:sldMk cId="4010631327" sldId="1284"/>
            <ac:spMk id="20" creationId="{E8E8EF40-E4A1-43A5-A47C-8C98F0D8ACE5}"/>
          </ac:spMkLst>
        </pc:spChg>
        <pc:spChg chg="del">
          <ac:chgData name="Ieva Dzene" userId="36e850b3-6b13-42b6-8b78-9778956e69b6" providerId="ADAL" clId="{84C58544-8481-46FA-A93C-096BEF1A0011}" dt="2021-04-21T13:29:13.429" v="11" actId="478"/>
          <ac:spMkLst>
            <pc:docMk/>
            <pc:sldMk cId="4010631327" sldId="1284"/>
            <ac:spMk id="21" creationId="{E463DA0C-5C50-43A9-BA28-62A24649FFD0}"/>
          </ac:spMkLst>
        </pc:spChg>
        <pc:spChg chg="del">
          <ac:chgData name="Ieva Dzene" userId="36e850b3-6b13-42b6-8b78-9778956e69b6" providerId="ADAL" clId="{84C58544-8481-46FA-A93C-096BEF1A0011}" dt="2021-04-21T13:28:00.627" v="3" actId="478"/>
          <ac:spMkLst>
            <pc:docMk/>
            <pc:sldMk cId="4010631327" sldId="1284"/>
            <ac:spMk id="23" creationId="{B00B0EE1-C1AF-43B7-BBBF-036A3679CADE}"/>
          </ac:spMkLst>
        </pc:spChg>
        <pc:picChg chg="add mod">
          <ac:chgData name="Ieva Dzene" userId="36e850b3-6b13-42b6-8b78-9778956e69b6" providerId="ADAL" clId="{84C58544-8481-46FA-A93C-096BEF1A0011}" dt="2021-04-21T13:29:29.024" v="16" actId="108"/>
          <ac:picMkLst>
            <pc:docMk/>
            <pc:sldMk cId="4010631327" sldId="1284"/>
            <ac:picMk id="3" creationId="{3C77731F-620E-4B85-91BD-EBBE3ACAD315}"/>
          </ac:picMkLst>
        </pc:picChg>
        <pc:picChg chg="del">
          <ac:chgData name="Ieva Dzene" userId="36e850b3-6b13-42b6-8b78-9778956e69b6" providerId="ADAL" clId="{84C58544-8481-46FA-A93C-096BEF1A0011}" dt="2021-04-21T13:29:13.429" v="11" actId="478"/>
          <ac:picMkLst>
            <pc:docMk/>
            <pc:sldMk cId="4010631327" sldId="1284"/>
            <ac:picMk id="18" creationId="{34D78A3C-8244-4F74-83A0-074CA21532A4}"/>
          </ac:picMkLst>
        </pc:picChg>
        <pc:picChg chg="del mod">
          <ac:chgData name="Ieva Dzene" userId="36e850b3-6b13-42b6-8b78-9778956e69b6" providerId="ADAL" clId="{84C58544-8481-46FA-A93C-096BEF1A0011}" dt="2021-04-21T13:27:58.529" v="2" actId="478"/>
          <ac:picMkLst>
            <pc:docMk/>
            <pc:sldMk cId="4010631327" sldId="1284"/>
            <ac:picMk id="22" creationId="{55E0642A-5B16-4290-BEE0-60B9930DE451}"/>
          </ac:picMkLst>
        </pc:picChg>
        <pc:picChg chg="del mod">
          <ac:chgData name="Ieva Dzene" userId="36e850b3-6b13-42b6-8b78-9778956e69b6" providerId="ADAL" clId="{84C58544-8481-46FA-A93C-096BEF1A0011}" dt="2021-04-21T13:29:06.317" v="9" actId="478"/>
          <ac:picMkLst>
            <pc:docMk/>
            <pc:sldMk cId="4010631327" sldId="1284"/>
            <ac:picMk id="24" creationId="{A3972079-A204-4776-9D3A-C408B512B5B1}"/>
          </ac:picMkLst>
        </pc:picChg>
      </pc:sldChg>
    </pc:docChg>
  </pc:docChgLst>
  <pc:docChgLst>
    <pc:chgData name="Marion Spizzo" userId="43054aff-b319-44f0-be2a-97a1d91f7302" providerId="ADAL" clId="{4122FC74-A768-4528-B6CC-1CD0190E62A2}"/>
    <pc:docChg chg="custSel modMainMaster">
      <pc:chgData name="Marion Spizzo" userId="43054aff-b319-44f0-be2a-97a1d91f7302" providerId="ADAL" clId="{4122FC74-A768-4528-B6CC-1CD0190E62A2}" dt="2021-06-23T08:29:16.002" v="108" actId="1076"/>
      <pc:docMkLst>
        <pc:docMk/>
      </pc:docMkLst>
      <pc:sldMasterChg chg="addSp delSp modSp mod modSldLayout">
        <pc:chgData name="Marion Spizzo" userId="43054aff-b319-44f0-be2a-97a1d91f7302" providerId="ADAL" clId="{4122FC74-A768-4528-B6CC-1CD0190E62A2}" dt="2021-06-23T08:29:16.002" v="108" actId="1076"/>
        <pc:sldMasterMkLst>
          <pc:docMk/>
          <pc:sldMasterMk cId="2165569194" sldId="2147483886"/>
        </pc:sldMasterMkLst>
        <pc:spChg chg="mod">
          <ac:chgData name="Marion Spizzo" userId="43054aff-b319-44f0-be2a-97a1d91f7302" providerId="ADAL" clId="{4122FC74-A768-4528-B6CC-1CD0190E62A2}" dt="2021-06-23T08:26:32.051" v="37" actId="14100"/>
          <ac:spMkLst>
            <pc:docMk/>
            <pc:sldMasterMk cId="2165569194" sldId="2147483886"/>
            <ac:spMk id="16" creationId="{AB826EA0-BB3B-4B29-A086-9CD26EDFECBF}"/>
          </ac:spMkLst>
        </pc:spChg>
        <pc:picChg chg="del">
          <ac:chgData name="Marion Spizzo" userId="43054aff-b319-44f0-be2a-97a1d91f7302" providerId="ADAL" clId="{4122FC74-A768-4528-B6CC-1CD0190E62A2}" dt="2021-06-23T08:25:49.946" v="0" actId="478"/>
          <ac:picMkLst>
            <pc:docMk/>
            <pc:sldMasterMk cId="2165569194" sldId="2147483886"/>
            <ac:picMk id="13" creationId="{57ECC066-E305-45A6-8DA1-AC7DCE6994D5}"/>
          </ac:picMkLst>
        </pc:picChg>
        <pc:picChg chg="add mod">
          <ac:chgData name="Marion Spizzo" userId="43054aff-b319-44f0-be2a-97a1d91f7302" providerId="ADAL" clId="{4122FC74-A768-4528-B6CC-1CD0190E62A2}" dt="2021-06-23T08:26:10.168" v="6" actId="1076"/>
          <ac:picMkLst>
            <pc:docMk/>
            <pc:sldMasterMk cId="2165569194" sldId="2147483886"/>
            <ac:picMk id="14" creationId="{15731662-0731-4E37-AF60-B59BA6885B15}"/>
          </ac:picMkLst>
        </pc:picChg>
        <pc:sldLayoutChg chg="addSp delSp modSp mod">
          <pc:chgData name="Marion Spizzo" userId="43054aff-b319-44f0-be2a-97a1d91f7302" providerId="ADAL" clId="{4122FC74-A768-4528-B6CC-1CD0190E62A2}" dt="2021-06-23T08:27:20.245" v="45" actId="1076"/>
          <pc:sldLayoutMkLst>
            <pc:docMk/>
            <pc:sldMasterMk cId="2165569194" sldId="2147483886"/>
            <pc:sldLayoutMk cId="2897666751" sldId="2147483904"/>
          </pc:sldLayoutMkLst>
          <pc:picChg chg="add mod">
            <ac:chgData name="Marion Spizzo" userId="43054aff-b319-44f0-be2a-97a1d91f7302" providerId="ADAL" clId="{4122FC74-A768-4528-B6CC-1CD0190E62A2}" dt="2021-06-23T08:27:20.245" v="45" actId="1076"/>
            <ac:picMkLst>
              <pc:docMk/>
              <pc:sldMasterMk cId="2165569194" sldId="2147483886"/>
              <pc:sldLayoutMk cId="2897666751" sldId="2147483904"/>
              <ac:picMk id="10" creationId="{F7CC9AA7-2604-4FE2-B10D-2091BF98E2B7}"/>
            </ac:picMkLst>
          </pc:picChg>
          <pc:picChg chg="del">
            <ac:chgData name="Marion Spizzo" userId="43054aff-b319-44f0-be2a-97a1d91f7302" providerId="ADAL" clId="{4122FC74-A768-4528-B6CC-1CD0190E62A2}" dt="2021-06-23T08:27:06.328" v="38" actId="478"/>
            <ac:picMkLst>
              <pc:docMk/>
              <pc:sldMasterMk cId="2165569194" sldId="2147483886"/>
              <pc:sldLayoutMk cId="2897666751" sldId="2147483904"/>
              <ac:picMk id="14" creationId="{8A7A67EF-47EE-4807-95E6-43426F80CBF2}"/>
            </ac:picMkLst>
          </pc:picChg>
        </pc:sldLayoutChg>
        <pc:sldLayoutChg chg="addSp delSp modSp mod">
          <pc:chgData name="Marion Spizzo" userId="43054aff-b319-44f0-be2a-97a1d91f7302" providerId="ADAL" clId="{4122FC74-A768-4528-B6CC-1CD0190E62A2}" dt="2021-06-23T08:27:51.707" v="61" actId="1076"/>
          <pc:sldLayoutMkLst>
            <pc:docMk/>
            <pc:sldMasterMk cId="2165569194" sldId="2147483886"/>
            <pc:sldLayoutMk cId="425925706" sldId="2147483905"/>
          </pc:sldLayoutMkLst>
          <pc:picChg chg="add del">
            <ac:chgData name="Marion Spizzo" userId="43054aff-b319-44f0-be2a-97a1d91f7302" providerId="ADAL" clId="{4122FC74-A768-4528-B6CC-1CD0190E62A2}" dt="2021-06-23T08:27:27.757" v="50"/>
            <ac:picMkLst>
              <pc:docMk/>
              <pc:sldMasterMk cId="2165569194" sldId="2147483886"/>
              <pc:sldLayoutMk cId="425925706" sldId="2147483905"/>
              <ac:picMk id="3" creationId="{DE82EEB3-3BBE-40E4-90D0-21A56E72C707}"/>
            </ac:picMkLst>
          </pc:picChg>
          <pc:picChg chg="add del mod">
            <ac:chgData name="Marion Spizzo" userId="43054aff-b319-44f0-be2a-97a1d91f7302" providerId="ADAL" clId="{4122FC74-A768-4528-B6CC-1CD0190E62A2}" dt="2021-06-23T08:27:25.701" v="48"/>
            <ac:picMkLst>
              <pc:docMk/>
              <pc:sldMasterMk cId="2165569194" sldId="2147483886"/>
              <pc:sldLayoutMk cId="425925706" sldId="2147483905"/>
              <ac:picMk id="13" creationId="{6E30D891-9FB0-417E-A7F5-AF7674B47330}"/>
            </ac:picMkLst>
          </pc:picChg>
          <pc:picChg chg="del">
            <ac:chgData name="Marion Spizzo" userId="43054aff-b319-44f0-be2a-97a1d91f7302" providerId="ADAL" clId="{4122FC74-A768-4528-B6CC-1CD0190E62A2}" dt="2021-06-23T08:27:22.697" v="46" actId="478"/>
            <ac:picMkLst>
              <pc:docMk/>
              <pc:sldMasterMk cId="2165569194" sldId="2147483886"/>
              <pc:sldLayoutMk cId="425925706" sldId="2147483905"/>
              <ac:picMk id="14" creationId="{69AF4B20-2F3B-4BA7-8101-83E7EDB03A0C}"/>
            </ac:picMkLst>
          </pc:picChg>
          <pc:picChg chg="add mod">
            <ac:chgData name="Marion Spizzo" userId="43054aff-b319-44f0-be2a-97a1d91f7302" providerId="ADAL" clId="{4122FC74-A768-4528-B6CC-1CD0190E62A2}" dt="2021-06-23T08:27:51.707" v="61" actId="1076"/>
            <ac:picMkLst>
              <pc:docMk/>
              <pc:sldMasterMk cId="2165569194" sldId="2147483886"/>
              <pc:sldLayoutMk cId="425925706" sldId="2147483905"/>
              <ac:picMk id="15" creationId="{773B3C4B-E957-46E6-BF93-0BB6008B5AD5}"/>
            </ac:picMkLst>
          </pc:picChg>
        </pc:sldLayoutChg>
        <pc:sldLayoutChg chg="addSp delSp modSp mod">
          <pc:chgData name="Marion Spizzo" userId="43054aff-b319-44f0-be2a-97a1d91f7302" providerId="ADAL" clId="{4122FC74-A768-4528-B6CC-1CD0190E62A2}" dt="2021-06-23T08:28:04.199" v="66" actId="1076"/>
          <pc:sldLayoutMkLst>
            <pc:docMk/>
            <pc:sldMasterMk cId="2165569194" sldId="2147483886"/>
            <pc:sldLayoutMk cId="707970656" sldId="2147483906"/>
          </pc:sldLayoutMkLst>
          <pc:picChg chg="add mod">
            <ac:chgData name="Marion Spizzo" userId="43054aff-b319-44f0-be2a-97a1d91f7302" providerId="ADAL" clId="{4122FC74-A768-4528-B6CC-1CD0190E62A2}" dt="2021-06-23T08:28:04.199" v="66" actId="1076"/>
            <ac:picMkLst>
              <pc:docMk/>
              <pc:sldMasterMk cId="2165569194" sldId="2147483886"/>
              <pc:sldLayoutMk cId="707970656" sldId="2147483906"/>
              <ac:picMk id="9" creationId="{6E24CB4C-BE4E-42F6-B9B8-703B5A04B101}"/>
            </ac:picMkLst>
          </pc:picChg>
          <pc:picChg chg="del">
            <ac:chgData name="Marion Spizzo" userId="43054aff-b319-44f0-be2a-97a1d91f7302" providerId="ADAL" clId="{4122FC74-A768-4528-B6CC-1CD0190E62A2}" dt="2021-06-23T08:27:56.839" v="62" actId="478"/>
            <ac:picMkLst>
              <pc:docMk/>
              <pc:sldMasterMk cId="2165569194" sldId="2147483886"/>
              <pc:sldLayoutMk cId="707970656" sldId="2147483906"/>
              <ac:picMk id="10" creationId="{B7B41129-DA57-4A1E-9156-7411D9552F0B}"/>
            </ac:picMkLst>
          </pc:picChg>
        </pc:sldLayoutChg>
        <pc:sldLayoutChg chg="addSp delSp modSp mod">
          <pc:chgData name="Marion Spizzo" userId="43054aff-b319-44f0-be2a-97a1d91f7302" providerId="ADAL" clId="{4122FC74-A768-4528-B6CC-1CD0190E62A2}" dt="2021-06-23T08:28:37.386" v="100" actId="20577"/>
          <pc:sldLayoutMkLst>
            <pc:docMk/>
            <pc:sldMasterMk cId="2165569194" sldId="2147483886"/>
            <pc:sldLayoutMk cId="3273918519" sldId="2147483907"/>
          </pc:sldLayoutMkLst>
          <pc:spChg chg="mod">
            <ac:chgData name="Marion Spizzo" userId="43054aff-b319-44f0-be2a-97a1d91f7302" providerId="ADAL" clId="{4122FC74-A768-4528-B6CC-1CD0190E62A2}" dt="2021-06-23T08:28:37.386" v="100" actId="20577"/>
            <ac:spMkLst>
              <pc:docMk/>
              <pc:sldMasterMk cId="2165569194" sldId="2147483886"/>
              <pc:sldLayoutMk cId="3273918519" sldId="2147483907"/>
              <ac:spMk id="53" creationId="{7BFAD3D3-9F66-446A-9735-08953E461700}"/>
            </ac:spMkLst>
          </pc:spChg>
          <pc:picChg chg="add mod">
            <ac:chgData name="Marion Spizzo" userId="43054aff-b319-44f0-be2a-97a1d91f7302" providerId="ADAL" clId="{4122FC74-A768-4528-B6CC-1CD0190E62A2}" dt="2021-06-23T08:28:22.618" v="75" actId="1076"/>
            <ac:picMkLst>
              <pc:docMk/>
              <pc:sldMasterMk cId="2165569194" sldId="2147483886"/>
              <pc:sldLayoutMk cId="3273918519" sldId="2147483907"/>
              <ac:picMk id="21" creationId="{EABD490A-54B5-4F9E-9C12-600AEAD30E80}"/>
            </ac:picMkLst>
          </pc:picChg>
          <pc:picChg chg="del">
            <ac:chgData name="Marion Spizzo" userId="43054aff-b319-44f0-be2a-97a1d91f7302" providerId="ADAL" clId="{4122FC74-A768-4528-B6CC-1CD0190E62A2}" dt="2021-06-23T08:28:06.600" v="67" actId="478"/>
            <ac:picMkLst>
              <pc:docMk/>
              <pc:sldMasterMk cId="2165569194" sldId="2147483886"/>
              <pc:sldLayoutMk cId="3273918519" sldId="2147483907"/>
              <ac:picMk id="35" creationId="{207AEB3E-87F2-4A5B-A05D-A644A606B733}"/>
            </ac:picMkLst>
          </pc:picChg>
        </pc:sldLayoutChg>
        <pc:sldLayoutChg chg="addSp delSp modSp mod">
          <pc:chgData name="Marion Spizzo" userId="43054aff-b319-44f0-be2a-97a1d91f7302" providerId="ADAL" clId="{4122FC74-A768-4528-B6CC-1CD0190E62A2}" dt="2021-06-23T08:29:16.002" v="108" actId="1076"/>
          <pc:sldLayoutMkLst>
            <pc:docMk/>
            <pc:sldMasterMk cId="2165569194" sldId="2147483886"/>
            <pc:sldLayoutMk cId="3781093868" sldId="2147483916"/>
          </pc:sldLayoutMkLst>
          <pc:picChg chg="add mod">
            <ac:chgData name="Marion Spizzo" userId="43054aff-b319-44f0-be2a-97a1d91f7302" providerId="ADAL" clId="{4122FC74-A768-4528-B6CC-1CD0190E62A2}" dt="2021-06-23T08:29:16.002" v="108" actId="1076"/>
            <ac:picMkLst>
              <pc:docMk/>
              <pc:sldMasterMk cId="2165569194" sldId="2147483886"/>
              <pc:sldLayoutMk cId="3781093868" sldId="2147483916"/>
              <ac:picMk id="21" creationId="{2F596EC5-DE31-46D1-8541-EBED2985C912}"/>
            </ac:picMkLst>
          </pc:picChg>
          <pc:picChg chg="del">
            <ac:chgData name="Marion Spizzo" userId="43054aff-b319-44f0-be2a-97a1d91f7302" providerId="ADAL" clId="{4122FC74-A768-4528-B6CC-1CD0190E62A2}" dt="2021-06-23T08:29:04.248" v="101" actId="478"/>
            <ac:picMkLst>
              <pc:docMk/>
              <pc:sldMasterMk cId="2165569194" sldId="2147483886"/>
              <pc:sldLayoutMk cId="3781093868" sldId="2147483916"/>
              <ac:picMk id="22" creationId="{76037A5D-B198-477C-82D2-07B5E6D3B795}"/>
            </ac:picMkLst>
          </pc:picChg>
        </pc:sldLayoutChg>
      </pc:sldMasterChg>
    </pc:docChg>
  </pc:docChgLst>
  <pc:docChgLst>
    <pc:chgData name="Marion Spizzo" userId="43054aff-b319-44f0-be2a-97a1d91f7302" providerId="ADAL" clId="{595C9977-268B-422B-92F4-A8776A52EDB7}"/>
    <pc:docChg chg="custSel addSld delSld modMainMaster modSection">
      <pc:chgData name="Marion Spizzo" userId="43054aff-b319-44f0-be2a-97a1d91f7302" providerId="ADAL" clId="{595C9977-268B-422B-92F4-A8776A52EDB7}" dt="2021-06-22T14:44:09.277" v="42" actId="20577"/>
      <pc:docMkLst>
        <pc:docMk/>
      </pc:docMkLst>
      <pc:sldChg chg="new del">
        <pc:chgData name="Marion Spizzo" userId="43054aff-b319-44f0-be2a-97a1d91f7302" providerId="ADAL" clId="{595C9977-268B-422B-92F4-A8776A52EDB7}" dt="2021-06-21T09:09:55.636" v="1" actId="2696"/>
        <pc:sldMkLst>
          <pc:docMk/>
          <pc:sldMk cId="1269343485" sldId="1293"/>
        </pc:sldMkLst>
      </pc:sldChg>
      <pc:sldMasterChg chg="modSldLayout">
        <pc:chgData name="Marion Spizzo" userId="43054aff-b319-44f0-be2a-97a1d91f7302" providerId="ADAL" clId="{595C9977-268B-422B-92F4-A8776A52EDB7}" dt="2021-06-22T14:44:09.277" v="42" actId="20577"/>
        <pc:sldMasterMkLst>
          <pc:docMk/>
          <pc:sldMasterMk cId="2165569194" sldId="2147483886"/>
        </pc:sldMasterMkLst>
        <pc:sldLayoutChg chg="delSp modSp mod">
          <pc:chgData name="Marion Spizzo" userId="43054aff-b319-44f0-be2a-97a1d91f7302" providerId="ADAL" clId="{595C9977-268B-422B-92F4-A8776A52EDB7}" dt="2021-06-22T14:44:09.277" v="42" actId="20577"/>
          <pc:sldLayoutMkLst>
            <pc:docMk/>
            <pc:sldMasterMk cId="2165569194" sldId="2147483886"/>
            <pc:sldLayoutMk cId="3273918519" sldId="2147483907"/>
          </pc:sldLayoutMkLst>
          <pc:spChg chg="mod">
            <ac:chgData name="Marion Spizzo" userId="43054aff-b319-44f0-be2a-97a1d91f7302" providerId="ADAL" clId="{595C9977-268B-422B-92F4-A8776A52EDB7}" dt="2021-06-21T09:10:29.019" v="14" actId="1076"/>
            <ac:spMkLst>
              <pc:docMk/>
              <pc:sldMasterMk cId="2165569194" sldId="2147483886"/>
              <pc:sldLayoutMk cId="3273918519" sldId="2147483907"/>
              <ac:spMk id="27" creationId="{2D950E90-BAE0-4656-88C9-3A3B738FC604}"/>
            </ac:spMkLst>
          </pc:spChg>
          <pc:spChg chg="mod">
            <ac:chgData name="Marion Spizzo" userId="43054aff-b319-44f0-be2a-97a1d91f7302" providerId="ADAL" clId="{595C9977-268B-422B-92F4-A8776A52EDB7}" dt="2021-06-21T09:10:32.336" v="15" actId="1076"/>
            <ac:spMkLst>
              <pc:docMk/>
              <pc:sldMasterMk cId="2165569194" sldId="2147483886"/>
              <pc:sldLayoutMk cId="3273918519" sldId="2147483907"/>
              <ac:spMk id="29" creationId="{A188F3D3-A5F1-4E3D-B4FE-D99F88F08D7F}"/>
            </ac:spMkLst>
          </pc:spChg>
          <pc:spChg chg="del">
            <ac:chgData name="Marion Spizzo" userId="43054aff-b319-44f0-be2a-97a1d91f7302" providerId="ADAL" clId="{595C9977-268B-422B-92F4-A8776A52EDB7}" dt="2021-06-21T09:10:18.295" v="3" actId="478"/>
            <ac:spMkLst>
              <pc:docMk/>
              <pc:sldMasterMk cId="2165569194" sldId="2147483886"/>
              <pc:sldLayoutMk cId="3273918519" sldId="2147483907"/>
              <ac:spMk id="31" creationId="{BCECAC69-6505-4B4F-92AF-E5AA7C3C5BF4}"/>
            </ac:spMkLst>
          </pc:spChg>
          <pc:spChg chg="del">
            <ac:chgData name="Marion Spizzo" userId="43054aff-b319-44f0-be2a-97a1d91f7302" providerId="ADAL" clId="{595C9977-268B-422B-92F4-A8776A52EDB7}" dt="2021-06-21T09:10:17.159" v="2" actId="478"/>
            <ac:spMkLst>
              <pc:docMk/>
              <pc:sldMasterMk cId="2165569194" sldId="2147483886"/>
              <pc:sldLayoutMk cId="3273918519" sldId="2147483907"/>
              <ac:spMk id="32" creationId="{CDB5D0B4-4574-42FA-BB91-93C3E62CCA98}"/>
            </ac:spMkLst>
          </pc:spChg>
          <pc:spChg chg="del">
            <ac:chgData name="Marion Spizzo" userId="43054aff-b319-44f0-be2a-97a1d91f7302" providerId="ADAL" clId="{595C9977-268B-422B-92F4-A8776A52EDB7}" dt="2021-06-21T09:10:22.366" v="8" actId="478"/>
            <ac:spMkLst>
              <pc:docMk/>
              <pc:sldMasterMk cId="2165569194" sldId="2147483886"/>
              <pc:sldLayoutMk cId="3273918519" sldId="2147483907"/>
              <ac:spMk id="33" creationId="{8934DFC4-CB58-4F76-909B-D1D96738F118}"/>
            </ac:spMkLst>
          </pc:spChg>
          <pc:spChg chg="del">
            <ac:chgData name="Marion Spizzo" userId="43054aff-b319-44f0-be2a-97a1d91f7302" providerId="ADAL" clId="{595C9977-268B-422B-92F4-A8776A52EDB7}" dt="2021-06-21T09:10:23.470" v="9" actId="478"/>
            <ac:spMkLst>
              <pc:docMk/>
              <pc:sldMasterMk cId="2165569194" sldId="2147483886"/>
              <pc:sldLayoutMk cId="3273918519" sldId="2147483907"/>
              <ac:spMk id="34" creationId="{C88422D2-4E35-4A9B-9494-AED75544AF1E}"/>
            </ac:spMkLst>
          </pc:spChg>
          <pc:spChg chg="mod">
            <ac:chgData name="Marion Spizzo" userId="43054aff-b319-44f0-be2a-97a1d91f7302" providerId="ADAL" clId="{595C9977-268B-422B-92F4-A8776A52EDB7}" dt="2021-06-22T14:44:09.277" v="42" actId="20577"/>
            <ac:spMkLst>
              <pc:docMk/>
              <pc:sldMasterMk cId="2165569194" sldId="2147483886"/>
              <pc:sldLayoutMk cId="3273918519" sldId="2147483907"/>
              <ac:spMk id="53" creationId="{7BFAD3D3-9F66-446A-9735-08953E461700}"/>
            </ac:spMkLst>
          </pc:spChg>
          <pc:picChg chg="del">
            <ac:chgData name="Marion Spizzo" userId="43054aff-b319-44f0-be2a-97a1d91f7302" providerId="ADAL" clId="{595C9977-268B-422B-92F4-A8776A52EDB7}" dt="2021-06-21T09:10:19.207" v="4" actId="478"/>
            <ac:picMkLst>
              <pc:docMk/>
              <pc:sldMasterMk cId="2165569194" sldId="2147483886"/>
              <pc:sldLayoutMk cId="3273918519" sldId="2147483907"/>
              <ac:picMk id="4" creationId="{6752F890-12BC-4FB6-88C4-6033C5040786}"/>
            </ac:picMkLst>
          </pc:picChg>
          <pc:picChg chg="mod">
            <ac:chgData name="Marion Spizzo" userId="43054aff-b319-44f0-be2a-97a1d91f7302" providerId="ADAL" clId="{595C9977-268B-422B-92F4-A8776A52EDB7}" dt="2021-06-21T09:11:04.917" v="24" actId="1076"/>
            <ac:picMkLst>
              <pc:docMk/>
              <pc:sldMasterMk cId="2165569194" sldId="2147483886"/>
              <pc:sldLayoutMk cId="3273918519" sldId="2147483907"/>
              <ac:picMk id="5" creationId="{3B215D8A-9446-4C62-8250-966494401431}"/>
            </ac:picMkLst>
          </pc:picChg>
          <pc:picChg chg="del">
            <ac:chgData name="Marion Spizzo" userId="43054aff-b319-44f0-be2a-97a1d91f7302" providerId="ADAL" clId="{595C9977-268B-422B-92F4-A8776A52EDB7}" dt="2021-06-21T09:10:19.726" v="5" actId="478"/>
            <ac:picMkLst>
              <pc:docMk/>
              <pc:sldMasterMk cId="2165569194" sldId="2147483886"/>
              <pc:sldLayoutMk cId="3273918519" sldId="2147483907"/>
              <ac:picMk id="6" creationId="{59595509-80AF-495D-9833-C14F3063578C}"/>
            </ac:picMkLst>
          </pc:picChg>
          <pc:picChg chg="del">
            <ac:chgData name="Marion Spizzo" userId="43054aff-b319-44f0-be2a-97a1d91f7302" providerId="ADAL" clId="{595C9977-268B-422B-92F4-A8776A52EDB7}" dt="2021-06-21T09:10:20.643" v="7" actId="478"/>
            <ac:picMkLst>
              <pc:docMk/>
              <pc:sldMasterMk cId="2165569194" sldId="2147483886"/>
              <pc:sldLayoutMk cId="3273918519" sldId="2147483907"/>
              <ac:picMk id="8" creationId="{FC480B8A-7733-4CA9-8691-345A8963280F}"/>
            </ac:picMkLst>
          </pc:picChg>
          <pc:picChg chg="del">
            <ac:chgData name="Marion Spizzo" userId="43054aff-b319-44f0-be2a-97a1d91f7302" providerId="ADAL" clId="{595C9977-268B-422B-92F4-A8776A52EDB7}" dt="2021-06-21T09:10:20.205" v="6" actId="478"/>
            <ac:picMkLst>
              <pc:docMk/>
              <pc:sldMasterMk cId="2165569194" sldId="2147483886"/>
              <pc:sldLayoutMk cId="3273918519" sldId="2147483907"/>
              <ac:picMk id="10" creationId="{87CAFD8A-7D7D-4DE0-8EFA-BAF1E6AF874E}"/>
            </ac:picMkLst>
          </pc:picChg>
          <pc:picChg chg="mod">
            <ac:chgData name="Marion Spizzo" userId="43054aff-b319-44f0-be2a-97a1d91f7302" providerId="ADAL" clId="{595C9977-268B-422B-92F4-A8776A52EDB7}" dt="2021-06-21T09:10:39.289" v="18" actId="1076"/>
            <ac:picMkLst>
              <pc:docMk/>
              <pc:sldMasterMk cId="2165569194" sldId="2147483886"/>
              <pc:sldLayoutMk cId="3273918519" sldId="2147483907"/>
              <ac:picMk id="36" creationId="{37560E2A-B788-4D3F-A37E-B8C841B74171}"/>
            </ac:picMkLst>
          </pc:picChg>
          <pc:picChg chg="mod">
            <ac:chgData name="Marion Spizzo" userId="43054aff-b319-44f0-be2a-97a1d91f7302" providerId="ADAL" clId="{595C9977-268B-422B-92F4-A8776A52EDB7}" dt="2021-06-21T09:10:56.731" v="22" actId="1076"/>
            <ac:picMkLst>
              <pc:docMk/>
              <pc:sldMasterMk cId="2165569194" sldId="2147483886"/>
              <pc:sldLayoutMk cId="3273918519" sldId="2147483907"/>
              <ac:picMk id="37" creationId="{CF824D6C-A95E-47A2-998A-B5869C6C2E63}"/>
            </ac:picMkLst>
          </pc:picChg>
          <pc:picChg chg="del">
            <ac:chgData name="Marion Spizzo" userId="43054aff-b319-44f0-be2a-97a1d91f7302" providerId="ADAL" clId="{595C9977-268B-422B-92F4-A8776A52EDB7}" dt="2021-06-21T09:10:24.022" v="10" actId="478"/>
            <ac:picMkLst>
              <pc:docMk/>
              <pc:sldMasterMk cId="2165569194" sldId="2147483886"/>
              <pc:sldLayoutMk cId="3273918519" sldId="2147483907"/>
              <ac:picMk id="38" creationId="{0658CEBA-C15D-4CA2-92E3-CE89C6F311DC}"/>
            </ac:picMkLst>
          </pc:picChg>
          <pc:picChg chg="del mod">
            <ac:chgData name="Marion Spizzo" userId="43054aff-b319-44f0-be2a-97a1d91f7302" providerId="ADAL" clId="{595C9977-268B-422B-92F4-A8776A52EDB7}" dt="2021-06-21T09:10:24.437" v="12" actId="478"/>
            <ac:picMkLst>
              <pc:docMk/>
              <pc:sldMasterMk cId="2165569194" sldId="2147483886"/>
              <pc:sldLayoutMk cId="3273918519" sldId="2147483907"/>
              <ac:picMk id="39" creationId="{8A05214D-8944-4E86-9D5E-753AE2723B06}"/>
            </ac:picMkLst>
          </pc:picChg>
          <pc:picChg chg="del">
            <ac:chgData name="Marion Spizzo" userId="43054aff-b319-44f0-be2a-97a1d91f7302" providerId="ADAL" clId="{595C9977-268B-422B-92F4-A8776A52EDB7}" dt="2021-06-21T09:10:24.857" v="13" actId="478"/>
            <ac:picMkLst>
              <pc:docMk/>
              <pc:sldMasterMk cId="2165569194" sldId="2147483886"/>
              <pc:sldLayoutMk cId="3273918519" sldId="2147483907"/>
              <ac:picMk id="40" creationId="{EDAFBFA1-7DCA-4D1D-80E0-5F38D7FD6715}"/>
            </ac:picMkLst>
          </pc:picChg>
          <pc:picChg chg="mod">
            <ac:chgData name="Marion Spizzo" userId="43054aff-b319-44f0-be2a-97a1d91f7302" providerId="ADAL" clId="{595C9977-268B-422B-92F4-A8776A52EDB7}" dt="2021-06-21T09:11:01.900" v="23" actId="1076"/>
            <ac:picMkLst>
              <pc:docMk/>
              <pc:sldMasterMk cId="2165569194" sldId="2147483886"/>
              <pc:sldLayoutMk cId="3273918519" sldId="2147483907"/>
              <ac:picMk id="42" creationId="{7EFAD8F3-1333-463C-8A94-A67A75887C4F}"/>
            </ac:picMkLst>
          </pc:picChg>
        </pc:sldLayoutChg>
      </pc:sldMasterChg>
    </pc:docChg>
  </pc:docChgLst>
  <pc:docChgLst>
    <pc:chgData name="Marion Spizzo" userId="43054aff-b319-44f0-be2a-97a1d91f7302" providerId="ADAL" clId="{37B54CB3-BD7E-40B0-8042-8E551ADA4A1D}"/>
    <pc:docChg chg="undo redo custSel addSld delSld modSld sldOrd modMainMaster modSection">
      <pc:chgData name="Marion Spizzo" userId="43054aff-b319-44f0-be2a-97a1d91f7302" providerId="ADAL" clId="{37B54CB3-BD7E-40B0-8042-8E551ADA4A1D}" dt="2021-09-24T08:58:42.899" v="4093" actId="20577"/>
      <pc:docMkLst>
        <pc:docMk/>
      </pc:docMkLst>
      <pc:sldChg chg="modSp mod setBg">
        <pc:chgData name="Marion Spizzo" userId="43054aff-b319-44f0-be2a-97a1d91f7302" providerId="ADAL" clId="{37B54CB3-BD7E-40B0-8042-8E551ADA4A1D}" dt="2021-08-09T08:02:17.285" v="43" actId="20577"/>
        <pc:sldMkLst>
          <pc:docMk/>
          <pc:sldMk cId="112376409" sldId="1017"/>
        </pc:sldMkLst>
        <pc:spChg chg="mod">
          <ac:chgData name="Marion Spizzo" userId="43054aff-b319-44f0-be2a-97a1d91f7302" providerId="ADAL" clId="{37B54CB3-BD7E-40B0-8042-8E551ADA4A1D}" dt="2021-08-09T08:02:17.285" v="43" actId="20577"/>
          <ac:spMkLst>
            <pc:docMk/>
            <pc:sldMk cId="112376409" sldId="1017"/>
            <ac:spMk id="6" creationId="{A19744FE-0122-4458-A703-1ED9355A7C5F}"/>
          </ac:spMkLst>
        </pc:spChg>
        <pc:spChg chg="mod">
          <ac:chgData name="Marion Spizzo" userId="43054aff-b319-44f0-be2a-97a1d91f7302" providerId="ADAL" clId="{37B54CB3-BD7E-40B0-8042-8E551ADA4A1D}" dt="2021-08-09T08:01:34.537" v="33" actId="14100"/>
          <ac:spMkLst>
            <pc:docMk/>
            <pc:sldMk cId="112376409" sldId="1017"/>
            <ac:spMk id="7" creationId="{22974B99-5E58-480B-92F2-3B8832468EBD}"/>
          </ac:spMkLst>
        </pc:spChg>
        <pc:picChg chg="mod">
          <ac:chgData name="Marion Spizzo" userId="43054aff-b319-44f0-be2a-97a1d91f7302" providerId="ADAL" clId="{37B54CB3-BD7E-40B0-8042-8E551ADA4A1D}" dt="2021-08-09T08:01:42.297" v="34" actId="1076"/>
          <ac:picMkLst>
            <pc:docMk/>
            <pc:sldMk cId="112376409" sldId="1017"/>
            <ac:picMk id="4" creationId="{324436F6-ED3A-48EF-8E6F-65CCFAEDE538}"/>
          </ac:picMkLst>
        </pc:picChg>
      </pc:sldChg>
      <pc:sldChg chg="addSp delSp modSp mod modAnim">
        <pc:chgData name="Marion Spizzo" userId="43054aff-b319-44f0-be2a-97a1d91f7302" providerId="ADAL" clId="{37B54CB3-BD7E-40B0-8042-8E551ADA4A1D}" dt="2021-08-10T09:21:34.239" v="1269"/>
        <pc:sldMkLst>
          <pc:docMk/>
          <pc:sldMk cId="3806334263" sldId="1143"/>
        </pc:sldMkLst>
        <pc:spChg chg="add mod">
          <ac:chgData name="Marion Spizzo" userId="43054aff-b319-44f0-be2a-97a1d91f7302" providerId="ADAL" clId="{37B54CB3-BD7E-40B0-8042-8E551ADA4A1D}" dt="2021-08-10T09:20:45.219" v="1260" actId="1076"/>
          <ac:spMkLst>
            <pc:docMk/>
            <pc:sldMk cId="3806334263" sldId="1143"/>
            <ac:spMk id="9" creationId="{868B2F9D-8C55-49FA-A196-0D7ECA62BD26}"/>
          </ac:spMkLst>
        </pc:spChg>
        <pc:spChg chg="mod">
          <ac:chgData name="Marion Spizzo" userId="43054aff-b319-44f0-be2a-97a1d91f7302" providerId="ADAL" clId="{37B54CB3-BD7E-40B0-8042-8E551ADA4A1D}" dt="2021-08-09T08:57:24.255" v="533" actId="2085"/>
          <ac:spMkLst>
            <pc:docMk/>
            <pc:sldMk cId="3806334263" sldId="1143"/>
            <ac:spMk id="10" creationId="{CBB82244-2063-4981-8BE7-11B357FB60C1}"/>
          </ac:spMkLst>
        </pc:spChg>
        <pc:spChg chg="add mod">
          <ac:chgData name="Marion Spizzo" userId="43054aff-b319-44f0-be2a-97a1d91f7302" providerId="ADAL" clId="{37B54CB3-BD7E-40B0-8042-8E551ADA4A1D}" dt="2021-08-10T09:20:38.026" v="1259" actId="1076"/>
          <ac:spMkLst>
            <pc:docMk/>
            <pc:sldMk cId="3806334263" sldId="1143"/>
            <ac:spMk id="11" creationId="{A5FC7A20-3FF3-45BC-8831-3D2655C4EBD0}"/>
          </ac:spMkLst>
        </pc:spChg>
        <pc:spChg chg="add mod">
          <ac:chgData name="Marion Spizzo" userId="43054aff-b319-44f0-be2a-97a1d91f7302" providerId="ADAL" clId="{37B54CB3-BD7E-40B0-8042-8E551ADA4A1D}" dt="2021-08-10T09:21:10.823" v="1266" actId="14100"/>
          <ac:spMkLst>
            <pc:docMk/>
            <pc:sldMk cId="3806334263" sldId="1143"/>
            <ac:spMk id="12" creationId="{FD194FB1-BE8B-4AF4-B195-B5D55A93F172}"/>
          </ac:spMkLst>
        </pc:spChg>
        <pc:spChg chg="add mod">
          <ac:chgData name="Marion Spizzo" userId="43054aff-b319-44f0-be2a-97a1d91f7302" providerId="ADAL" clId="{37B54CB3-BD7E-40B0-8042-8E551ADA4A1D}" dt="2021-08-10T09:21:00.459" v="1264" actId="14100"/>
          <ac:spMkLst>
            <pc:docMk/>
            <pc:sldMk cId="3806334263" sldId="1143"/>
            <ac:spMk id="15" creationId="{116B6A9B-1DA6-46BB-8E1F-9CBD5148B177}"/>
          </ac:spMkLst>
        </pc:spChg>
        <pc:spChg chg="mod topLvl">
          <ac:chgData name="Marion Spizzo" userId="43054aff-b319-44f0-be2a-97a1d91f7302" providerId="ADAL" clId="{37B54CB3-BD7E-40B0-8042-8E551ADA4A1D}" dt="2021-08-09T11:21:49.247" v="1160" actId="1038"/>
          <ac:spMkLst>
            <pc:docMk/>
            <pc:sldMk cId="3806334263" sldId="1143"/>
            <ac:spMk id="19" creationId="{DAC540C1-9BC5-4CA8-B5C3-53F0A2F125F5}"/>
          </ac:spMkLst>
        </pc:spChg>
        <pc:grpChg chg="del mod">
          <ac:chgData name="Marion Spizzo" userId="43054aff-b319-44f0-be2a-97a1d91f7302" providerId="ADAL" clId="{37B54CB3-BD7E-40B0-8042-8E551ADA4A1D}" dt="2021-08-09T08:57:52.710" v="539" actId="165"/>
          <ac:grpSpMkLst>
            <pc:docMk/>
            <pc:sldMk cId="3806334263" sldId="1143"/>
            <ac:grpSpMk id="2" creationId="{3924692F-44C3-4113-9DE4-C19133C9F436}"/>
          </ac:grpSpMkLst>
        </pc:grpChg>
        <pc:picChg chg="add mod ord">
          <ac:chgData name="Marion Spizzo" userId="43054aff-b319-44f0-be2a-97a1d91f7302" providerId="ADAL" clId="{37B54CB3-BD7E-40B0-8042-8E551ADA4A1D}" dt="2021-08-10T09:20:34.046" v="1258" actId="1076"/>
          <ac:picMkLst>
            <pc:docMk/>
            <pc:sldMk cId="3806334263" sldId="1143"/>
            <ac:picMk id="3" creationId="{ACC6A3B6-3B8D-40A2-AA5D-9E98218386F5}"/>
          </ac:picMkLst>
        </pc:picChg>
        <pc:picChg chg="del mod">
          <ac:chgData name="Marion Spizzo" userId="43054aff-b319-44f0-be2a-97a1d91f7302" providerId="ADAL" clId="{37B54CB3-BD7E-40B0-8042-8E551ADA4A1D}" dt="2021-08-10T09:21:13.513" v="1267" actId="478"/>
          <ac:picMkLst>
            <pc:docMk/>
            <pc:sldMk cId="3806334263" sldId="1143"/>
            <ac:picMk id="5" creationId="{5080616F-0203-4AA1-A0B1-AFD9606C3628}"/>
          </ac:picMkLst>
        </pc:picChg>
        <pc:picChg chg="mod topLvl">
          <ac:chgData name="Marion Spizzo" userId="43054aff-b319-44f0-be2a-97a1d91f7302" providerId="ADAL" clId="{37B54CB3-BD7E-40B0-8042-8E551ADA4A1D}" dt="2021-08-09T08:59:43.668" v="562" actId="1076"/>
          <ac:picMkLst>
            <pc:docMk/>
            <pc:sldMk cId="3806334263" sldId="1143"/>
            <ac:picMk id="18" creationId="{F416459A-B81F-42F5-93DC-6658B8293DF7}"/>
          </ac:picMkLst>
        </pc:picChg>
      </pc:sldChg>
      <pc:sldChg chg="modSp mod">
        <pc:chgData name="Marion Spizzo" userId="43054aff-b319-44f0-be2a-97a1d91f7302" providerId="ADAL" clId="{37B54CB3-BD7E-40B0-8042-8E551ADA4A1D}" dt="2021-08-09T08:46:31.425" v="398" actId="1582"/>
        <pc:sldMkLst>
          <pc:docMk/>
          <pc:sldMk cId="2513178108" sldId="1147"/>
        </pc:sldMkLst>
        <pc:spChg chg="mod">
          <ac:chgData name="Marion Spizzo" userId="43054aff-b319-44f0-be2a-97a1d91f7302" providerId="ADAL" clId="{37B54CB3-BD7E-40B0-8042-8E551ADA4A1D}" dt="2021-08-09T08:46:21.691" v="397" actId="1582"/>
          <ac:spMkLst>
            <pc:docMk/>
            <pc:sldMk cId="2513178108" sldId="1147"/>
            <ac:spMk id="5" creationId="{1CA1840C-FE07-41BE-B7E7-AF9671A078EF}"/>
          </ac:spMkLst>
        </pc:spChg>
        <pc:spChg chg="mod">
          <ac:chgData name="Marion Spizzo" userId="43054aff-b319-44f0-be2a-97a1d91f7302" providerId="ADAL" clId="{37B54CB3-BD7E-40B0-8042-8E551ADA4A1D}" dt="2021-08-09T08:46:31.425" v="398" actId="1582"/>
          <ac:spMkLst>
            <pc:docMk/>
            <pc:sldMk cId="2513178108" sldId="1147"/>
            <ac:spMk id="6" creationId="{8F873D91-B9E7-41A7-B906-C29583EF66FB}"/>
          </ac:spMkLst>
        </pc:spChg>
        <pc:spChg chg="mod">
          <ac:chgData name="Marion Spizzo" userId="43054aff-b319-44f0-be2a-97a1d91f7302" providerId="ADAL" clId="{37B54CB3-BD7E-40B0-8042-8E551ADA4A1D}" dt="2021-08-09T08:46:21.691" v="397" actId="1582"/>
          <ac:spMkLst>
            <pc:docMk/>
            <pc:sldMk cId="2513178108" sldId="1147"/>
            <ac:spMk id="7" creationId="{A69472E9-B2FC-4CDE-83B5-7B4CC0B49A81}"/>
          </ac:spMkLst>
        </pc:spChg>
        <pc:spChg chg="mod">
          <ac:chgData name="Marion Spizzo" userId="43054aff-b319-44f0-be2a-97a1d91f7302" providerId="ADAL" clId="{37B54CB3-BD7E-40B0-8042-8E551ADA4A1D}" dt="2021-08-09T08:46:31.425" v="398" actId="1582"/>
          <ac:spMkLst>
            <pc:docMk/>
            <pc:sldMk cId="2513178108" sldId="1147"/>
            <ac:spMk id="8" creationId="{7AE24986-FC1B-4D0D-A7C1-FBEA007284B9}"/>
          </ac:spMkLst>
        </pc:spChg>
        <pc:picChg chg="mod">
          <ac:chgData name="Marion Spizzo" userId="43054aff-b319-44f0-be2a-97a1d91f7302" providerId="ADAL" clId="{37B54CB3-BD7E-40B0-8042-8E551ADA4A1D}" dt="2021-08-09T08:46:07.487" v="395" actId="108"/>
          <ac:picMkLst>
            <pc:docMk/>
            <pc:sldMk cId="2513178108" sldId="1147"/>
            <ac:picMk id="2" creationId="{C442D0FE-DBB3-401C-A3E5-204910886873}"/>
          </ac:picMkLst>
        </pc:picChg>
        <pc:picChg chg="mod">
          <ac:chgData name="Marion Spizzo" userId="43054aff-b319-44f0-be2a-97a1d91f7302" providerId="ADAL" clId="{37B54CB3-BD7E-40B0-8042-8E551ADA4A1D}" dt="2021-08-09T08:46:10.020" v="396" actId="108"/>
          <ac:picMkLst>
            <pc:docMk/>
            <pc:sldMk cId="2513178108" sldId="1147"/>
            <ac:picMk id="3" creationId="{2C3045AA-1470-4CDD-A8E8-A3639A659160}"/>
          </ac:picMkLst>
        </pc:picChg>
      </pc:sldChg>
      <pc:sldChg chg="addSp delSp modSp mod modAnim">
        <pc:chgData name="Marion Spizzo" userId="43054aff-b319-44f0-be2a-97a1d91f7302" providerId="ADAL" clId="{37B54CB3-BD7E-40B0-8042-8E551ADA4A1D}" dt="2021-08-10T05:52:12.379" v="1207"/>
        <pc:sldMkLst>
          <pc:docMk/>
          <pc:sldMk cId="1617794294" sldId="1158"/>
        </pc:sldMkLst>
        <pc:spChg chg="add del mod">
          <ac:chgData name="Marion Spizzo" userId="43054aff-b319-44f0-be2a-97a1d91f7302" providerId="ADAL" clId="{37B54CB3-BD7E-40B0-8042-8E551ADA4A1D}" dt="2021-08-09T08:44:40.284" v="385" actId="478"/>
          <ac:spMkLst>
            <pc:docMk/>
            <pc:sldMk cId="1617794294" sldId="1158"/>
            <ac:spMk id="2" creationId="{4571E37D-5CD7-4179-9B93-7F5DD4B88AF2}"/>
          </ac:spMkLst>
        </pc:spChg>
        <pc:spChg chg="mod">
          <ac:chgData name="Marion Spizzo" userId="43054aff-b319-44f0-be2a-97a1d91f7302" providerId="ADAL" clId="{37B54CB3-BD7E-40B0-8042-8E551ADA4A1D}" dt="2021-08-09T08:41:44.587" v="347" actId="14100"/>
          <ac:spMkLst>
            <pc:docMk/>
            <pc:sldMk cId="1617794294" sldId="1158"/>
            <ac:spMk id="19" creationId="{A172A5ED-E21C-43FB-A23D-E7DF85A6020D}"/>
          </ac:spMkLst>
        </pc:spChg>
        <pc:picChg chg="del mod">
          <ac:chgData name="Marion Spizzo" userId="43054aff-b319-44f0-be2a-97a1d91f7302" providerId="ADAL" clId="{37B54CB3-BD7E-40B0-8042-8E551ADA4A1D}" dt="2021-08-09T08:42:06.829" v="353" actId="478"/>
          <ac:picMkLst>
            <pc:docMk/>
            <pc:sldMk cId="1617794294" sldId="1158"/>
            <ac:picMk id="16" creationId="{895775B9-5230-46B2-A1E2-144E1F1778A5}"/>
          </ac:picMkLst>
        </pc:picChg>
        <pc:picChg chg="mod ord modCrop">
          <ac:chgData name="Marion Spizzo" userId="43054aff-b319-44f0-be2a-97a1d91f7302" providerId="ADAL" clId="{37B54CB3-BD7E-40B0-8042-8E551ADA4A1D}" dt="2021-08-09T08:44:51.241" v="387" actId="732"/>
          <ac:picMkLst>
            <pc:docMk/>
            <pc:sldMk cId="1617794294" sldId="1158"/>
            <ac:picMk id="17" creationId="{8144D20D-1E14-426D-9859-FC138A465FAD}"/>
          </ac:picMkLst>
        </pc:picChg>
        <pc:picChg chg="mod">
          <ac:chgData name="Marion Spizzo" userId="43054aff-b319-44f0-be2a-97a1d91f7302" providerId="ADAL" clId="{37B54CB3-BD7E-40B0-8042-8E551ADA4A1D}" dt="2021-08-09T08:41:55.461" v="348" actId="108"/>
          <ac:picMkLst>
            <pc:docMk/>
            <pc:sldMk cId="1617794294" sldId="1158"/>
            <ac:picMk id="18" creationId="{C4243D68-C10E-4A39-A8DA-EE40A1973E68}"/>
          </ac:picMkLst>
        </pc:picChg>
        <pc:picChg chg="mod">
          <ac:chgData name="Marion Spizzo" userId="43054aff-b319-44f0-be2a-97a1d91f7302" providerId="ADAL" clId="{37B54CB3-BD7E-40B0-8042-8E551ADA4A1D}" dt="2021-08-09T08:42:35.525" v="360" actId="1076"/>
          <ac:picMkLst>
            <pc:docMk/>
            <pc:sldMk cId="1617794294" sldId="1158"/>
            <ac:picMk id="20" creationId="{43D9DB45-BEF3-40F9-A4C7-51DAB6DE585D}"/>
          </ac:picMkLst>
        </pc:picChg>
        <pc:cxnChg chg="add mod">
          <ac:chgData name="Marion Spizzo" userId="43054aff-b319-44f0-be2a-97a1d91f7302" providerId="ADAL" clId="{37B54CB3-BD7E-40B0-8042-8E551ADA4A1D}" dt="2021-08-09T08:45:53.299" v="394" actId="692"/>
          <ac:cxnSpMkLst>
            <pc:docMk/>
            <pc:sldMk cId="1617794294" sldId="1158"/>
            <ac:cxnSpMk id="4" creationId="{29171591-25F3-47A8-B7F6-50A7451B20D6}"/>
          </ac:cxnSpMkLst>
        </pc:cxnChg>
        <pc:cxnChg chg="mod">
          <ac:chgData name="Marion Spizzo" userId="43054aff-b319-44f0-be2a-97a1d91f7302" providerId="ADAL" clId="{37B54CB3-BD7E-40B0-8042-8E551ADA4A1D}" dt="2021-08-09T08:42:37.816" v="361" actId="1076"/>
          <ac:cxnSpMkLst>
            <pc:docMk/>
            <pc:sldMk cId="1617794294" sldId="1158"/>
            <ac:cxnSpMk id="21" creationId="{D8421A40-9656-4014-862F-1340FB8F1B4A}"/>
          </ac:cxnSpMkLst>
        </pc:cxnChg>
      </pc:sldChg>
      <pc:sldChg chg="addSp delSp modSp del mod">
        <pc:chgData name="Marion Spizzo" userId="43054aff-b319-44f0-be2a-97a1d91f7302" providerId="ADAL" clId="{37B54CB3-BD7E-40B0-8042-8E551ADA4A1D}" dt="2021-08-11T07:36:50.861" v="2581" actId="2696"/>
        <pc:sldMkLst>
          <pc:docMk/>
          <pc:sldMk cId="306443251" sldId="1162"/>
        </pc:sldMkLst>
        <pc:spChg chg="mod">
          <ac:chgData name="Marion Spizzo" userId="43054aff-b319-44f0-be2a-97a1d91f7302" providerId="ADAL" clId="{37B54CB3-BD7E-40B0-8042-8E551ADA4A1D}" dt="2021-08-09T08:50:20.516" v="460" actId="1076"/>
          <ac:spMkLst>
            <pc:docMk/>
            <pc:sldMk cId="306443251" sldId="1162"/>
            <ac:spMk id="33" creationId="{32CEC1CF-8157-4D51-AD42-43B535D6C23C}"/>
          </ac:spMkLst>
        </pc:spChg>
        <pc:picChg chg="mod">
          <ac:chgData name="Marion Spizzo" userId="43054aff-b319-44f0-be2a-97a1d91f7302" providerId="ADAL" clId="{37B54CB3-BD7E-40B0-8042-8E551ADA4A1D}" dt="2021-08-09T08:49:38.806" v="447" actId="14861"/>
          <ac:picMkLst>
            <pc:docMk/>
            <pc:sldMk cId="306443251" sldId="1162"/>
            <ac:picMk id="25" creationId="{9097A156-4D41-4F44-8200-612CB1EBC963}"/>
          </ac:picMkLst>
        </pc:picChg>
        <pc:picChg chg="mod">
          <ac:chgData name="Marion Spizzo" userId="43054aff-b319-44f0-be2a-97a1d91f7302" providerId="ADAL" clId="{37B54CB3-BD7E-40B0-8042-8E551ADA4A1D}" dt="2021-08-09T08:49:43.491" v="448" actId="1076"/>
          <ac:picMkLst>
            <pc:docMk/>
            <pc:sldMk cId="306443251" sldId="1162"/>
            <ac:picMk id="29" creationId="{098B6457-D031-4545-A4BE-91E9C6E0E8D2}"/>
          </ac:picMkLst>
        </pc:picChg>
        <pc:picChg chg="mod">
          <ac:chgData name="Marion Spizzo" userId="43054aff-b319-44f0-be2a-97a1d91f7302" providerId="ADAL" clId="{37B54CB3-BD7E-40B0-8042-8E551ADA4A1D}" dt="2021-08-10T13:56:56.317" v="1599" actId="1076"/>
          <ac:picMkLst>
            <pc:docMk/>
            <pc:sldMk cId="306443251" sldId="1162"/>
            <ac:picMk id="32" creationId="{9D27D8AC-84B8-43EA-B48D-BAF605C90DA4}"/>
          </ac:picMkLst>
        </pc:picChg>
        <pc:cxnChg chg="add del mod">
          <ac:chgData name="Marion Spizzo" userId="43054aff-b319-44f0-be2a-97a1d91f7302" providerId="ADAL" clId="{37B54CB3-BD7E-40B0-8042-8E551ADA4A1D}" dt="2021-08-11T07:16:22.956" v="2363" actId="478"/>
          <ac:cxnSpMkLst>
            <pc:docMk/>
            <pc:sldMk cId="306443251" sldId="1162"/>
            <ac:cxnSpMk id="3" creationId="{6EB9AF8C-6054-4F3C-810F-F55C67FE115A}"/>
          </ac:cxnSpMkLst>
        </pc:cxnChg>
        <pc:cxnChg chg="add del mod">
          <ac:chgData name="Marion Spizzo" userId="43054aff-b319-44f0-be2a-97a1d91f7302" providerId="ADAL" clId="{37B54CB3-BD7E-40B0-8042-8E551ADA4A1D}" dt="2021-08-11T07:16:43.773" v="2370" actId="21"/>
          <ac:cxnSpMkLst>
            <pc:docMk/>
            <pc:sldMk cId="306443251" sldId="1162"/>
            <ac:cxnSpMk id="5" creationId="{91EE2309-263E-4036-9F23-75248EA5E5D6}"/>
          </ac:cxnSpMkLst>
        </pc:cxnChg>
      </pc:sldChg>
      <pc:sldChg chg="modSp mod">
        <pc:chgData name="Marion Spizzo" userId="43054aff-b319-44f0-be2a-97a1d91f7302" providerId="ADAL" clId="{37B54CB3-BD7E-40B0-8042-8E551ADA4A1D}" dt="2021-08-09T08:49:17.124" v="441" actId="1076"/>
        <pc:sldMkLst>
          <pc:docMk/>
          <pc:sldMk cId="2598824345" sldId="1168"/>
        </pc:sldMkLst>
        <pc:spChg chg="mod">
          <ac:chgData name="Marion Spizzo" userId="43054aff-b319-44f0-be2a-97a1d91f7302" providerId="ADAL" clId="{37B54CB3-BD7E-40B0-8042-8E551ADA4A1D}" dt="2021-08-09T08:49:17.124" v="441" actId="1076"/>
          <ac:spMkLst>
            <pc:docMk/>
            <pc:sldMk cId="2598824345" sldId="1168"/>
            <ac:spMk id="32" creationId="{75FF991D-30D0-4B84-98DD-85E72C5D7418}"/>
          </ac:spMkLst>
        </pc:spChg>
        <pc:spChg chg="mod">
          <ac:chgData name="Marion Spizzo" userId="43054aff-b319-44f0-be2a-97a1d91f7302" providerId="ADAL" clId="{37B54CB3-BD7E-40B0-8042-8E551ADA4A1D}" dt="2021-08-09T08:48:54.391" v="436" actId="14100"/>
          <ac:spMkLst>
            <pc:docMk/>
            <pc:sldMk cId="2598824345" sldId="1168"/>
            <ac:spMk id="34" creationId="{17940BB4-8413-4231-9627-71176FAA9759}"/>
          </ac:spMkLst>
        </pc:spChg>
        <pc:picChg chg="mod">
          <ac:chgData name="Marion Spizzo" userId="43054aff-b319-44f0-be2a-97a1d91f7302" providerId="ADAL" clId="{37B54CB3-BD7E-40B0-8042-8E551ADA4A1D}" dt="2021-08-09T08:48:13.116" v="425" actId="14861"/>
          <ac:picMkLst>
            <pc:docMk/>
            <pc:sldMk cId="2598824345" sldId="1168"/>
            <ac:picMk id="25" creationId="{D583A5D8-E54C-43A9-BA25-B49DAA51232A}"/>
          </ac:picMkLst>
        </pc:picChg>
        <pc:picChg chg="mod">
          <ac:chgData name="Marion Spizzo" userId="43054aff-b319-44f0-be2a-97a1d91f7302" providerId="ADAL" clId="{37B54CB3-BD7E-40B0-8042-8E551ADA4A1D}" dt="2021-08-09T08:47:40.631" v="411" actId="1076"/>
          <ac:picMkLst>
            <pc:docMk/>
            <pc:sldMk cId="2598824345" sldId="1168"/>
            <ac:picMk id="27" creationId="{9A3451D3-F187-4C4B-9209-64087C879F5D}"/>
          </ac:picMkLst>
        </pc:picChg>
        <pc:picChg chg="mod">
          <ac:chgData name="Marion Spizzo" userId="43054aff-b319-44f0-be2a-97a1d91f7302" providerId="ADAL" clId="{37B54CB3-BD7E-40B0-8042-8E551ADA4A1D}" dt="2021-08-09T08:47:41.148" v="413" actId="1076"/>
          <ac:picMkLst>
            <pc:docMk/>
            <pc:sldMk cId="2598824345" sldId="1168"/>
            <ac:picMk id="29" creationId="{D578B2C3-3437-43A3-9E4A-354A576687FD}"/>
          </ac:picMkLst>
        </pc:picChg>
        <pc:picChg chg="mod">
          <ac:chgData name="Marion Spizzo" userId="43054aff-b319-44f0-be2a-97a1d91f7302" providerId="ADAL" clId="{37B54CB3-BD7E-40B0-8042-8E551ADA4A1D}" dt="2021-08-09T08:47:43.447" v="420" actId="1076"/>
          <ac:picMkLst>
            <pc:docMk/>
            <pc:sldMk cId="2598824345" sldId="1168"/>
            <ac:picMk id="31" creationId="{F262BD1B-6913-4AF8-A806-EDD8D81DFA63}"/>
          </ac:picMkLst>
        </pc:picChg>
        <pc:picChg chg="mod">
          <ac:chgData name="Marion Spizzo" userId="43054aff-b319-44f0-be2a-97a1d91f7302" providerId="ADAL" clId="{37B54CB3-BD7E-40B0-8042-8E551ADA4A1D}" dt="2021-08-09T08:48:21.267" v="427" actId="1076"/>
          <ac:picMkLst>
            <pc:docMk/>
            <pc:sldMk cId="2598824345" sldId="1168"/>
            <ac:picMk id="33" creationId="{07CA5A60-A6AF-44BA-9FAC-2A81F186164F}"/>
          </ac:picMkLst>
        </pc:picChg>
      </pc:sldChg>
      <pc:sldChg chg="addSp delSp modSp mod modAnim">
        <pc:chgData name="Marion Spizzo" userId="43054aff-b319-44f0-be2a-97a1d91f7302" providerId="ADAL" clId="{37B54CB3-BD7E-40B0-8042-8E551ADA4A1D}" dt="2021-08-11T06:59:08.271" v="2279" actId="1036"/>
        <pc:sldMkLst>
          <pc:docMk/>
          <pc:sldMk cId="3013579149" sldId="1181"/>
        </pc:sldMkLst>
        <pc:spChg chg="mod">
          <ac:chgData name="Marion Spizzo" userId="43054aff-b319-44f0-be2a-97a1d91f7302" providerId="ADAL" clId="{37B54CB3-BD7E-40B0-8042-8E551ADA4A1D}" dt="2021-08-09T11:18:23.862" v="1123" actId="2085"/>
          <ac:spMkLst>
            <pc:docMk/>
            <pc:sldMk cId="3013579149" sldId="1181"/>
            <ac:spMk id="4" creationId="{6450B1CF-C743-41D6-BC3D-F088F39AEA5A}"/>
          </ac:spMkLst>
        </pc:spChg>
        <pc:spChg chg="mod">
          <ac:chgData name="Marion Spizzo" userId="43054aff-b319-44f0-be2a-97a1d91f7302" providerId="ADAL" clId="{37B54CB3-BD7E-40B0-8042-8E551ADA4A1D}" dt="2021-08-09T11:13:35.791" v="1071" actId="2711"/>
          <ac:spMkLst>
            <pc:docMk/>
            <pc:sldMk cId="3013579149" sldId="1181"/>
            <ac:spMk id="11" creationId="{68E42465-BC53-47C1-AC13-3910561802D3}"/>
          </ac:spMkLst>
        </pc:spChg>
        <pc:spChg chg="mod">
          <ac:chgData name="Marion Spizzo" userId="43054aff-b319-44f0-be2a-97a1d91f7302" providerId="ADAL" clId="{37B54CB3-BD7E-40B0-8042-8E551ADA4A1D}" dt="2021-08-09T11:19:13.249" v="1130" actId="108"/>
          <ac:spMkLst>
            <pc:docMk/>
            <pc:sldMk cId="3013579149" sldId="1181"/>
            <ac:spMk id="17" creationId="{6B7811DF-6054-4F16-8131-21FF316F389B}"/>
          </ac:spMkLst>
        </pc:spChg>
        <pc:spChg chg="mod">
          <ac:chgData name="Marion Spizzo" userId="43054aff-b319-44f0-be2a-97a1d91f7302" providerId="ADAL" clId="{37B54CB3-BD7E-40B0-8042-8E551ADA4A1D}" dt="2021-08-09T11:13:35.791" v="1071" actId="2711"/>
          <ac:spMkLst>
            <pc:docMk/>
            <pc:sldMk cId="3013579149" sldId="1181"/>
            <ac:spMk id="19" creationId="{EF920EB4-6BD7-47A9-8387-B05D3681E465}"/>
          </ac:spMkLst>
        </pc:spChg>
        <pc:spChg chg="mod ord">
          <ac:chgData name="Marion Spizzo" userId="43054aff-b319-44f0-be2a-97a1d91f7302" providerId="ADAL" clId="{37B54CB3-BD7E-40B0-8042-8E551ADA4A1D}" dt="2021-08-11T06:58:44.109" v="2271" actId="1582"/>
          <ac:spMkLst>
            <pc:docMk/>
            <pc:sldMk cId="3013579149" sldId="1181"/>
            <ac:spMk id="23" creationId="{51AC78A7-2264-4F6F-B7EB-0C43B561F3D7}"/>
          </ac:spMkLst>
        </pc:spChg>
        <pc:spChg chg="del mod">
          <ac:chgData name="Marion Spizzo" userId="43054aff-b319-44f0-be2a-97a1d91f7302" providerId="ADAL" clId="{37B54CB3-BD7E-40B0-8042-8E551ADA4A1D}" dt="2021-08-11T06:58:57.050" v="2275" actId="478"/>
          <ac:spMkLst>
            <pc:docMk/>
            <pc:sldMk cId="3013579149" sldId="1181"/>
            <ac:spMk id="24" creationId="{EDD5AFCC-B9AF-433B-ADE8-1AD5AD5D854B}"/>
          </ac:spMkLst>
        </pc:spChg>
        <pc:spChg chg="mod">
          <ac:chgData name="Marion Spizzo" userId="43054aff-b319-44f0-be2a-97a1d91f7302" providerId="ADAL" clId="{37B54CB3-BD7E-40B0-8042-8E551ADA4A1D}" dt="2021-08-09T11:13:35.791" v="1071" actId="2711"/>
          <ac:spMkLst>
            <pc:docMk/>
            <pc:sldMk cId="3013579149" sldId="1181"/>
            <ac:spMk id="25" creationId="{E4E967C3-B20A-4951-B84D-8D137E089400}"/>
          </ac:spMkLst>
        </pc:spChg>
        <pc:spChg chg="mod">
          <ac:chgData name="Marion Spizzo" userId="43054aff-b319-44f0-be2a-97a1d91f7302" providerId="ADAL" clId="{37B54CB3-BD7E-40B0-8042-8E551ADA4A1D}" dt="2021-08-09T11:13:35.791" v="1071" actId="2711"/>
          <ac:spMkLst>
            <pc:docMk/>
            <pc:sldMk cId="3013579149" sldId="1181"/>
            <ac:spMk id="26" creationId="{1F5D4AF2-5E49-43A8-BBDC-BD05C0200041}"/>
          </ac:spMkLst>
        </pc:spChg>
        <pc:spChg chg="mod">
          <ac:chgData name="Marion Spizzo" userId="43054aff-b319-44f0-be2a-97a1d91f7302" providerId="ADAL" clId="{37B54CB3-BD7E-40B0-8042-8E551ADA4A1D}" dt="2021-08-09T11:11:30.833" v="1053" actId="2085"/>
          <ac:spMkLst>
            <pc:docMk/>
            <pc:sldMk cId="3013579149" sldId="1181"/>
            <ac:spMk id="27" creationId="{192E823F-5D46-4836-8A54-04EEC4B82262}"/>
          </ac:spMkLst>
        </pc:spChg>
        <pc:spChg chg="del mod">
          <ac:chgData name="Marion Spizzo" userId="43054aff-b319-44f0-be2a-97a1d91f7302" providerId="ADAL" clId="{37B54CB3-BD7E-40B0-8042-8E551ADA4A1D}" dt="2021-08-11T06:58:59.192" v="2276" actId="478"/>
          <ac:spMkLst>
            <pc:docMk/>
            <pc:sldMk cId="3013579149" sldId="1181"/>
            <ac:spMk id="29" creationId="{FF619788-80CE-4F84-8DD1-7C34FDC2D664}"/>
          </ac:spMkLst>
        </pc:spChg>
        <pc:spChg chg="mod">
          <ac:chgData name="Marion Spizzo" userId="43054aff-b319-44f0-be2a-97a1d91f7302" providerId="ADAL" clId="{37B54CB3-BD7E-40B0-8042-8E551ADA4A1D}" dt="2021-08-09T11:13:35.791" v="1071" actId="2711"/>
          <ac:spMkLst>
            <pc:docMk/>
            <pc:sldMk cId="3013579149" sldId="1181"/>
            <ac:spMk id="31" creationId="{AFAF7424-1720-40BF-9BEC-63D125B52026}"/>
          </ac:spMkLst>
        </pc:spChg>
        <pc:spChg chg="mod">
          <ac:chgData name="Marion Spizzo" userId="43054aff-b319-44f0-be2a-97a1d91f7302" providerId="ADAL" clId="{37B54CB3-BD7E-40B0-8042-8E551ADA4A1D}" dt="2021-08-09T11:13:52.405" v="1075" actId="12"/>
          <ac:spMkLst>
            <pc:docMk/>
            <pc:sldMk cId="3013579149" sldId="1181"/>
            <ac:spMk id="32" creationId="{410C7DCC-4102-4C2F-BB3E-461753C4F2C9}"/>
          </ac:spMkLst>
        </pc:spChg>
        <pc:spChg chg="mod">
          <ac:chgData name="Marion Spizzo" userId="43054aff-b319-44f0-be2a-97a1d91f7302" providerId="ADAL" clId="{37B54CB3-BD7E-40B0-8042-8E551ADA4A1D}" dt="2021-08-09T11:13:35.791" v="1071" actId="2711"/>
          <ac:spMkLst>
            <pc:docMk/>
            <pc:sldMk cId="3013579149" sldId="1181"/>
            <ac:spMk id="33" creationId="{0C4CD464-EBF1-47EB-B132-0DA85B524DFF}"/>
          </ac:spMkLst>
        </pc:spChg>
        <pc:spChg chg="mod">
          <ac:chgData name="Marion Spizzo" userId="43054aff-b319-44f0-be2a-97a1d91f7302" providerId="ADAL" clId="{37B54CB3-BD7E-40B0-8042-8E551ADA4A1D}" dt="2021-08-09T11:13:35.791" v="1071" actId="2711"/>
          <ac:spMkLst>
            <pc:docMk/>
            <pc:sldMk cId="3013579149" sldId="1181"/>
            <ac:spMk id="34" creationId="{0CE0A93E-69DE-439E-9006-750E23017D8F}"/>
          </ac:spMkLst>
        </pc:spChg>
        <pc:spChg chg="mod">
          <ac:chgData name="Marion Spizzo" userId="43054aff-b319-44f0-be2a-97a1d91f7302" providerId="ADAL" clId="{37B54CB3-BD7E-40B0-8042-8E551ADA4A1D}" dt="2021-08-09T11:13:35.791" v="1071" actId="2711"/>
          <ac:spMkLst>
            <pc:docMk/>
            <pc:sldMk cId="3013579149" sldId="1181"/>
            <ac:spMk id="35" creationId="{38F01A54-13AA-4071-9685-0B2059D30F49}"/>
          </ac:spMkLst>
        </pc:spChg>
        <pc:spChg chg="add mod">
          <ac:chgData name="Marion Spizzo" userId="43054aff-b319-44f0-be2a-97a1d91f7302" providerId="ADAL" clId="{37B54CB3-BD7E-40B0-8042-8E551ADA4A1D}" dt="2021-08-11T06:59:08.271" v="2279" actId="1036"/>
          <ac:spMkLst>
            <pc:docMk/>
            <pc:sldMk cId="3013579149" sldId="1181"/>
            <ac:spMk id="40" creationId="{A0AEAC0F-71C5-47A2-A6E7-B32889F02890}"/>
          </ac:spMkLst>
        </pc:spChg>
        <pc:picChg chg="del mod">
          <ac:chgData name="Marion Spizzo" userId="43054aff-b319-44f0-be2a-97a1d91f7302" providerId="ADAL" clId="{37B54CB3-BD7E-40B0-8042-8E551ADA4A1D}" dt="2021-08-11T06:58:54.712" v="2274" actId="478"/>
          <ac:picMkLst>
            <pc:docMk/>
            <pc:sldMk cId="3013579149" sldId="1181"/>
            <ac:picMk id="8" creationId="{EEEBA873-2980-4218-B614-BC978C7C941C}"/>
          </ac:picMkLst>
        </pc:picChg>
        <pc:picChg chg="del mod">
          <ac:chgData name="Marion Spizzo" userId="43054aff-b319-44f0-be2a-97a1d91f7302" providerId="ADAL" clId="{37B54CB3-BD7E-40B0-8042-8E551ADA4A1D}" dt="2021-08-11T06:58:22.742" v="2259" actId="478"/>
          <ac:picMkLst>
            <pc:docMk/>
            <pc:sldMk cId="3013579149" sldId="1181"/>
            <ac:picMk id="20" creationId="{F905FDFA-25F2-40FB-B045-AA8F0F897899}"/>
          </ac:picMkLst>
        </pc:picChg>
        <pc:picChg chg="add mod">
          <ac:chgData name="Marion Spizzo" userId="43054aff-b319-44f0-be2a-97a1d91f7302" providerId="ADAL" clId="{37B54CB3-BD7E-40B0-8042-8E551ADA4A1D}" dt="2021-08-11T06:58:27.413" v="2261" actId="1076"/>
          <ac:picMkLst>
            <pc:docMk/>
            <pc:sldMk cId="3013579149" sldId="1181"/>
            <ac:picMk id="37" creationId="{5203F7EB-5E24-4C84-94C6-9E6BA30B9715}"/>
          </ac:picMkLst>
        </pc:picChg>
        <pc:picChg chg="add mod">
          <ac:chgData name="Marion Spizzo" userId="43054aff-b319-44f0-be2a-97a1d91f7302" providerId="ADAL" clId="{37B54CB3-BD7E-40B0-8042-8E551ADA4A1D}" dt="2021-08-11T06:59:01.615" v="2277" actId="1076"/>
          <ac:picMkLst>
            <pc:docMk/>
            <pc:sldMk cId="3013579149" sldId="1181"/>
            <ac:picMk id="39" creationId="{19C18DA4-49C0-45A3-834A-5459BDD78C50}"/>
          </ac:picMkLst>
        </pc:picChg>
      </pc:sldChg>
      <pc:sldChg chg="addSp delSp modSp mod">
        <pc:chgData name="Marion Spizzo" userId="43054aff-b319-44f0-be2a-97a1d91f7302" providerId="ADAL" clId="{37B54CB3-BD7E-40B0-8042-8E551ADA4A1D}" dt="2021-08-11T07:03:38.760" v="2331" actId="1035"/>
        <pc:sldMkLst>
          <pc:docMk/>
          <pc:sldMk cId="1371926318" sldId="1182"/>
        </pc:sldMkLst>
        <pc:spChg chg="mod">
          <ac:chgData name="Marion Spizzo" userId="43054aff-b319-44f0-be2a-97a1d91f7302" providerId="ADAL" clId="{37B54CB3-BD7E-40B0-8042-8E551ADA4A1D}" dt="2021-08-09T11:17:17.332" v="1114" actId="1076"/>
          <ac:spMkLst>
            <pc:docMk/>
            <pc:sldMk cId="1371926318" sldId="1182"/>
            <ac:spMk id="19" creationId="{EF920EB4-6BD7-47A9-8387-B05D3681E465}"/>
          </ac:spMkLst>
        </pc:spChg>
        <pc:spChg chg="mod">
          <ac:chgData name="Marion Spizzo" userId="43054aff-b319-44f0-be2a-97a1d91f7302" providerId="ADAL" clId="{37B54CB3-BD7E-40B0-8042-8E551ADA4A1D}" dt="2021-08-09T11:17:51.027" v="1121" actId="33524"/>
          <ac:spMkLst>
            <pc:docMk/>
            <pc:sldMk cId="1371926318" sldId="1182"/>
            <ac:spMk id="25" creationId="{1FE475C9-0495-4CE6-8C1A-0B26AE14F282}"/>
          </ac:spMkLst>
        </pc:spChg>
        <pc:spChg chg="mod ord">
          <ac:chgData name="Marion Spizzo" userId="43054aff-b319-44f0-be2a-97a1d91f7302" providerId="ADAL" clId="{37B54CB3-BD7E-40B0-8042-8E551ADA4A1D}" dt="2021-08-11T07:02:08.636" v="2303" actId="1076"/>
          <ac:spMkLst>
            <pc:docMk/>
            <pc:sldMk cId="1371926318" sldId="1182"/>
            <ac:spMk id="28" creationId="{B11A716A-5C22-4570-9738-116A5BDA25CA}"/>
          </ac:spMkLst>
        </pc:spChg>
        <pc:spChg chg="mod ord">
          <ac:chgData name="Marion Spizzo" userId="43054aff-b319-44f0-be2a-97a1d91f7302" providerId="ADAL" clId="{37B54CB3-BD7E-40B0-8042-8E551ADA4A1D}" dt="2021-08-11T07:03:38.760" v="2331" actId="1035"/>
          <ac:spMkLst>
            <pc:docMk/>
            <pc:sldMk cId="1371926318" sldId="1182"/>
            <ac:spMk id="32" creationId="{FEEBDE53-D317-49C3-9F84-A5F099EE3B25}"/>
          </ac:spMkLst>
        </pc:spChg>
        <pc:spChg chg="mod">
          <ac:chgData name="Marion Spizzo" userId="43054aff-b319-44f0-be2a-97a1d91f7302" providerId="ADAL" clId="{37B54CB3-BD7E-40B0-8042-8E551ADA4A1D}" dt="2021-08-09T11:17:28.074" v="1117" actId="1076"/>
          <ac:spMkLst>
            <pc:docMk/>
            <pc:sldMk cId="1371926318" sldId="1182"/>
            <ac:spMk id="33" creationId="{0C4CD464-EBF1-47EB-B132-0DA85B524DFF}"/>
          </ac:spMkLst>
        </pc:spChg>
        <pc:spChg chg="mod">
          <ac:chgData name="Marion Spizzo" userId="43054aff-b319-44f0-be2a-97a1d91f7302" providerId="ADAL" clId="{37B54CB3-BD7E-40B0-8042-8E551ADA4A1D}" dt="2021-08-09T11:19:16.056" v="1131" actId="108"/>
          <ac:spMkLst>
            <pc:docMk/>
            <pc:sldMk cId="1371926318" sldId="1182"/>
            <ac:spMk id="36" creationId="{1A2FB62A-EE76-45C6-8DF9-0555A8FC7F8A}"/>
          </ac:spMkLst>
        </pc:spChg>
        <pc:spChg chg="mod">
          <ac:chgData name="Marion Spizzo" userId="43054aff-b319-44f0-be2a-97a1d91f7302" providerId="ADAL" clId="{37B54CB3-BD7E-40B0-8042-8E551ADA4A1D}" dt="2021-08-09T11:17:05.753" v="1110" actId="1076"/>
          <ac:spMkLst>
            <pc:docMk/>
            <pc:sldMk cId="1371926318" sldId="1182"/>
            <ac:spMk id="38" creationId="{10C0E066-DC46-44E0-9477-A9C4848F4021}"/>
          </ac:spMkLst>
        </pc:spChg>
        <pc:spChg chg="mod">
          <ac:chgData name="Marion Spizzo" userId="43054aff-b319-44f0-be2a-97a1d91f7302" providerId="ADAL" clId="{37B54CB3-BD7E-40B0-8042-8E551ADA4A1D}" dt="2021-08-09T11:15:27.982" v="1090" actId="11530"/>
          <ac:spMkLst>
            <pc:docMk/>
            <pc:sldMk cId="1371926318" sldId="1182"/>
            <ac:spMk id="42" creationId="{9CA2E164-4C39-4C47-9795-C41788EA9B2C}"/>
          </ac:spMkLst>
        </pc:spChg>
        <pc:spChg chg="mod">
          <ac:chgData name="Marion Spizzo" userId="43054aff-b319-44f0-be2a-97a1d91f7302" providerId="ADAL" clId="{37B54CB3-BD7E-40B0-8042-8E551ADA4A1D}" dt="2021-08-09T11:15:27.982" v="1090" actId="11530"/>
          <ac:spMkLst>
            <pc:docMk/>
            <pc:sldMk cId="1371926318" sldId="1182"/>
            <ac:spMk id="43" creationId="{08ACE9D4-BAFD-4C76-9A63-F5EF19721751}"/>
          </ac:spMkLst>
        </pc:spChg>
        <pc:spChg chg="mod">
          <ac:chgData name="Marion Spizzo" userId="43054aff-b319-44f0-be2a-97a1d91f7302" providerId="ADAL" clId="{37B54CB3-BD7E-40B0-8042-8E551ADA4A1D}" dt="2021-08-09T11:15:42.448" v="1092" actId="207"/>
          <ac:spMkLst>
            <pc:docMk/>
            <pc:sldMk cId="1371926318" sldId="1182"/>
            <ac:spMk id="44" creationId="{62DF2E9F-6BCD-4F4E-9CDC-5966DB9397E8}"/>
          </ac:spMkLst>
        </pc:spChg>
        <pc:spChg chg="mod">
          <ac:chgData name="Marion Spizzo" userId="43054aff-b319-44f0-be2a-97a1d91f7302" providerId="ADAL" clId="{37B54CB3-BD7E-40B0-8042-8E551ADA4A1D}" dt="2021-08-09T11:16:42.917" v="1107" actId="1076"/>
          <ac:spMkLst>
            <pc:docMk/>
            <pc:sldMk cId="1371926318" sldId="1182"/>
            <ac:spMk id="45" creationId="{B6AAC62B-CABA-4828-B8BF-01431BD71D5C}"/>
          </ac:spMkLst>
        </pc:spChg>
        <pc:spChg chg="mod">
          <ac:chgData name="Marion Spizzo" userId="43054aff-b319-44f0-be2a-97a1d91f7302" providerId="ADAL" clId="{37B54CB3-BD7E-40B0-8042-8E551ADA4A1D}" dt="2021-08-09T11:18:28.945" v="1124" actId="2085"/>
          <ac:spMkLst>
            <pc:docMk/>
            <pc:sldMk cId="1371926318" sldId="1182"/>
            <ac:spMk id="46" creationId="{42B88B15-163F-426F-892F-81E50C705A69}"/>
          </ac:spMkLst>
        </pc:spChg>
        <pc:picChg chg="del mod">
          <ac:chgData name="Marion Spizzo" userId="43054aff-b319-44f0-be2a-97a1d91f7302" providerId="ADAL" clId="{37B54CB3-BD7E-40B0-8042-8E551ADA4A1D}" dt="2021-08-11T07:01:22.338" v="2285" actId="478"/>
          <ac:picMkLst>
            <pc:docMk/>
            <pc:sldMk cId="1371926318" sldId="1182"/>
            <ac:picMk id="3" creationId="{3A5FD58E-DD54-439B-9A4B-EB46020EAF09}"/>
          </ac:picMkLst>
        </pc:picChg>
        <pc:picChg chg="add del mod">
          <ac:chgData name="Marion Spizzo" userId="43054aff-b319-44f0-be2a-97a1d91f7302" providerId="ADAL" clId="{37B54CB3-BD7E-40B0-8042-8E551ADA4A1D}" dt="2021-08-11T07:01:04.576" v="2282" actId="478"/>
          <ac:picMkLst>
            <pc:docMk/>
            <pc:sldMk cId="1371926318" sldId="1182"/>
            <ac:picMk id="4" creationId="{5C32F265-B46A-4767-B8ED-BFCE17DE9667}"/>
          </ac:picMkLst>
        </pc:picChg>
        <pc:picChg chg="del mod">
          <ac:chgData name="Marion Spizzo" userId="43054aff-b319-44f0-be2a-97a1d91f7302" providerId="ADAL" clId="{37B54CB3-BD7E-40B0-8042-8E551ADA4A1D}" dt="2021-08-11T07:02:35.714" v="2309" actId="478"/>
          <ac:picMkLst>
            <pc:docMk/>
            <pc:sldMk cId="1371926318" sldId="1182"/>
            <ac:picMk id="5" creationId="{8C46FC68-045B-4914-9AB3-CCD13343B7FB}"/>
          </ac:picMkLst>
        </pc:picChg>
        <pc:picChg chg="add mod">
          <ac:chgData name="Marion Spizzo" userId="43054aff-b319-44f0-be2a-97a1d91f7302" providerId="ADAL" clId="{37B54CB3-BD7E-40B0-8042-8E551ADA4A1D}" dt="2021-08-11T07:02:05.800" v="2302" actId="1076"/>
          <ac:picMkLst>
            <pc:docMk/>
            <pc:sldMk cId="1371926318" sldId="1182"/>
            <ac:picMk id="7" creationId="{49CAE2EA-CB09-4AD9-B6D4-89F23A91304A}"/>
          </ac:picMkLst>
        </pc:picChg>
        <pc:picChg chg="add del mod">
          <ac:chgData name="Marion Spizzo" userId="43054aff-b319-44f0-be2a-97a1d91f7302" providerId="ADAL" clId="{37B54CB3-BD7E-40B0-8042-8E551ADA4A1D}" dt="2021-08-11T07:03:09.480" v="2317" actId="478"/>
          <ac:picMkLst>
            <pc:docMk/>
            <pc:sldMk cId="1371926318" sldId="1182"/>
            <ac:picMk id="9" creationId="{B9CCB18F-98AF-48A2-B334-31B4605F166A}"/>
          </ac:picMkLst>
        </pc:picChg>
        <pc:picChg chg="add mod">
          <ac:chgData name="Marion Spizzo" userId="43054aff-b319-44f0-be2a-97a1d91f7302" providerId="ADAL" clId="{37B54CB3-BD7E-40B0-8042-8E551ADA4A1D}" dt="2021-08-11T07:03:31.196" v="2326" actId="14100"/>
          <ac:picMkLst>
            <pc:docMk/>
            <pc:sldMk cId="1371926318" sldId="1182"/>
            <ac:picMk id="11" creationId="{6116D3A4-4F09-4403-A6D0-78A6B38C4A93}"/>
          </ac:picMkLst>
        </pc:picChg>
        <pc:picChg chg="mod">
          <ac:chgData name="Marion Spizzo" userId="43054aff-b319-44f0-be2a-97a1d91f7302" providerId="ADAL" clId="{37B54CB3-BD7E-40B0-8042-8E551ADA4A1D}" dt="2021-08-09T11:15:08.397" v="1088" actId="1076"/>
          <ac:picMkLst>
            <pc:docMk/>
            <pc:sldMk cId="1371926318" sldId="1182"/>
            <ac:picMk id="22" creationId="{5E7176CD-E861-4299-95A0-F34E4BB4CA57}"/>
          </ac:picMkLst>
        </pc:picChg>
        <pc:picChg chg="mod">
          <ac:chgData name="Marion Spizzo" userId="43054aff-b319-44f0-be2a-97a1d91f7302" providerId="ADAL" clId="{37B54CB3-BD7E-40B0-8042-8E551ADA4A1D}" dt="2021-08-09T11:15:08.397" v="1088" actId="1076"/>
          <ac:picMkLst>
            <pc:docMk/>
            <pc:sldMk cId="1371926318" sldId="1182"/>
            <ac:picMk id="23" creationId="{1F87DDD7-F399-492C-8A25-BDBC3F5A93AC}"/>
          </ac:picMkLst>
        </pc:picChg>
        <pc:picChg chg="mod">
          <ac:chgData name="Marion Spizzo" userId="43054aff-b319-44f0-be2a-97a1d91f7302" providerId="ADAL" clId="{37B54CB3-BD7E-40B0-8042-8E551ADA4A1D}" dt="2021-08-09T11:15:08.397" v="1088" actId="1076"/>
          <ac:picMkLst>
            <pc:docMk/>
            <pc:sldMk cId="1371926318" sldId="1182"/>
            <ac:picMk id="24" creationId="{86D9454C-2DA3-4E4F-9298-E712FFFBD632}"/>
          </ac:picMkLst>
        </pc:picChg>
        <pc:picChg chg="mod">
          <ac:chgData name="Marion Spizzo" userId="43054aff-b319-44f0-be2a-97a1d91f7302" providerId="ADAL" clId="{37B54CB3-BD7E-40B0-8042-8E551ADA4A1D}" dt="2021-08-09T11:15:13.166" v="1089" actId="1076"/>
          <ac:picMkLst>
            <pc:docMk/>
            <pc:sldMk cId="1371926318" sldId="1182"/>
            <ac:picMk id="39" creationId="{3BCC4019-681F-467D-B8AA-80D1630BA292}"/>
          </ac:picMkLst>
        </pc:picChg>
      </pc:sldChg>
      <pc:sldChg chg="modSp mod">
        <pc:chgData name="Marion Spizzo" userId="43054aff-b319-44f0-be2a-97a1d91f7302" providerId="ADAL" clId="{37B54CB3-BD7E-40B0-8042-8E551ADA4A1D}" dt="2021-08-09T08:02:11.649" v="41" actId="20577"/>
        <pc:sldMkLst>
          <pc:docMk/>
          <pc:sldMk cId="3626055260" sldId="1200"/>
        </pc:sldMkLst>
        <pc:spChg chg="mod">
          <ac:chgData name="Marion Spizzo" userId="43054aff-b319-44f0-be2a-97a1d91f7302" providerId="ADAL" clId="{37B54CB3-BD7E-40B0-8042-8E551ADA4A1D}" dt="2021-08-09T08:02:11.649" v="41" actId="20577"/>
          <ac:spMkLst>
            <pc:docMk/>
            <pc:sldMk cId="3626055260" sldId="1200"/>
            <ac:spMk id="6" creationId="{A19744FE-0122-4458-A703-1ED9355A7C5F}"/>
          </ac:spMkLst>
        </pc:spChg>
        <pc:spChg chg="mod">
          <ac:chgData name="Marion Spizzo" userId="43054aff-b319-44f0-be2a-97a1d91f7302" providerId="ADAL" clId="{37B54CB3-BD7E-40B0-8042-8E551ADA4A1D}" dt="2021-08-09T08:01:46.588" v="35" actId="5793"/>
          <ac:spMkLst>
            <pc:docMk/>
            <pc:sldMk cId="3626055260" sldId="1200"/>
            <ac:spMk id="7" creationId="{22974B99-5E58-480B-92F2-3B8832468EBD}"/>
          </ac:spMkLst>
        </pc:spChg>
        <pc:picChg chg="mod">
          <ac:chgData name="Marion Spizzo" userId="43054aff-b319-44f0-be2a-97a1d91f7302" providerId="ADAL" clId="{37B54CB3-BD7E-40B0-8042-8E551ADA4A1D}" dt="2021-08-09T08:00:33.777" v="25" actId="1076"/>
          <ac:picMkLst>
            <pc:docMk/>
            <pc:sldMk cId="3626055260" sldId="1200"/>
            <ac:picMk id="5" creationId="{714D2C33-B3D0-487F-A5D6-D76884BE76B8}"/>
          </ac:picMkLst>
        </pc:picChg>
      </pc:sldChg>
      <pc:sldChg chg="modSp mod">
        <pc:chgData name="Marion Spizzo" userId="43054aff-b319-44f0-be2a-97a1d91f7302" providerId="ADAL" clId="{37B54CB3-BD7E-40B0-8042-8E551ADA4A1D}" dt="2021-08-09T08:03:19.656" v="56" actId="1076"/>
        <pc:sldMkLst>
          <pc:docMk/>
          <pc:sldMk cId="2851628216" sldId="1201"/>
        </pc:sldMkLst>
        <pc:spChg chg="mod">
          <ac:chgData name="Marion Spizzo" userId="43054aff-b319-44f0-be2a-97a1d91f7302" providerId="ADAL" clId="{37B54CB3-BD7E-40B0-8042-8E551ADA4A1D}" dt="2021-08-09T08:02:45.037" v="48" actId="20577"/>
          <ac:spMkLst>
            <pc:docMk/>
            <pc:sldMk cId="2851628216" sldId="1201"/>
            <ac:spMk id="6" creationId="{A19744FE-0122-4458-A703-1ED9355A7C5F}"/>
          </ac:spMkLst>
        </pc:spChg>
        <pc:spChg chg="mod">
          <ac:chgData name="Marion Spizzo" userId="43054aff-b319-44f0-be2a-97a1d91f7302" providerId="ADAL" clId="{37B54CB3-BD7E-40B0-8042-8E551ADA4A1D}" dt="2021-08-09T08:02:57.958" v="51" actId="1076"/>
          <ac:spMkLst>
            <pc:docMk/>
            <pc:sldMk cId="2851628216" sldId="1201"/>
            <ac:spMk id="7" creationId="{22974B99-5E58-480B-92F2-3B8832468EBD}"/>
          </ac:spMkLst>
        </pc:spChg>
        <pc:picChg chg="mod">
          <ac:chgData name="Marion Spizzo" userId="43054aff-b319-44f0-be2a-97a1d91f7302" providerId="ADAL" clId="{37B54CB3-BD7E-40B0-8042-8E551ADA4A1D}" dt="2021-08-09T08:03:19.656" v="56" actId="1076"/>
          <ac:picMkLst>
            <pc:docMk/>
            <pc:sldMk cId="2851628216" sldId="1201"/>
            <ac:picMk id="4" creationId="{A648CE9E-3B0F-43F7-A74A-98095E7ACA3C}"/>
          </ac:picMkLst>
        </pc:picChg>
      </pc:sldChg>
      <pc:sldChg chg="modSp mod">
        <pc:chgData name="Marion Spizzo" userId="43054aff-b319-44f0-be2a-97a1d91f7302" providerId="ADAL" clId="{37B54CB3-BD7E-40B0-8042-8E551ADA4A1D}" dt="2021-08-10T12:32:46.561" v="1408" actId="20577"/>
        <pc:sldMkLst>
          <pc:docMk/>
          <pc:sldMk cId="3770443279" sldId="1202"/>
        </pc:sldMkLst>
        <pc:spChg chg="mod">
          <ac:chgData name="Marion Spizzo" userId="43054aff-b319-44f0-be2a-97a1d91f7302" providerId="ADAL" clId="{37B54CB3-BD7E-40B0-8042-8E551ADA4A1D}" dt="2021-08-09T08:04:57.296" v="62" actId="113"/>
          <ac:spMkLst>
            <pc:docMk/>
            <pc:sldMk cId="3770443279" sldId="1202"/>
            <ac:spMk id="6" creationId="{A19744FE-0122-4458-A703-1ED9355A7C5F}"/>
          </ac:spMkLst>
        </pc:spChg>
        <pc:spChg chg="mod">
          <ac:chgData name="Marion Spizzo" userId="43054aff-b319-44f0-be2a-97a1d91f7302" providerId="ADAL" clId="{37B54CB3-BD7E-40B0-8042-8E551ADA4A1D}" dt="2021-08-10T12:32:46.561" v="1408" actId="20577"/>
          <ac:spMkLst>
            <pc:docMk/>
            <pc:sldMk cId="3770443279" sldId="1202"/>
            <ac:spMk id="22" creationId="{5999E3D1-D651-436C-93AE-E2DA28D7D18B}"/>
          </ac:spMkLst>
        </pc:spChg>
        <pc:spChg chg="mod">
          <ac:chgData name="Marion Spizzo" userId="43054aff-b319-44f0-be2a-97a1d91f7302" providerId="ADAL" clId="{37B54CB3-BD7E-40B0-8042-8E551ADA4A1D}" dt="2021-08-09T08:05:26.139" v="68" actId="1076"/>
          <ac:spMkLst>
            <pc:docMk/>
            <pc:sldMk cId="3770443279" sldId="1202"/>
            <ac:spMk id="28" creationId="{604B9680-9ADD-4FE2-BC05-3EDFE00C4114}"/>
          </ac:spMkLst>
        </pc:spChg>
        <pc:spChg chg="mod">
          <ac:chgData name="Marion Spizzo" userId="43054aff-b319-44f0-be2a-97a1d91f7302" providerId="ADAL" clId="{37B54CB3-BD7E-40B0-8042-8E551ADA4A1D}" dt="2021-08-09T08:05:05.736" v="63" actId="14100"/>
          <ac:spMkLst>
            <pc:docMk/>
            <pc:sldMk cId="3770443279" sldId="1202"/>
            <ac:spMk id="34" creationId="{C26448EA-46F1-4E01-B7D0-E6FE62E96CE1}"/>
          </ac:spMkLst>
        </pc:spChg>
        <pc:grpChg chg="mod">
          <ac:chgData name="Marion Spizzo" userId="43054aff-b319-44f0-be2a-97a1d91f7302" providerId="ADAL" clId="{37B54CB3-BD7E-40B0-8042-8E551ADA4A1D}" dt="2021-08-09T08:05:19.078" v="67" actId="1076"/>
          <ac:grpSpMkLst>
            <pc:docMk/>
            <pc:sldMk cId="3770443279" sldId="1202"/>
            <ac:grpSpMk id="15" creationId="{B335413E-B469-4B0A-8354-3F222E781D8D}"/>
          </ac:grpSpMkLst>
        </pc:grpChg>
      </pc:sldChg>
      <pc:sldChg chg="modSp mod">
        <pc:chgData name="Marion Spizzo" userId="43054aff-b319-44f0-be2a-97a1d91f7302" providerId="ADAL" clId="{37B54CB3-BD7E-40B0-8042-8E551ADA4A1D}" dt="2021-08-09T08:06:21.393" v="71" actId="12"/>
        <pc:sldMkLst>
          <pc:docMk/>
          <pc:sldMk cId="2515024649" sldId="1203"/>
        </pc:sldMkLst>
        <pc:spChg chg="mod">
          <ac:chgData name="Marion Spizzo" userId="43054aff-b319-44f0-be2a-97a1d91f7302" providerId="ADAL" clId="{37B54CB3-BD7E-40B0-8042-8E551ADA4A1D}" dt="2021-08-09T08:06:21.393" v="71" actId="12"/>
          <ac:spMkLst>
            <pc:docMk/>
            <pc:sldMk cId="2515024649" sldId="1203"/>
            <ac:spMk id="37" creationId="{C4BE9CCD-C203-414F-B252-20F9929F8E62}"/>
          </ac:spMkLst>
        </pc:spChg>
      </pc:sldChg>
      <pc:sldChg chg="modSp mod">
        <pc:chgData name="Marion Spizzo" userId="43054aff-b319-44f0-be2a-97a1d91f7302" providerId="ADAL" clId="{37B54CB3-BD7E-40B0-8042-8E551ADA4A1D}" dt="2021-08-10T12:38:06.371" v="1413" actId="1076"/>
        <pc:sldMkLst>
          <pc:docMk/>
          <pc:sldMk cId="3270280714" sldId="1204"/>
        </pc:sldMkLst>
        <pc:spChg chg="mod">
          <ac:chgData name="Marion Spizzo" userId="43054aff-b319-44f0-be2a-97a1d91f7302" providerId="ADAL" clId="{37B54CB3-BD7E-40B0-8042-8E551ADA4A1D}" dt="2021-08-10T12:38:06.371" v="1413" actId="1076"/>
          <ac:spMkLst>
            <pc:docMk/>
            <pc:sldMk cId="3270280714" sldId="1204"/>
            <ac:spMk id="6" creationId="{A19744FE-0122-4458-A703-1ED9355A7C5F}"/>
          </ac:spMkLst>
        </pc:spChg>
        <pc:spChg chg="mod">
          <ac:chgData name="Marion Spizzo" userId="43054aff-b319-44f0-be2a-97a1d91f7302" providerId="ADAL" clId="{37B54CB3-BD7E-40B0-8042-8E551ADA4A1D}" dt="2021-08-10T12:38:02.451" v="1412" actId="1076"/>
          <ac:spMkLst>
            <pc:docMk/>
            <pc:sldMk cId="3270280714" sldId="1204"/>
            <ac:spMk id="31" creationId="{C2E356A7-F0C9-4E37-8904-4CFAE1F864A1}"/>
          </ac:spMkLst>
        </pc:spChg>
        <pc:spChg chg="mod">
          <ac:chgData name="Marion Spizzo" userId="43054aff-b319-44f0-be2a-97a1d91f7302" providerId="ADAL" clId="{37B54CB3-BD7E-40B0-8042-8E551ADA4A1D}" dt="2021-08-10T12:38:02.451" v="1412" actId="1076"/>
          <ac:spMkLst>
            <pc:docMk/>
            <pc:sldMk cId="3270280714" sldId="1204"/>
            <ac:spMk id="35" creationId="{2F00C498-6C91-4802-B79A-B21A351086B1}"/>
          </ac:spMkLst>
        </pc:spChg>
        <pc:spChg chg="mod">
          <ac:chgData name="Marion Spizzo" userId="43054aff-b319-44f0-be2a-97a1d91f7302" providerId="ADAL" clId="{37B54CB3-BD7E-40B0-8042-8E551ADA4A1D}" dt="2021-08-10T12:38:02.451" v="1412" actId="1076"/>
          <ac:spMkLst>
            <pc:docMk/>
            <pc:sldMk cId="3270280714" sldId="1204"/>
            <ac:spMk id="36" creationId="{D66D3841-4BE4-4211-9A3B-E6FBAB054984}"/>
          </ac:spMkLst>
        </pc:spChg>
        <pc:spChg chg="mod">
          <ac:chgData name="Marion Spizzo" userId="43054aff-b319-44f0-be2a-97a1d91f7302" providerId="ADAL" clId="{37B54CB3-BD7E-40B0-8042-8E551ADA4A1D}" dt="2021-08-10T12:38:02.451" v="1412" actId="1076"/>
          <ac:spMkLst>
            <pc:docMk/>
            <pc:sldMk cId="3270280714" sldId="1204"/>
            <ac:spMk id="37" creationId="{C4BE9CCD-C203-414F-B252-20F9929F8E62}"/>
          </ac:spMkLst>
        </pc:spChg>
        <pc:spChg chg="mod">
          <ac:chgData name="Marion Spizzo" userId="43054aff-b319-44f0-be2a-97a1d91f7302" providerId="ADAL" clId="{37B54CB3-BD7E-40B0-8042-8E551ADA4A1D}" dt="2021-08-10T12:38:02.451" v="1412" actId="1076"/>
          <ac:spMkLst>
            <pc:docMk/>
            <pc:sldMk cId="3270280714" sldId="1204"/>
            <ac:spMk id="38" creationId="{ED09656B-C0AC-4936-AD21-246475444A6A}"/>
          </ac:spMkLst>
        </pc:spChg>
        <pc:spChg chg="mod">
          <ac:chgData name="Marion Spizzo" userId="43054aff-b319-44f0-be2a-97a1d91f7302" providerId="ADAL" clId="{37B54CB3-BD7E-40B0-8042-8E551ADA4A1D}" dt="2021-08-10T12:38:02.451" v="1412" actId="1076"/>
          <ac:spMkLst>
            <pc:docMk/>
            <pc:sldMk cId="3270280714" sldId="1204"/>
            <ac:spMk id="39" creationId="{9A5867D7-3747-4F74-80A8-1B5AF417EA49}"/>
          </ac:spMkLst>
        </pc:spChg>
        <pc:spChg chg="mod">
          <ac:chgData name="Marion Spizzo" userId="43054aff-b319-44f0-be2a-97a1d91f7302" providerId="ADAL" clId="{37B54CB3-BD7E-40B0-8042-8E551ADA4A1D}" dt="2021-08-10T12:38:02.451" v="1412" actId="1076"/>
          <ac:spMkLst>
            <pc:docMk/>
            <pc:sldMk cId="3270280714" sldId="1204"/>
            <ac:spMk id="40" creationId="{1F9F01A8-FA07-42C7-AF3A-103F301FB65B}"/>
          </ac:spMkLst>
        </pc:spChg>
        <pc:spChg chg="mod">
          <ac:chgData name="Marion Spizzo" userId="43054aff-b319-44f0-be2a-97a1d91f7302" providerId="ADAL" clId="{37B54CB3-BD7E-40B0-8042-8E551ADA4A1D}" dt="2021-08-10T12:38:02.451" v="1412" actId="1076"/>
          <ac:spMkLst>
            <pc:docMk/>
            <pc:sldMk cId="3270280714" sldId="1204"/>
            <ac:spMk id="41" creationId="{8E2A35B4-08DC-4C68-80B1-B6FA91906473}"/>
          </ac:spMkLst>
        </pc:spChg>
        <pc:spChg chg="mod">
          <ac:chgData name="Marion Spizzo" userId="43054aff-b319-44f0-be2a-97a1d91f7302" providerId="ADAL" clId="{37B54CB3-BD7E-40B0-8042-8E551ADA4A1D}" dt="2021-08-10T12:38:02.451" v="1412" actId="1076"/>
          <ac:spMkLst>
            <pc:docMk/>
            <pc:sldMk cId="3270280714" sldId="1204"/>
            <ac:spMk id="43" creationId="{5B9B524D-B2AF-4C3A-9818-2DA5A726A8D0}"/>
          </ac:spMkLst>
        </pc:spChg>
        <pc:spChg chg="mod">
          <ac:chgData name="Marion Spizzo" userId="43054aff-b319-44f0-be2a-97a1d91f7302" providerId="ADAL" clId="{37B54CB3-BD7E-40B0-8042-8E551ADA4A1D}" dt="2021-08-10T12:38:02.451" v="1412" actId="1076"/>
          <ac:spMkLst>
            <pc:docMk/>
            <pc:sldMk cId="3270280714" sldId="1204"/>
            <ac:spMk id="44" creationId="{87B16B71-40C1-4B47-96E8-5F15754C1997}"/>
          </ac:spMkLst>
        </pc:spChg>
        <pc:spChg chg="mod">
          <ac:chgData name="Marion Spizzo" userId="43054aff-b319-44f0-be2a-97a1d91f7302" providerId="ADAL" clId="{37B54CB3-BD7E-40B0-8042-8E551ADA4A1D}" dt="2021-08-10T12:38:02.451" v="1412" actId="1076"/>
          <ac:spMkLst>
            <pc:docMk/>
            <pc:sldMk cId="3270280714" sldId="1204"/>
            <ac:spMk id="45" creationId="{646486A8-D8A3-4FA5-875E-0F3F80A7D1A8}"/>
          </ac:spMkLst>
        </pc:spChg>
        <pc:spChg chg="mod">
          <ac:chgData name="Marion Spizzo" userId="43054aff-b319-44f0-be2a-97a1d91f7302" providerId="ADAL" clId="{37B54CB3-BD7E-40B0-8042-8E551ADA4A1D}" dt="2021-08-10T12:38:02.451" v="1412" actId="1076"/>
          <ac:spMkLst>
            <pc:docMk/>
            <pc:sldMk cId="3270280714" sldId="1204"/>
            <ac:spMk id="46" creationId="{55F6C6E1-DD30-43DE-BD84-8F53864D115C}"/>
          </ac:spMkLst>
        </pc:spChg>
        <pc:spChg chg="mod">
          <ac:chgData name="Marion Spizzo" userId="43054aff-b319-44f0-be2a-97a1d91f7302" providerId="ADAL" clId="{37B54CB3-BD7E-40B0-8042-8E551ADA4A1D}" dt="2021-08-10T12:38:02.451" v="1412" actId="1076"/>
          <ac:spMkLst>
            <pc:docMk/>
            <pc:sldMk cId="3270280714" sldId="1204"/>
            <ac:spMk id="48" creationId="{E166C7F1-E948-4DCE-95F4-24D33AEBBFBE}"/>
          </ac:spMkLst>
        </pc:spChg>
        <pc:spChg chg="mod">
          <ac:chgData name="Marion Spizzo" userId="43054aff-b319-44f0-be2a-97a1d91f7302" providerId="ADAL" clId="{37B54CB3-BD7E-40B0-8042-8E551ADA4A1D}" dt="2021-08-10T12:38:02.451" v="1412" actId="1076"/>
          <ac:spMkLst>
            <pc:docMk/>
            <pc:sldMk cId="3270280714" sldId="1204"/>
            <ac:spMk id="53" creationId="{DC1BB485-83A3-4556-8949-E18D80FCAA63}"/>
          </ac:spMkLst>
        </pc:spChg>
        <pc:spChg chg="mod">
          <ac:chgData name="Marion Spizzo" userId="43054aff-b319-44f0-be2a-97a1d91f7302" providerId="ADAL" clId="{37B54CB3-BD7E-40B0-8042-8E551ADA4A1D}" dt="2021-08-10T12:38:02.451" v="1412" actId="1076"/>
          <ac:spMkLst>
            <pc:docMk/>
            <pc:sldMk cId="3270280714" sldId="1204"/>
            <ac:spMk id="54" creationId="{C90BCC80-CC53-4FAB-90F5-99AED375928F}"/>
          </ac:spMkLst>
        </pc:spChg>
        <pc:spChg chg="mod">
          <ac:chgData name="Marion Spizzo" userId="43054aff-b319-44f0-be2a-97a1d91f7302" providerId="ADAL" clId="{37B54CB3-BD7E-40B0-8042-8E551ADA4A1D}" dt="2021-08-10T12:38:02.451" v="1412" actId="1076"/>
          <ac:spMkLst>
            <pc:docMk/>
            <pc:sldMk cId="3270280714" sldId="1204"/>
            <ac:spMk id="86" creationId="{BE02670F-8114-4463-936A-9D2672146D41}"/>
          </ac:spMkLst>
        </pc:spChg>
        <pc:cxnChg chg="mod">
          <ac:chgData name="Marion Spizzo" userId="43054aff-b319-44f0-be2a-97a1d91f7302" providerId="ADAL" clId="{37B54CB3-BD7E-40B0-8042-8E551ADA4A1D}" dt="2021-08-10T12:38:02.451" v="1412" actId="1076"/>
          <ac:cxnSpMkLst>
            <pc:docMk/>
            <pc:sldMk cId="3270280714" sldId="1204"/>
            <ac:cxnSpMk id="8" creationId="{7F8FBB42-5E6F-494A-9FA9-D776E43B375D}"/>
          </ac:cxnSpMkLst>
        </pc:cxnChg>
        <pc:cxnChg chg="mod">
          <ac:chgData name="Marion Spizzo" userId="43054aff-b319-44f0-be2a-97a1d91f7302" providerId="ADAL" clId="{37B54CB3-BD7E-40B0-8042-8E551ADA4A1D}" dt="2021-08-10T12:38:02.451" v="1412" actId="1076"/>
          <ac:cxnSpMkLst>
            <pc:docMk/>
            <pc:sldMk cId="3270280714" sldId="1204"/>
            <ac:cxnSpMk id="10" creationId="{3079ADE2-81AA-4647-AA7F-C4E7527E5280}"/>
          </ac:cxnSpMkLst>
        </pc:cxnChg>
        <pc:cxnChg chg="mod">
          <ac:chgData name="Marion Spizzo" userId="43054aff-b319-44f0-be2a-97a1d91f7302" providerId="ADAL" clId="{37B54CB3-BD7E-40B0-8042-8E551ADA4A1D}" dt="2021-08-10T12:38:02.451" v="1412" actId="1076"/>
          <ac:cxnSpMkLst>
            <pc:docMk/>
            <pc:sldMk cId="3270280714" sldId="1204"/>
            <ac:cxnSpMk id="69" creationId="{1B16878B-8423-441F-856F-52AE4DCDB29D}"/>
          </ac:cxnSpMkLst>
        </pc:cxnChg>
        <pc:cxnChg chg="mod">
          <ac:chgData name="Marion Spizzo" userId="43054aff-b319-44f0-be2a-97a1d91f7302" providerId="ADAL" clId="{37B54CB3-BD7E-40B0-8042-8E551ADA4A1D}" dt="2021-08-10T12:38:02.451" v="1412" actId="1076"/>
          <ac:cxnSpMkLst>
            <pc:docMk/>
            <pc:sldMk cId="3270280714" sldId="1204"/>
            <ac:cxnSpMk id="71" creationId="{EB808EBE-B377-40AD-94B2-C1CD1E859C23}"/>
          </ac:cxnSpMkLst>
        </pc:cxnChg>
        <pc:cxnChg chg="mod">
          <ac:chgData name="Marion Spizzo" userId="43054aff-b319-44f0-be2a-97a1d91f7302" providerId="ADAL" clId="{37B54CB3-BD7E-40B0-8042-8E551ADA4A1D}" dt="2021-08-10T12:38:02.451" v="1412" actId="1076"/>
          <ac:cxnSpMkLst>
            <pc:docMk/>
            <pc:sldMk cId="3270280714" sldId="1204"/>
            <ac:cxnSpMk id="75" creationId="{71D0F3A7-5FF8-4078-9F7D-F8BB0FEDE112}"/>
          </ac:cxnSpMkLst>
        </pc:cxnChg>
        <pc:cxnChg chg="mod">
          <ac:chgData name="Marion Spizzo" userId="43054aff-b319-44f0-be2a-97a1d91f7302" providerId="ADAL" clId="{37B54CB3-BD7E-40B0-8042-8E551ADA4A1D}" dt="2021-08-10T12:38:02.451" v="1412" actId="1076"/>
          <ac:cxnSpMkLst>
            <pc:docMk/>
            <pc:sldMk cId="3270280714" sldId="1204"/>
            <ac:cxnSpMk id="77" creationId="{3EA88A85-494A-4551-8527-12C496D561A3}"/>
          </ac:cxnSpMkLst>
        </pc:cxnChg>
        <pc:cxnChg chg="mod">
          <ac:chgData name="Marion Spizzo" userId="43054aff-b319-44f0-be2a-97a1d91f7302" providerId="ADAL" clId="{37B54CB3-BD7E-40B0-8042-8E551ADA4A1D}" dt="2021-08-10T12:38:02.451" v="1412" actId="1076"/>
          <ac:cxnSpMkLst>
            <pc:docMk/>
            <pc:sldMk cId="3270280714" sldId="1204"/>
            <ac:cxnSpMk id="79" creationId="{EE89B85E-1B80-4056-9B33-499490C7AC53}"/>
          </ac:cxnSpMkLst>
        </pc:cxnChg>
        <pc:cxnChg chg="mod">
          <ac:chgData name="Marion Spizzo" userId="43054aff-b319-44f0-be2a-97a1d91f7302" providerId="ADAL" clId="{37B54CB3-BD7E-40B0-8042-8E551ADA4A1D}" dt="2021-08-10T12:38:02.451" v="1412" actId="1076"/>
          <ac:cxnSpMkLst>
            <pc:docMk/>
            <pc:sldMk cId="3270280714" sldId="1204"/>
            <ac:cxnSpMk id="81" creationId="{BD62FE4F-238A-4316-8DF4-8E2F26C7E1ED}"/>
          </ac:cxnSpMkLst>
        </pc:cxnChg>
        <pc:cxnChg chg="mod">
          <ac:chgData name="Marion Spizzo" userId="43054aff-b319-44f0-be2a-97a1d91f7302" providerId="ADAL" clId="{37B54CB3-BD7E-40B0-8042-8E551ADA4A1D}" dt="2021-08-10T12:38:02.451" v="1412" actId="1076"/>
          <ac:cxnSpMkLst>
            <pc:docMk/>
            <pc:sldMk cId="3270280714" sldId="1204"/>
            <ac:cxnSpMk id="104" creationId="{98A2D59C-096A-46B5-8EBF-CAAECD1A9BCB}"/>
          </ac:cxnSpMkLst>
        </pc:cxnChg>
        <pc:cxnChg chg="mod">
          <ac:chgData name="Marion Spizzo" userId="43054aff-b319-44f0-be2a-97a1d91f7302" providerId="ADAL" clId="{37B54CB3-BD7E-40B0-8042-8E551ADA4A1D}" dt="2021-08-10T12:38:02.451" v="1412" actId="1076"/>
          <ac:cxnSpMkLst>
            <pc:docMk/>
            <pc:sldMk cId="3270280714" sldId="1204"/>
            <ac:cxnSpMk id="106" creationId="{7F8C2BBE-4ED8-4524-9F9D-68F561918F36}"/>
          </ac:cxnSpMkLst>
        </pc:cxnChg>
        <pc:cxnChg chg="mod">
          <ac:chgData name="Marion Spizzo" userId="43054aff-b319-44f0-be2a-97a1d91f7302" providerId="ADAL" clId="{37B54CB3-BD7E-40B0-8042-8E551ADA4A1D}" dt="2021-08-10T12:38:02.451" v="1412" actId="1076"/>
          <ac:cxnSpMkLst>
            <pc:docMk/>
            <pc:sldMk cId="3270280714" sldId="1204"/>
            <ac:cxnSpMk id="108" creationId="{ADDCFB2A-B92B-402C-8E9F-2C24F61DFD77}"/>
          </ac:cxnSpMkLst>
        </pc:cxnChg>
      </pc:sldChg>
      <pc:sldChg chg="addSp delSp modSp mod delCm">
        <pc:chgData name="Marion Spizzo" userId="43054aff-b319-44f0-be2a-97a1d91f7302" providerId="ADAL" clId="{37B54CB3-BD7E-40B0-8042-8E551ADA4A1D}" dt="2021-08-18T05:47:49.891" v="3758" actId="1592"/>
        <pc:sldMkLst>
          <pc:docMk/>
          <pc:sldMk cId="652136626" sldId="1205"/>
        </pc:sldMkLst>
        <pc:spChg chg="mod">
          <ac:chgData name="Marion Spizzo" userId="43054aff-b319-44f0-be2a-97a1d91f7302" providerId="ADAL" clId="{37B54CB3-BD7E-40B0-8042-8E551ADA4A1D}" dt="2021-08-09T08:09:48.793" v="109" actId="108"/>
          <ac:spMkLst>
            <pc:docMk/>
            <pc:sldMk cId="652136626" sldId="1205"/>
            <ac:spMk id="7" creationId="{22974B99-5E58-480B-92F2-3B8832468EBD}"/>
          </ac:spMkLst>
        </pc:spChg>
        <pc:spChg chg="mod ord">
          <ac:chgData name="Marion Spizzo" userId="43054aff-b319-44f0-be2a-97a1d91f7302" providerId="ADAL" clId="{37B54CB3-BD7E-40B0-8042-8E551ADA4A1D}" dt="2021-08-18T05:47:18.072" v="3757" actId="1037"/>
          <ac:spMkLst>
            <pc:docMk/>
            <pc:sldMk cId="652136626" sldId="1205"/>
            <ac:spMk id="18" creationId="{5F4DD23D-E46E-4F69-B2E6-02003EE12204}"/>
          </ac:spMkLst>
        </pc:spChg>
        <pc:picChg chg="add mod">
          <ac:chgData name="Marion Spizzo" userId="43054aff-b319-44f0-be2a-97a1d91f7302" providerId="ADAL" clId="{37B54CB3-BD7E-40B0-8042-8E551ADA4A1D}" dt="2021-08-18T05:47:09.509" v="3745" actId="1076"/>
          <ac:picMkLst>
            <pc:docMk/>
            <pc:sldMk cId="652136626" sldId="1205"/>
            <ac:picMk id="3" creationId="{F8C13348-F571-4644-9112-2B4DBA5F2706}"/>
          </ac:picMkLst>
        </pc:picChg>
        <pc:picChg chg="del mod">
          <ac:chgData name="Marion Spizzo" userId="43054aff-b319-44f0-be2a-97a1d91f7302" providerId="ADAL" clId="{37B54CB3-BD7E-40B0-8042-8E551ADA4A1D}" dt="2021-08-18T05:46:58.554" v="3741" actId="478"/>
          <ac:picMkLst>
            <pc:docMk/>
            <pc:sldMk cId="652136626" sldId="1205"/>
            <ac:picMk id="16" creationId="{6A4E83EB-C633-4811-AF56-412C60527280}"/>
          </ac:picMkLst>
        </pc:picChg>
      </pc:sldChg>
      <pc:sldChg chg="addSp delSp modSp mod delCm">
        <pc:chgData name="Marion Spizzo" userId="43054aff-b319-44f0-be2a-97a1d91f7302" providerId="ADAL" clId="{37B54CB3-BD7E-40B0-8042-8E551ADA4A1D}" dt="2021-08-18T05:46:38.372" v="3735" actId="1592"/>
        <pc:sldMkLst>
          <pc:docMk/>
          <pc:sldMk cId="3718224806" sldId="1206"/>
        </pc:sldMkLst>
        <pc:spChg chg="mod">
          <ac:chgData name="Marion Spizzo" userId="43054aff-b319-44f0-be2a-97a1d91f7302" providerId="ADAL" clId="{37B54CB3-BD7E-40B0-8042-8E551ADA4A1D}" dt="2021-08-09T08:08:07.265" v="84" actId="1076"/>
          <ac:spMkLst>
            <pc:docMk/>
            <pc:sldMk cId="3718224806" sldId="1206"/>
            <ac:spMk id="7" creationId="{22974B99-5E58-480B-92F2-3B8832468EBD}"/>
          </ac:spMkLst>
        </pc:spChg>
        <pc:spChg chg="mod ord">
          <ac:chgData name="Marion Spizzo" userId="43054aff-b319-44f0-be2a-97a1d91f7302" providerId="ADAL" clId="{37B54CB3-BD7E-40B0-8042-8E551ADA4A1D}" dt="2021-08-18T05:46:33.639" v="3734" actId="1037"/>
          <ac:spMkLst>
            <pc:docMk/>
            <pc:sldMk cId="3718224806" sldId="1206"/>
            <ac:spMk id="11" creationId="{FBEDA0A3-89EE-4694-B73A-8DA13E164161}"/>
          </ac:spMkLst>
        </pc:spChg>
        <pc:spChg chg="mod">
          <ac:chgData name="Marion Spizzo" userId="43054aff-b319-44f0-be2a-97a1d91f7302" providerId="ADAL" clId="{37B54CB3-BD7E-40B0-8042-8E551ADA4A1D}" dt="2021-08-10T12:38:18.010" v="1414" actId="1076"/>
          <ac:spMkLst>
            <pc:docMk/>
            <pc:sldMk cId="3718224806" sldId="1206"/>
            <ac:spMk id="13" creationId="{0118195D-4A68-4D2E-972F-DCDFE1929E51}"/>
          </ac:spMkLst>
        </pc:spChg>
        <pc:picChg chg="add mod">
          <ac:chgData name="Marion Spizzo" userId="43054aff-b319-44f0-be2a-97a1d91f7302" providerId="ADAL" clId="{37B54CB3-BD7E-40B0-8042-8E551ADA4A1D}" dt="2021-08-18T05:46:20.235" v="3725" actId="1076"/>
          <ac:picMkLst>
            <pc:docMk/>
            <pc:sldMk cId="3718224806" sldId="1206"/>
            <ac:picMk id="3" creationId="{5A95DD6B-4790-45E0-9933-3C883BB913F8}"/>
          </ac:picMkLst>
        </pc:picChg>
        <pc:picChg chg="del mod">
          <ac:chgData name="Marion Spizzo" userId="43054aff-b319-44f0-be2a-97a1d91f7302" providerId="ADAL" clId="{37B54CB3-BD7E-40B0-8042-8E551ADA4A1D}" dt="2021-08-18T05:46:17.255" v="3724" actId="478"/>
          <ac:picMkLst>
            <pc:docMk/>
            <pc:sldMk cId="3718224806" sldId="1206"/>
            <ac:picMk id="8" creationId="{65B949A6-3C69-4E2E-8AFF-9A11B2EF90AA}"/>
          </ac:picMkLst>
        </pc:picChg>
      </pc:sldChg>
      <pc:sldChg chg="addSp delSp modSp mod">
        <pc:chgData name="Marion Spizzo" userId="43054aff-b319-44f0-be2a-97a1d91f7302" providerId="ADAL" clId="{37B54CB3-BD7E-40B0-8042-8E551ADA4A1D}" dt="2021-08-10T13:17:35.589" v="1431" actId="165"/>
        <pc:sldMkLst>
          <pc:docMk/>
          <pc:sldMk cId="2990732986" sldId="1208"/>
        </pc:sldMkLst>
        <pc:spChg chg="del">
          <ac:chgData name="Marion Spizzo" userId="43054aff-b319-44f0-be2a-97a1d91f7302" providerId="ADAL" clId="{37B54CB3-BD7E-40B0-8042-8E551ADA4A1D}" dt="2021-08-09T08:13:51.695" v="150" actId="478"/>
          <ac:spMkLst>
            <pc:docMk/>
            <pc:sldMk cId="2990732986" sldId="1208"/>
            <ac:spMk id="4" creationId="{FD683054-2E5F-428F-8DC2-1D39C3FA0472}"/>
          </ac:spMkLst>
        </pc:spChg>
        <pc:spChg chg="mod">
          <ac:chgData name="Marion Spizzo" userId="43054aff-b319-44f0-be2a-97a1d91f7302" providerId="ADAL" clId="{37B54CB3-BD7E-40B0-8042-8E551ADA4A1D}" dt="2021-08-09T08:14:15.891" v="156" actId="12"/>
          <ac:spMkLst>
            <pc:docMk/>
            <pc:sldMk cId="2990732986" sldId="1208"/>
            <ac:spMk id="11" creationId="{842666D5-F9FD-45B9-B0DA-684D69D9C6C0}"/>
          </ac:spMkLst>
        </pc:spChg>
        <pc:spChg chg="add del mod topLvl">
          <ac:chgData name="Marion Spizzo" userId="43054aff-b319-44f0-be2a-97a1d91f7302" providerId="ADAL" clId="{37B54CB3-BD7E-40B0-8042-8E551ADA4A1D}" dt="2021-08-10T13:17:35.589" v="1431" actId="165"/>
          <ac:spMkLst>
            <pc:docMk/>
            <pc:sldMk cId="2990732986" sldId="1208"/>
            <ac:spMk id="18" creationId="{52A66CA6-756A-4387-9A39-786E8CE04ADD}"/>
          </ac:spMkLst>
        </pc:spChg>
        <pc:spChg chg="mod topLvl">
          <ac:chgData name="Marion Spizzo" userId="43054aff-b319-44f0-be2a-97a1d91f7302" providerId="ADAL" clId="{37B54CB3-BD7E-40B0-8042-8E551ADA4A1D}" dt="2021-08-10T13:17:35.589" v="1431" actId="165"/>
          <ac:spMkLst>
            <pc:docMk/>
            <pc:sldMk cId="2990732986" sldId="1208"/>
            <ac:spMk id="19" creationId="{BF83BB1A-1DB6-407D-98A5-C4E43B96FB8B}"/>
          </ac:spMkLst>
        </pc:spChg>
        <pc:spChg chg="mod">
          <ac:chgData name="Marion Spizzo" userId="43054aff-b319-44f0-be2a-97a1d91f7302" providerId="ADAL" clId="{37B54CB3-BD7E-40B0-8042-8E551ADA4A1D}" dt="2021-08-09T08:17:28.791" v="185" actId="14100"/>
          <ac:spMkLst>
            <pc:docMk/>
            <pc:sldMk cId="2990732986" sldId="1208"/>
            <ac:spMk id="21" creationId="{C3A30E7E-D05B-42BC-BB3B-DAB95CD96166}"/>
          </ac:spMkLst>
        </pc:spChg>
        <pc:spChg chg="del">
          <ac:chgData name="Marion Spizzo" userId="43054aff-b319-44f0-be2a-97a1d91f7302" providerId="ADAL" clId="{37B54CB3-BD7E-40B0-8042-8E551ADA4A1D}" dt="2021-08-09T08:13:53.167" v="151" actId="478"/>
          <ac:spMkLst>
            <pc:docMk/>
            <pc:sldMk cId="2990732986" sldId="1208"/>
            <ac:spMk id="23" creationId="{687D6745-0F95-4D80-AB3C-8F87774B7642}"/>
          </ac:spMkLst>
        </pc:spChg>
        <pc:grpChg chg="mod">
          <ac:chgData name="Marion Spizzo" userId="43054aff-b319-44f0-be2a-97a1d91f7302" providerId="ADAL" clId="{37B54CB3-BD7E-40B0-8042-8E551ADA4A1D}" dt="2021-08-09T08:14:30.641" v="159" actId="1076"/>
          <ac:grpSpMkLst>
            <pc:docMk/>
            <pc:sldMk cId="2990732986" sldId="1208"/>
            <ac:grpSpMk id="5" creationId="{E6143A17-6A32-4BD2-A7CF-4FDC913B3FA8}"/>
          </ac:grpSpMkLst>
        </pc:grpChg>
        <pc:grpChg chg="del mod">
          <ac:chgData name="Marion Spizzo" userId="43054aff-b319-44f0-be2a-97a1d91f7302" providerId="ADAL" clId="{37B54CB3-BD7E-40B0-8042-8E551ADA4A1D}" dt="2021-08-10T13:17:35.589" v="1431" actId="165"/>
          <ac:grpSpMkLst>
            <pc:docMk/>
            <pc:sldMk cId="2990732986" sldId="1208"/>
            <ac:grpSpMk id="6" creationId="{961AE2A8-1980-4BB9-9E3D-AD7BBA0299F4}"/>
          </ac:grpSpMkLst>
        </pc:grpChg>
        <pc:picChg chg="mod">
          <ac:chgData name="Marion Spizzo" userId="43054aff-b319-44f0-be2a-97a1d91f7302" providerId="ADAL" clId="{37B54CB3-BD7E-40B0-8042-8E551ADA4A1D}" dt="2021-08-09T08:14:43.082" v="162" actId="108"/>
          <ac:picMkLst>
            <pc:docMk/>
            <pc:sldMk cId="2990732986" sldId="1208"/>
            <ac:picMk id="3" creationId="{5FAA7E32-EAC2-40C4-AB6C-3DC4352B4C10}"/>
          </ac:picMkLst>
        </pc:picChg>
        <pc:picChg chg="mod topLvl">
          <ac:chgData name="Marion Spizzo" userId="43054aff-b319-44f0-be2a-97a1d91f7302" providerId="ADAL" clId="{37B54CB3-BD7E-40B0-8042-8E551ADA4A1D}" dt="2021-08-10T13:17:35.589" v="1431" actId="165"/>
          <ac:picMkLst>
            <pc:docMk/>
            <pc:sldMk cId="2990732986" sldId="1208"/>
            <ac:picMk id="22" creationId="{0AF70C44-F1F1-4BD9-AEDB-31E55D42C894}"/>
          </ac:picMkLst>
        </pc:picChg>
      </pc:sldChg>
      <pc:sldChg chg="addSp delSp modSp mod">
        <pc:chgData name="Marion Spizzo" userId="43054aff-b319-44f0-be2a-97a1d91f7302" providerId="ADAL" clId="{37B54CB3-BD7E-40B0-8042-8E551ADA4A1D}" dt="2021-08-10T13:18:22.053" v="1444" actId="20577"/>
        <pc:sldMkLst>
          <pc:docMk/>
          <pc:sldMk cId="2524487702" sldId="1209"/>
        </pc:sldMkLst>
        <pc:spChg chg="mod">
          <ac:chgData name="Marion Spizzo" userId="43054aff-b319-44f0-be2a-97a1d91f7302" providerId="ADAL" clId="{37B54CB3-BD7E-40B0-8042-8E551ADA4A1D}" dt="2021-08-09T08:16:44.773" v="180" actId="1076"/>
          <ac:spMkLst>
            <pc:docMk/>
            <pc:sldMk cId="2524487702" sldId="1209"/>
            <ac:spMk id="8" creationId="{B4977585-4A1D-4331-AB70-B57BC0F5623E}"/>
          </ac:spMkLst>
        </pc:spChg>
        <pc:spChg chg="mod">
          <ac:chgData name="Marion Spizzo" userId="43054aff-b319-44f0-be2a-97a1d91f7302" providerId="ADAL" clId="{37B54CB3-BD7E-40B0-8042-8E551ADA4A1D}" dt="2021-08-09T08:16:52.038" v="181" actId="1582"/>
          <ac:spMkLst>
            <pc:docMk/>
            <pc:sldMk cId="2524487702" sldId="1209"/>
            <ac:spMk id="10" creationId="{7C855309-393E-464D-B10F-23377A323B8B}"/>
          </ac:spMkLst>
        </pc:spChg>
        <pc:spChg chg="add mod">
          <ac:chgData name="Marion Spizzo" userId="43054aff-b319-44f0-be2a-97a1d91f7302" providerId="ADAL" clId="{37B54CB3-BD7E-40B0-8042-8E551ADA4A1D}" dt="2021-08-10T13:18:11.633" v="1441" actId="1038"/>
          <ac:spMkLst>
            <pc:docMk/>
            <pc:sldMk cId="2524487702" sldId="1209"/>
            <ac:spMk id="11" creationId="{587046E3-2615-46D6-998D-A9CDDC336A07}"/>
          </ac:spMkLst>
        </pc:spChg>
        <pc:spChg chg="mod">
          <ac:chgData name="Marion Spizzo" userId="43054aff-b319-44f0-be2a-97a1d91f7302" providerId="ADAL" clId="{37B54CB3-BD7E-40B0-8042-8E551ADA4A1D}" dt="2021-08-10T13:17:16.317" v="1429" actId="1076"/>
          <ac:spMkLst>
            <pc:docMk/>
            <pc:sldMk cId="2524487702" sldId="1209"/>
            <ac:spMk id="12" creationId="{5B063766-6EC3-49F0-8AFE-9D7B7C9BD5F9}"/>
          </ac:spMkLst>
        </pc:spChg>
        <pc:spChg chg="add mod">
          <ac:chgData name="Marion Spizzo" userId="43054aff-b319-44f0-be2a-97a1d91f7302" providerId="ADAL" clId="{37B54CB3-BD7E-40B0-8042-8E551ADA4A1D}" dt="2021-08-10T13:18:22.053" v="1444" actId="20577"/>
          <ac:spMkLst>
            <pc:docMk/>
            <pc:sldMk cId="2524487702" sldId="1209"/>
            <ac:spMk id="15" creationId="{08B0618B-6DCF-41F9-B3EA-22F6DB3C8FA2}"/>
          </ac:spMkLst>
        </pc:spChg>
        <pc:grpChg chg="del mod">
          <ac:chgData name="Marion Spizzo" userId="43054aff-b319-44f0-be2a-97a1d91f7302" providerId="ADAL" clId="{37B54CB3-BD7E-40B0-8042-8E551ADA4A1D}" dt="2021-08-10T13:17:02.036" v="1425" actId="478"/>
          <ac:grpSpMkLst>
            <pc:docMk/>
            <pc:sldMk cId="2524487702" sldId="1209"/>
            <ac:grpSpMk id="2" creationId="{97837B25-0038-4AE2-9B71-431575F723EA}"/>
          </ac:grpSpMkLst>
        </pc:grpChg>
        <pc:picChg chg="add mod">
          <ac:chgData name="Marion Spizzo" userId="43054aff-b319-44f0-be2a-97a1d91f7302" providerId="ADAL" clId="{37B54CB3-BD7E-40B0-8042-8E551ADA4A1D}" dt="2021-08-10T13:17:17.982" v="1430" actId="1076"/>
          <ac:picMkLst>
            <pc:docMk/>
            <pc:sldMk cId="2524487702" sldId="1209"/>
            <ac:picMk id="4" creationId="{8752345F-A720-4387-9120-174218BACDE9}"/>
          </ac:picMkLst>
        </pc:picChg>
        <pc:picChg chg="mod">
          <ac:chgData name="Marion Spizzo" userId="43054aff-b319-44f0-be2a-97a1d91f7302" providerId="ADAL" clId="{37B54CB3-BD7E-40B0-8042-8E551ADA4A1D}" dt="2021-08-09T08:16:13.870" v="174" actId="1076"/>
          <ac:picMkLst>
            <pc:docMk/>
            <pc:sldMk cId="2524487702" sldId="1209"/>
            <ac:picMk id="6" creationId="{C788FAF7-D1C1-4EC1-A5EE-F42BEC6DDE34}"/>
          </ac:picMkLst>
        </pc:picChg>
      </pc:sldChg>
      <pc:sldChg chg="addSp delSp modSp mod">
        <pc:chgData name="Marion Spizzo" userId="43054aff-b319-44f0-be2a-97a1d91f7302" providerId="ADAL" clId="{37B54CB3-BD7E-40B0-8042-8E551ADA4A1D}" dt="2021-08-10T13:23:01.758" v="1477" actId="1076"/>
        <pc:sldMkLst>
          <pc:docMk/>
          <pc:sldMk cId="121006609" sldId="1212"/>
        </pc:sldMkLst>
        <pc:spChg chg="mod">
          <ac:chgData name="Marion Spizzo" userId="43054aff-b319-44f0-be2a-97a1d91f7302" providerId="ADAL" clId="{37B54CB3-BD7E-40B0-8042-8E551ADA4A1D}" dt="2021-08-09T09:03:18.957" v="579" actId="1076"/>
          <ac:spMkLst>
            <pc:docMk/>
            <pc:sldMk cId="121006609" sldId="1212"/>
            <ac:spMk id="9" creationId="{0C2B2AB8-6896-40D7-929E-45176AC0F18E}"/>
          </ac:spMkLst>
        </pc:spChg>
        <pc:spChg chg="del mod">
          <ac:chgData name="Marion Spizzo" userId="43054aff-b319-44f0-be2a-97a1d91f7302" providerId="ADAL" clId="{37B54CB3-BD7E-40B0-8042-8E551ADA4A1D}" dt="2021-08-10T13:22:27.492" v="1461" actId="478"/>
          <ac:spMkLst>
            <pc:docMk/>
            <pc:sldMk cId="121006609" sldId="1212"/>
            <ac:spMk id="10" creationId="{4ABA9E16-29FF-4F2C-A65A-AE9FF5E0F948}"/>
          </ac:spMkLst>
        </pc:spChg>
        <pc:spChg chg="add mod">
          <ac:chgData name="Marion Spizzo" userId="43054aff-b319-44f0-be2a-97a1d91f7302" providerId="ADAL" clId="{37B54CB3-BD7E-40B0-8042-8E551ADA4A1D}" dt="2021-08-10T13:22:46.176" v="1471" actId="1076"/>
          <ac:spMkLst>
            <pc:docMk/>
            <pc:sldMk cId="121006609" sldId="1212"/>
            <ac:spMk id="12" creationId="{3AFEC6CB-22D2-4444-B11D-EE4FC8E98AF2}"/>
          </ac:spMkLst>
        </pc:spChg>
        <pc:spChg chg="add del mod">
          <ac:chgData name="Marion Spizzo" userId="43054aff-b319-44f0-be2a-97a1d91f7302" providerId="ADAL" clId="{37B54CB3-BD7E-40B0-8042-8E551ADA4A1D}" dt="2021-08-10T13:22:29.412" v="1463" actId="478"/>
          <ac:spMkLst>
            <pc:docMk/>
            <pc:sldMk cId="121006609" sldId="1212"/>
            <ac:spMk id="13" creationId="{00D317ED-CFBF-42B8-9B09-1D933F972FC5}"/>
          </ac:spMkLst>
        </pc:spChg>
        <pc:spChg chg="mod ord topLvl">
          <ac:chgData name="Marion Spizzo" userId="43054aff-b319-44f0-be2a-97a1d91f7302" providerId="ADAL" clId="{37B54CB3-BD7E-40B0-8042-8E551ADA4A1D}" dt="2021-08-10T13:22:58.484" v="1476" actId="1076"/>
          <ac:spMkLst>
            <pc:docMk/>
            <pc:sldMk cId="121006609" sldId="1212"/>
            <ac:spMk id="14" creationId="{E9F8D798-F5FA-4DBC-BE64-BC9059455EF3}"/>
          </ac:spMkLst>
        </pc:spChg>
        <pc:spChg chg="del mod topLvl">
          <ac:chgData name="Marion Spizzo" userId="43054aff-b319-44f0-be2a-97a1d91f7302" providerId="ADAL" clId="{37B54CB3-BD7E-40B0-8042-8E551ADA4A1D}" dt="2021-08-10T13:22:28.484" v="1462" actId="478"/>
          <ac:spMkLst>
            <pc:docMk/>
            <pc:sldMk cId="121006609" sldId="1212"/>
            <ac:spMk id="15" creationId="{95DA076A-9B06-4DE7-9139-A0C7920B8F4E}"/>
          </ac:spMkLst>
        </pc:spChg>
        <pc:spChg chg="add mod">
          <ac:chgData name="Marion Spizzo" userId="43054aff-b319-44f0-be2a-97a1d91f7302" providerId="ADAL" clId="{37B54CB3-BD7E-40B0-8042-8E551ADA4A1D}" dt="2021-08-10T13:23:01.758" v="1477" actId="1076"/>
          <ac:spMkLst>
            <pc:docMk/>
            <pc:sldMk cId="121006609" sldId="1212"/>
            <ac:spMk id="16" creationId="{47AB997C-2DE3-47CC-B9C5-93CF03F6C1F0}"/>
          </ac:spMkLst>
        </pc:spChg>
        <pc:grpChg chg="del mod">
          <ac:chgData name="Marion Spizzo" userId="43054aff-b319-44f0-be2a-97a1d91f7302" providerId="ADAL" clId="{37B54CB3-BD7E-40B0-8042-8E551ADA4A1D}" dt="2021-08-10T13:21:43.998" v="1450" actId="165"/>
          <ac:grpSpMkLst>
            <pc:docMk/>
            <pc:sldMk cId="121006609" sldId="1212"/>
            <ac:grpSpMk id="2" creationId="{F5277544-B57C-453C-8E7B-8E4E23EDF3F6}"/>
          </ac:grpSpMkLst>
        </pc:grpChg>
        <pc:picChg chg="add mod">
          <ac:chgData name="Marion Spizzo" userId="43054aff-b319-44f0-be2a-97a1d91f7302" providerId="ADAL" clId="{37B54CB3-BD7E-40B0-8042-8E551ADA4A1D}" dt="2021-08-10T13:22:39.775" v="1468" actId="14100"/>
          <ac:picMkLst>
            <pc:docMk/>
            <pc:sldMk cId="121006609" sldId="1212"/>
            <ac:picMk id="4" creationId="{2E76F511-AC65-47DF-A487-32212BC452B0}"/>
          </ac:picMkLst>
        </pc:picChg>
        <pc:picChg chg="del mod topLvl">
          <ac:chgData name="Marion Spizzo" userId="43054aff-b319-44f0-be2a-97a1d91f7302" providerId="ADAL" clId="{37B54CB3-BD7E-40B0-8042-8E551ADA4A1D}" dt="2021-08-10T13:22:10.386" v="1456" actId="478"/>
          <ac:picMkLst>
            <pc:docMk/>
            <pc:sldMk cId="121006609" sldId="1212"/>
            <ac:picMk id="8" creationId="{4D23648F-9894-4F7E-9BFC-4F0B0DBAB8B8}"/>
          </ac:picMkLst>
        </pc:picChg>
      </pc:sldChg>
      <pc:sldChg chg="modSp mod modAnim">
        <pc:chgData name="Marion Spizzo" userId="43054aff-b319-44f0-be2a-97a1d91f7302" providerId="ADAL" clId="{37B54CB3-BD7E-40B0-8042-8E551ADA4A1D}" dt="2021-08-09T15:03:05.932" v="1202"/>
        <pc:sldMkLst>
          <pc:docMk/>
          <pc:sldMk cId="2345400522" sldId="1218"/>
        </pc:sldMkLst>
        <pc:spChg chg="mod">
          <ac:chgData name="Marion Spizzo" userId="43054aff-b319-44f0-be2a-97a1d91f7302" providerId="ADAL" clId="{37B54CB3-BD7E-40B0-8042-8E551ADA4A1D}" dt="2021-08-09T08:21:26.740" v="220" actId="12"/>
          <ac:spMkLst>
            <pc:docMk/>
            <pc:sldMk cId="2345400522" sldId="1218"/>
            <ac:spMk id="11" creationId="{C619EA10-47CE-4B1A-BAA4-797664F8BA40}"/>
          </ac:spMkLst>
        </pc:spChg>
        <pc:spChg chg="mod">
          <ac:chgData name="Marion Spizzo" userId="43054aff-b319-44f0-be2a-97a1d91f7302" providerId="ADAL" clId="{37B54CB3-BD7E-40B0-8042-8E551ADA4A1D}" dt="2021-08-09T08:23:00.078" v="231" actId="14100"/>
          <ac:spMkLst>
            <pc:docMk/>
            <pc:sldMk cId="2345400522" sldId="1218"/>
            <ac:spMk id="23" creationId="{B00B0EE1-C1AF-43B7-BBBF-036A3679CADE}"/>
          </ac:spMkLst>
        </pc:spChg>
        <pc:spChg chg="mod">
          <ac:chgData name="Marion Spizzo" userId="43054aff-b319-44f0-be2a-97a1d91f7302" providerId="ADAL" clId="{37B54CB3-BD7E-40B0-8042-8E551ADA4A1D}" dt="2021-08-09T08:36:20.918" v="289" actId="1076"/>
          <ac:spMkLst>
            <pc:docMk/>
            <pc:sldMk cId="2345400522" sldId="1218"/>
            <ac:spMk id="27" creationId="{AE2BC08F-FA58-4940-9393-53DE6FD46FE7}"/>
          </ac:spMkLst>
        </pc:spChg>
        <pc:spChg chg="mod">
          <ac:chgData name="Marion Spizzo" userId="43054aff-b319-44f0-be2a-97a1d91f7302" providerId="ADAL" clId="{37B54CB3-BD7E-40B0-8042-8E551ADA4A1D}" dt="2021-08-09T08:35:15.366" v="272" actId="1076"/>
          <ac:spMkLst>
            <pc:docMk/>
            <pc:sldMk cId="2345400522" sldId="1218"/>
            <ac:spMk id="28" creationId="{275A368B-3362-429D-B6BC-8BC39E233126}"/>
          </ac:spMkLst>
        </pc:spChg>
        <pc:spChg chg="mod">
          <ac:chgData name="Marion Spizzo" userId="43054aff-b319-44f0-be2a-97a1d91f7302" providerId="ADAL" clId="{37B54CB3-BD7E-40B0-8042-8E551ADA4A1D}" dt="2021-08-09T08:33:47.116" v="270" actId="1076"/>
          <ac:spMkLst>
            <pc:docMk/>
            <pc:sldMk cId="2345400522" sldId="1218"/>
            <ac:spMk id="29" creationId="{B9A7204A-B6A2-48B9-9E5C-C27CD38988EA}"/>
          </ac:spMkLst>
        </pc:spChg>
        <pc:spChg chg="mod">
          <ac:chgData name="Marion Spizzo" userId="43054aff-b319-44f0-be2a-97a1d91f7302" providerId="ADAL" clId="{37B54CB3-BD7E-40B0-8042-8E551ADA4A1D}" dt="2021-08-09T08:33:22.195" v="265" actId="1076"/>
          <ac:spMkLst>
            <pc:docMk/>
            <pc:sldMk cId="2345400522" sldId="1218"/>
            <ac:spMk id="30" creationId="{A92E1B01-78E2-4197-86A6-0A2E63DBEA55}"/>
          </ac:spMkLst>
        </pc:spChg>
        <pc:spChg chg="mod">
          <ac:chgData name="Marion Spizzo" userId="43054aff-b319-44f0-be2a-97a1d91f7302" providerId="ADAL" clId="{37B54CB3-BD7E-40B0-8042-8E551ADA4A1D}" dt="2021-08-09T14:59:29.807" v="1176" actId="1076"/>
          <ac:spMkLst>
            <pc:docMk/>
            <pc:sldMk cId="2345400522" sldId="1218"/>
            <ac:spMk id="31" creationId="{F3F288EC-9FF6-4729-9FD1-DBE5BC040BE7}"/>
          </ac:spMkLst>
        </pc:spChg>
        <pc:spChg chg="mod">
          <ac:chgData name="Marion Spizzo" userId="43054aff-b319-44f0-be2a-97a1d91f7302" providerId="ADAL" clId="{37B54CB3-BD7E-40B0-8042-8E551ADA4A1D}" dt="2021-08-09T14:59:47.470" v="1179" actId="1076"/>
          <ac:spMkLst>
            <pc:docMk/>
            <pc:sldMk cId="2345400522" sldId="1218"/>
            <ac:spMk id="32" creationId="{3139AA62-1520-414E-8415-624BC388D4E1}"/>
          </ac:spMkLst>
        </pc:spChg>
        <pc:spChg chg="mod">
          <ac:chgData name="Marion Spizzo" userId="43054aff-b319-44f0-be2a-97a1d91f7302" providerId="ADAL" clId="{37B54CB3-BD7E-40B0-8042-8E551ADA4A1D}" dt="2021-08-09T14:59:54.275" v="1180" actId="1076"/>
          <ac:spMkLst>
            <pc:docMk/>
            <pc:sldMk cId="2345400522" sldId="1218"/>
            <ac:spMk id="33" creationId="{BCADAB94-4433-40A8-BF05-679DFDB3B580}"/>
          </ac:spMkLst>
        </pc:spChg>
        <pc:spChg chg="mod">
          <ac:chgData name="Marion Spizzo" userId="43054aff-b319-44f0-be2a-97a1d91f7302" providerId="ADAL" clId="{37B54CB3-BD7E-40B0-8042-8E551ADA4A1D}" dt="2021-08-09T08:36:07.577" v="286" actId="1076"/>
          <ac:spMkLst>
            <pc:docMk/>
            <pc:sldMk cId="2345400522" sldId="1218"/>
            <ac:spMk id="34" creationId="{AD6D9776-296D-4E3C-9234-2BDD7D295FF8}"/>
          </ac:spMkLst>
        </pc:spChg>
        <pc:picChg chg="mod">
          <ac:chgData name="Marion Spizzo" userId="43054aff-b319-44f0-be2a-97a1d91f7302" providerId="ADAL" clId="{37B54CB3-BD7E-40B0-8042-8E551ADA4A1D}" dt="2021-08-09T08:21:44.737" v="222" actId="108"/>
          <ac:picMkLst>
            <pc:docMk/>
            <pc:sldMk cId="2345400522" sldId="1218"/>
            <ac:picMk id="22" creationId="{55E0642A-5B16-4290-BEE0-60B9930DE451}"/>
          </ac:picMkLst>
        </pc:picChg>
        <pc:picChg chg="mod">
          <ac:chgData name="Marion Spizzo" userId="43054aff-b319-44f0-be2a-97a1d91f7302" providerId="ADAL" clId="{37B54CB3-BD7E-40B0-8042-8E551ADA4A1D}" dt="2021-08-09T08:35:31.107" v="277" actId="1076"/>
          <ac:picMkLst>
            <pc:docMk/>
            <pc:sldMk cId="2345400522" sldId="1218"/>
            <ac:picMk id="26" creationId="{0A08A896-903B-4C4B-B239-AEFC8CBE07EB}"/>
          </ac:picMkLst>
        </pc:picChg>
      </pc:sldChg>
      <pc:sldChg chg="addSp delSp modSp mod delAnim">
        <pc:chgData name="Marion Spizzo" userId="43054aff-b319-44f0-be2a-97a1d91f7302" providerId="ADAL" clId="{37B54CB3-BD7E-40B0-8042-8E551ADA4A1D}" dt="2021-08-10T13:56:19.691" v="1598" actId="108"/>
        <pc:sldMkLst>
          <pc:docMk/>
          <pc:sldMk cId="4050391844" sldId="1219"/>
        </pc:sldMkLst>
        <pc:spChg chg="mod">
          <ac:chgData name="Marion Spizzo" userId="43054aff-b319-44f0-be2a-97a1d91f7302" providerId="ADAL" clId="{37B54CB3-BD7E-40B0-8042-8E551ADA4A1D}" dt="2021-08-09T09:02:27.943" v="567" actId="5793"/>
          <ac:spMkLst>
            <pc:docMk/>
            <pc:sldMk cId="4050391844" sldId="1219"/>
            <ac:spMk id="9" creationId="{6EA210E0-48B9-4A31-9991-2A0879C7CF5A}"/>
          </ac:spMkLst>
        </pc:spChg>
        <pc:picChg chg="add del mod">
          <ac:chgData name="Marion Spizzo" userId="43054aff-b319-44f0-be2a-97a1d91f7302" providerId="ADAL" clId="{37B54CB3-BD7E-40B0-8042-8E551ADA4A1D}" dt="2021-08-10T13:49:51.974" v="1581" actId="478"/>
          <ac:picMkLst>
            <pc:docMk/>
            <pc:sldMk cId="4050391844" sldId="1219"/>
            <ac:picMk id="3" creationId="{F54E6337-B9DA-4795-9595-43C59A3657AC}"/>
          </ac:picMkLst>
        </pc:picChg>
        <pc:picChg chg="add mod">
          <ac:chgData name="Marion Spizzo" userId="43054aff-b319-44f0-be2a-97a1d91f7302" providerId="ADAL" clId="{37B54CB3-BD7E-40B0-8042-8E551ADA4A1D}" dt="2021-08-10T13:51:58.495" v="1591" actId="1076"/>
          <ac:picMkLst>
            <pc:docMk/>
            <pc:sldMk cId="4050391844" sldId="1219"/>
            <ac:picMk id="5" creationId="{54934CF3-C0D8-44E8-BD3F-E14494ABEEFD}"/>
          </ac:picMkLst>
        </pc:picChg>
        <pc:picChg chg="add mod">
          <ac:chgData name="Marion Spizzo" userId="43054aff-b319-44f0-be2a-97a1d91f7302" providerId="ADAL" clId="{37B54CB3-BD7E-40B0-8042-8E551ADA4A1D}" dt="2021-08-10T13:56:19.691" v="1598" actId="108"/>
          <ac:picMkLst>
            <pc:docMk/>
            <pc:sldMk cId="4050391844" sldId="1219"/>
            <ac:picMk id="7" creationId="{44B7F977-6774-4D1D-A165-FE8B7618285E}"/>
          </ac:picMkLst>
        </pc:picChg>
        <pc:picChg chg="del mod">
          <ac:chgData name="Marion Spizzo" userId="43054aff-b319-44f0-be2a-97a1d91f7302" providerId="ADAL" clId="{37B54CB3-BD7E-40B0-8042-8E551ADA4A1D}" dt="2021-08-10T13:56:06.228" v="1594" actId="478"/>
          <ac:picMkLst>
            <pc:docMk/>
            <pc:sldMk cId="4050391844" sldId="1219"/>
            <ac:picMk id="10" creationId="{81EF2E3A-F04B-48D1-9819-50802858CAFB}"/>
          </ac:picMkLst>
        </pc:picChg>
        <pc:picChg chg="del mod">
          <ac:chgData name="Marion Spizzo" userId="43054aff-b319-44f0-be2a-97a1d91f7302" providerId="ADAL" clId="{37B54CB3-BD7E-40B0-8042-8E551ADA4A1D}" dt="2021-08-10T13:51:51.058" v="1587" actId="478"/>
          <ac:picMkLst>
            <pc:docMk/>
            <pc:sldMk cId="4050391844" sldId="1219"/>
            <ac:picMk id="11" creationId="{235CF679-7204-417A-9EDC-85929865B619}"/>
          </ac:picMkLst>
        </pc:picChg>
      </pc:sldChg>
      <pc:sldChg chg="modSp mod">
        <pc:chgData name="Marion Spizzo" userId="43054aff-b319-44f0-be2a-97a1d91f7302" providerId="ADAL" clId="{37B54CB3-BD7E-40B0-8042-8E551ADA4A1D}" dt="2021-08-09T11:21:31.707" v="1152" actId="1036"/>
        <pc:sldMkLst>
          <pc:docMk/>
          <pc:sldMk cId="2492622638" sldId="1235"/>
        </pc:sldMkLst>
        <pc:spChg chg="mod">
          <ac:chgData name="Marion Spizzo" userId="43054aff-b319-44f0-be2a-97a1d91f7302" providerId="ADAL" clId="{37B54CB3-BD7E-40B0-8042-8E551ADA4A1D}" dt="2021-08-09T08:50:30.483" v="461" actId="12"/>
          <ac:spMkLst>
            <pc:docMk/>
            <pc:sldMk cId="2492622638" sldId="1235"/>
            <ac:spMk id="8" creationId="{A7456E7F-10D1-4C0A-90FA-14C8584650A9}"/>
          </ac:spMkLst>
        </pc:spChg>
        <pc:spChg chg="mod">
          <ac:chgData name="Marion Spizzo" userId="43054aff-b319-44f0-be2a-97a1d91f7302" providerId="ADAL" clId="{37B54CB3-BD7E-40B0-8042-8E551ADA4A1D}" dt="2021-08-09T08:52:05.039" v="481" actId="1076"/>
          <ac:spMkLst>
            <pc:docMk/>
            <pc:sldMk cId="2492622638" sldId="1235"/>
            <ac:spMk id="10" creationId="{EF9BA075-5A30-4EE0-A703-2233EEDFCD55}"/>
          </ac:spMkLst>
        </pc:spChg>
        <pc:spChg chg="mod">
          <ac:chgData name="Marion Spizzo" userId="43054aff-b319-44f0-be2a-97a1d91f7302" providerId="ADAL" clId="{37B54CB3-BD7E-40B0-8042-8E551ADA4A1D}" dt="2021-08-09T11:21:31.707" v="1152" actId="1036"/>
          <ac:spMkLst>
            <pc:docMk/>
            <pc:sldMk cId="2492622638" sldId="1235"/>
            <ac:spMk id="11" creationId="{5CBCB983-3E98-47E2-A262-A0CAADF60EC9}"/>
          </ac:spMkLst>
        </pc:spChg>
        <pc:spChg chg="mod">
          <ac:chgData name="Marion Spizzo" userId="43054aff-b319-44f0-be2a-97a1d91f7302" providerId="ADAL" clId="{37B54CB3-BD7E-40B0-8042-8E551ADA4A1D}" dt="2021-08-09T08:51:55.343" v="478" actId="1076"/>
          <ac:spMkLst>
            <pc:docMk/>
            <pc:sldMk cId="2492622638" sldId="1235"/>
            <ac:spMk id="24" creationId="{64CE230C-2929-449A-A9BE-88AA9755CDBA}"/>
          </ac:spMkLst>
        </pc:spChg>
        <pc:grpChg chg="mod">
          <ac:chgData name="Marion Spizzo" userId="43054aff-b319-44f0-be2a-97a1d91f7302" providerId="ADAL" clId="{37B54CB3-BD7E-40B0-8042-8E551ADA4A1D}" dt="2021-08-09T08:51:46.514" v="476" actId="1076"/>
          <ac:grpSpMkLst>
            <pc:docMk/>
            <pc:sldMk cId="2492622638" sldId="1235"/>
            <ac:grpSpMk id="2" creationId="{F4E8971B-F310-454B-9C7E-224FEC772D90}"/>
          </ac:grpSpMkLst>
        </pc:grpChg>
        <pc:picChg chg="mod">
          <ac:chgData name="Marion Spizzo" userId="43054aff-b319-44f0-be2a-97a1d91f7302" providerId="ADAL" clId="{37B54CB3-BD7E-40B0-8042-8E551ADA4A1D}" dt="2021-08-09T08:50:35.754" v="462" actId="108"/>
          <ac:picMkLst>
            <pc:docMk/>
            <pc:sldMk cId="2492622638" sldId="1235"/>
            <ac:picMk id="3" creationId="{E4ABA034-08FC-4CDE-95D2-D2A0680B8879}"/>
          </ac:picMkLst>
        </pc:picChg>
        <pc:picChg chg="mod">
          <ac:chgData name="Marion Spizzo" userId="43054aff-b319-44f0-be2a-97a1d91f7302" providerId="ADAL" clId="{37B54CB3-BD7E-40B0-8042-8E551ADA4A1D}" dt="2021-08-09T08:51:49.394" v="477" actId="1076"/>
          <ac:picMkLst>
            <pc:docMk/>
            <pc:sldMk cId="2492622638" sldId="1235"/>
            <ac:picMk id="5" creationId="{A3F0014F-CB50-4E9E-B018-48EDD4F6F66D}"/>
          </ac:picMkLst>
        </pc:picChg>
      </pc:sldChg>
      <pc:sldChg chg="modSp mod">
        <pc:chgData name="Marion Spizzo" userId="43054aff-b319-44f0-be2a-97a1d91f7302" providerId="ADAL" clId="{37B54CB3-BD7E-40B0-8042-8E551ADA4A1D}" dt="2021-08-09T09:02:17.083" v="566" actId="5793"/>
        <pc:sldMkLst>
          <pc:docMk/>
          <pc:sldMk cId="1854249031" sldId="1236"/>
        </pc:sldMkLst>
        <pc:spChg chg="mod">
          <ac:chgData name="Marion Spizzo" userId="43054aff-b319-44f0-be2a-97a1d91f7302" providerId="ADAL" clId="{37B54CB3-BD7E-40B0-8042-8E551ADA4A1D}" dt="2021-08-09T09:02:17.083" v="566" actId="5793"/>
          <ac:spMkLst>
            <pc:docMk/>
            <pc:sldMk cId="1854249031" sldId="1236"/>
            <ac:spMk id="5" creationId="{0E269DA8-951A-4215-8F29-D205310203B1}"/>
          </ac:spMkLst>
        </pc:spChg>
        <pc:spChg chg="mod">
          <ac:chgData name="Marion Spizzo" userId="43054aff-b319-44f0-be2a-97a1d91f7302" providerId="ADAL" clId="{37B54CB3-BD7E-40B0-8042-8E551ADA4A1D}" dt="2021-08-09T08:53:46.756" v="496" actId="14100"/>
          <ac:spMkLst>
            <pc:docMk/>
            <pc:sldMk cId="1854249031" sldId="1236"/>
            <ac:spMk id="6" creationId="{6FD89FEB-87FB-4632-8108-6E59B254A9C7}"/>
          </ac:spMkLst>
        </pc:spChg>
        <pc:spChg chg="mod">
          <ac:chgData name="Marion Spizzo" userId="43054aff-b319-44f0-be2a-97a1d91f7302" providerId="ADAL" clId="{37B54CB3-BD7E-40B0-8042-8E551ADA4A1D}" dt="2021-08-09T08:53:54.806" v="497" actId="1076"/>
          <ac:spMkLst>
            <pc:docMk/>
            <pc:sldMk cId="1854249031" sldId="1236"/>
            <ac:spMk id="7" creationId="{C0E61E3D-73B8-46B1-8C88-53A2A6D9C5C0}"/>
          </ac:spMkLst>
        </pc:spChg>
        <pc:spChg chg="mod">
          <ac:chgData name="Marion Spizzo" userId="43054aff-b319-44f0-be2a-97a1d91f7302" providerId="ADAL" clId="{37B54CB3-BD7E-40B0-8042-8E551ADA4A1D}" dt="2021-08-09T08:53:06.949" v="487" actId="1076"/>
          <ac:spMkLst>
            <pc:docMk/>
            <pc:sldMk cId="1854249031" sldId="1236"/>
            <ac:spMk id="11" creationId="{F4C04A4C-6B27-453E-91D1-E74C1A8BF64F}"/>
          </ac:spMkLst>
        </pc:spChg>
        <pc:picChg chg="mod">
          <ac:chgData name="Marion Spizzo" userId="43054aff-b319-44f0-be2a-97a1d91f7302" providerId="ADAL" clId="{37B54CB3-BD7E-40B0-8042-8E551ADA4A1D}" dt="2021-08-09T08:53:18.370" v="490" actId="1076"/>
          <ac:picMkLst>
            <pc:docMk/>
            <pc:sldMk cId="1854249031" sldId="1236"/>
            <ac:picMk id="3" creationId="{49140C31-CFA1-4042-8C2F-1CED06B1AD91}"/>
          </ac:picMkLst>
        </pc:picChg>
      </pc:sldChg>
      <pc:sldChg chg="delSp modSp mod modAnim">
        <pc:chgData name="Marion Spizzo" userId="43054aff-b319-44f0-be2a-97a1d91f7302" providerId="ADAL" clId="{37B54CB3-BD7E-40B0-8042-8E551ADA4A1D}" dt="2021-08-10T05:58:13.439" v="1217"/>
        <pc:sldMkLst>
          <pc:docMk/>
          <pc:sldMk cId="478634626" sldId="1237"/>
        </pc:sldMkLst>
        <pc:spChg chg="mod topLvl">
          <ac:chgData name="Marion Spizzo" userId="43054aff-b319-44f0-be2a-97a1d91f7302" providerId="ADAL" clId="{37B54CB3-BD7E-40B0-8042-8E551ADA4A1D}" dt="2021-08-10T05:57:57.952" v="1214" actId="165"/>
          <ac:spMkLst>
            <pc:docMk/>
            <pc:sldMk cId="478634626" sldId="1237"/>
            <ac:spMk id="6" creationId="{C9D4A238-D237-4141-A13E-F0DDD70C5F03}"/>
          </ac:spMkLst>
        </pc:spChg>
        <pc:spChg chg="mod topLvl">
          <ac:chgData name="Marion Spizzo" userId="43054aff-b319-44f0-be2a-97a1d91f7302" providerId="ADAL" clId="{37B54CB3-BD7E-40B0-8042-8E551ADA4A1D}" dt="2021-08-10T05:57:57.952" v="1214" actId="165"/>
          <ac:spMkLst>
            <pc:docMk/>
            <pc:sldMk cId="478634626" sldId="1237"/>
            <ac:spMk id="7" creationId="{82E04FAE-F005-4628-BE03-6A4FB54499F0}"/>
          </ac:spMkLst>
        </pc:spChg>
        <pc:spChg chg="mod">
          <ac:chgData name="Marion Spizzo" userId="43054aff-b319-44f0-be2a-97a1d91f7302" providerId="ADAL" clId="{37B54CB3-BD7E-40B0-8042-8E551ADA4A1D}" dt="2021-08-09T08:54:02.953" v="498" actId="12"/>
          <ac:spMkLst>
            <pc:docMk/>
            <pc:sldMk cId="478634626" sldId="1237"/>
            <ac:spMk id="8" creationId="{B936CAA5-4B12-45AD-8D8C-65BC85DF92BF}"/>
          </ac:spMkLst>
        </pc:spChg>
        <pc:spChg chg="mod topLvl">
          <ac:chgData name="Marion Spizzo" userId="43054aff-b319-44f0-be2a-97a1d91f7302" providerId="ADAL" clId="{37B54CB3-BD7E-40B0-8042-8E551ADA4A1D}" dt="2021-08-10T05:57:42.289" v="1212" actId="165"/>
          <ac:spMkLst>
            <pc:docMk/>
            <pc:sldMk cId="478634626" sldId="1237"/>
            <ac:spMk id="9" creationId="{E829B942-084D-4CD6-B641-2EDA418E78AF}"/>
          </ac:spMkLst>
        </pc:spChg>
        <pc:spChg chg="mod topLvl">
          <ac:chgData name="Marion Spizzo" userId="43054aff-b319-44f0-be2a-97a1d91f7302" providerId="ADAL" clId="{37B54CB3-BD7E-40B0-8042-8E551ADA4A1D}" dt="2021-08-10T05:57:42.289" v="1212" actId="165"/>
          <ac:spMkLst>
            <pc:docMk/>
            <pc:sldMk cId="478634626" sldId="1237"/>
            <ac:spMk id="13" creationId="{300117D4-057C-4181-89C3-FD9A978184A0}"/>
          </ac:spMkLst>
        </pc:spChg>
        <pc:spChg chg="mod">
          <ac:chgData name="Marion Spizzo" userId="43054aff-b319-44f0-be2a-97a1d91f7302" providerId="ADAL" clId="{37B54CB3-BD7E-40B0-8042-8E551ADA4A1D}" dt="2021-08-09T08:56:06.997" v="522" actId="1076"/>
          <ac:spMkLst>
            <pc:docMk/>
            <pc:sldMk cId="478634626" sldId="1237"/>
            <ac:spMk id="14" creationId="{CA78941B-D273-4E16-BFB2-2F308D4A3416}"/>
          </ac:spMkLst>
        </pc:spChg>
        <pc:spChg chg="mod">
          <ac:chgData name="Marion Spizzo" userId="43054aff-b319-44f0-be2a-97a1d91f7302" providerId="ADAL" clId="{37B54CB3-BD7E-40B0-8042-8E551ADA4A1D}" dt="2021-08-09T08:55:59.133" v="520" actId="1076"/>
          <ac:spMkLst>
            <pc:docMk/>
            <pc:sldMk cId="478634626" sldId="1237"/>
            <ac:spMk id="15" creationId="{04C81CFA-A20F-418C-9699-7B60F732A62E}"/>
          </ac:spMkLst>
        </pc:spChg>
        <pc:spChg chg="mod">
          <ac:chgData name="Marion Spizzo" userId="43054aff-b319-44f0-be2a-97a1d91f7302" providerId="ADAL" clId="{37B54CB3-BD7E-40B0-8042-8E551ADA4A1D}" dt="2021-08-09T08:55:37.870" v="515" actId="1076"/>
          <ac:spMkLst>
            <pc:docMk/>
            <pc:sldMk cId="478634626" sldId="1237"/>
            <ac:spMk id="16" creationId="{464F7162-0CC4-4F5D-A0C3-A1CFAD831574}"/>
          </ac:spMkLst>
        </pc:spChg>
        <pc:spChg chg="mod">
          <ac:chgData name="Marion Spizzo" userId="43054aff-b319-44f0-be2a-97a1d91f7302" providerId="ADAL" clId="{37B54CB3-BD7E-40B0-8042-8E551ADA4A1D}" dt="2021-08-09T08:55:54.859" v="519" actId="1076"/>
          <ac:spMkLst>
            <pc:docMk/>
            <pc:sldMk cId="478634626" sldId="1237"/>
            <ac:spMk id="17" creationId="{A0D931C6-D191-47A5-B2E2-1B08EB96E892}"/>
          </ac:spMkLst>
        </pc:spChg>
        <pc:grpChg chg="del mod topLvl">
          <ac:chgData name="Marion Spizzo" userId="43054aff-b319-44f0-be2a-97a1d91f7302" providerId="ADAL" clId="{37B54CB3-BD7E-40B0-8042-8E551ADA4A1D}" dt="2021-08-10T05:57:57.952" v="1214" actId="165"/>
          <ac:grpSpMkLst>
            <pc:docMk/>
            <pc:sldMk cId="478634626" sldId="1237"/>
            <ac:grpSpMk id="2" creationId="{C740C945-0489-4FED-BDAE-2D573D32FEDC}"/>
          </ac:grpSpMkLst>
        </pc:grpChg>
        <pc:grpChg chg="del mod">
          <ac:chgData name="Marion Spizzo" userId="43054aff-b319-44f0-be2a-97a1d91f7302" providerId="ADAL" clId="{37B54CB3-BD7E-40B0-8042-8E551ADA4A1D}" dt="2021-08-10T05:57:42.289" v="1212" actId="165"/>
          <ac:grpSpMkLst>
            <pc:docMk/>
            <pc:sldMk cId="478634626" sldId="1237"/>
            <ac:grpSpMk id="3" creationId="{BE53EC58-C668-425D-B2A4-1561DC046BC5}"/>
          </ac:grpSpMkLst>
        </pc:grpChg>
        <pc:picChg chg="mod topLvl">
          <ac:chgData name="Marion Spizzo" userId="43054aff-b319-44f0-be2a-97a1d91f7302" providerId="ADAL" clId="{37B54CB3-BD7E-40B0-8042-8E551ADA4A1D}" dt="2021-08-10T05:57:57.952" v="1214" actId="165"/>
          <ac:picMkLst>
            <pc:docMk/>
            <pc:sldMk cId="478634626" sldId="1237"/>
            <ac:picMk id="10" creationId="{42E744B4-4C5B-4760-A2E2-667BC92AEB03}"/>
          </ac:picMkLst>
        </pc:picChg>
      </pc:sldChg>
      <pc:sldChg chg="modSp mod modAnim">
        <pc:chgData name="Marion Spizzo" userId="43054aff-b319-44f0-be2a-97a1d91f7302" providerId="ADAL" clId="{37B54CB3-BD7E-40B0-8042-8E551ADA4A1D}" dt="2021-08-10T05:53:54.571" v="1210"/>
        <pc:sldMkLst>
          <pc:docMk/>
          <pc:sldMk cId="3026775920" sldId="1238"/>
        </pc:sldMkLst>
        <pc:spChg chg="mod">
          <ac:chgData name="Marion Spizzo" userId="43054aff-b319-44f0-be2a-97a1d91f7302" providerId="ADAL" clId="{37B54CB3-BD7E-40B0-8042-8E551ADA4A1D}" dt="2021-08-09T09:02:07.206" v="565" actId="12"/>
          <ac:spMkLst>
            <pc:docMk/>
            <pc:sldMk cId="3026775920" sldId="1238"/>
            <ac:spMk id="9" creationId="{527B0853-7766-4A2D-BD49-DDE8941FFC00}"/>
          </ac:spMkLst>
        </pc:spChg>
        <pc:spChg chg="mod">
          <ac:chgData name="Marion Spizzo" userId="43054aff-b319-44f0-be2a-97a1d91f7302" providerId="ADAL" clId="{37B54CB3-BD7E-40B0-8042-8E551ADA4A1D}" dt="2021-08-09T09:05:51.548" v="618" actId="1582"/>
          <ac:spMkLst>
            <pc:docMk/>
            <pc:sldMk cId="3026775920" sldId="1238"/>
            <ac:spMk id="19" creationId="{5C21513C-0B28-478A-A946-BCAF91F945A6}"/>
          </ac:spMkLst>
        </pc:spChg>
        <pc:picChg chg="mod">
          <ac:chgData name="Marion Spizzo" userId="43054aff-b319-44f0-be2a-97a1d91f7302" providerId="ADAL" clId="{37B54CB3-BD7E-40B0-8042-8E551ADA4A1D}" dt="2021-08-09T09:04:03.580" v="596" actId="108"/>
          <ac:picMkLst>
            <pc:docMk/>
            <pc:sldMk cId="3026775920" sldId="1238"/>
            <ac:picMk id="21" creationId="{A3EA3CCB-BB69-42AD-AD3C-5CF17CFB644A}"/>
          </ac:picMkLst>
        </pc:picChg>
      </pc:sldChg>
      <pc:sldChg chg="modSp del mod">
        <pc:chgData name="Marion Spizzo" userId="43054aff-b319-44f0-be2a-97a1d91f7302" providerId="ADAL" clId="{37B54CB3-BD7E-40B0-8042-8E551ADA4A1D}" dt="2021-08-18T08:09:16.823" v="3977" actId="2696"/>
        <pc:sldMkLst>
          <pc:docMk/>
          <pc:sldMk cId="2728220748" sldId="1239"/>
        </pc:sldMkLst>
        <pc:spChg chg="mod">
          <ac:chgData name="Marion Spizzo" userId="43054aff-b319-44f0-be2a-97a1d91f7302" providerId="ADAL" clId="{37B54CB3-BD7E-40B0-8042-8E551ADA4A1D}" dt="2021-08-09T09:04:39.566" v="600" actId="14861"/>
          <ac:spMkLst>
            <pc:docMk/>
            <pc:sldMk cId="2728220748" sldId="1239"/>
            <ac:spMk id="28" creationId="{6620D9C1-8533-46FF-999C-31AFD3C3352A}"/>
          </ac:spMkLst>
        </pc:spChg>
        <pc:spChg chg="mod">
          <ac:chgData name="Marion Spizzo" userId="43054aff-b319-44f0-be2a-97a1d91f7302" providerId="ADAL" clId="{37B54CB3-BD7E-40B0-8042-8E551ADA4A1D}" dt="2021-08-09T09:04:39.566" v="600" actId="14861"/>
          <ac:spMkLst>
            <pc:docMk/>
            <pc:sldMk cId="2728220748" sldId="1239"/>
            <ac:spMk id="31" creationId="{A9214B21-7BF8-43E6-A4C5-23A451B4EE50}"/>
          </ac:spMkLst>
        </pc:spChg>
        <pc:spChg chg="mod">
          <ac:chgData name="Marion Spizzo" userId="43054aff-b319-44f0-be2a-97a1d91f7302" providerId="ADAL" clId="{37B54CB3-BD7E-40B0-8042-8E551ADA4A1D}" dt="2021-08-09T09:04:39.566" v="600" actId="14861"/>
          <ac:spMkLst>
            <pc:docMk/>
            <pc:sldMk cId="2728220748" sldId="1239"/>
            <ac:spMk id="32" creationId="{FCC02B46-C67A-457D-B401-695B9EF343A9}"/>
          </ac:spMkLst>
        </pc:spChg>
        <pc:spChg chg="mod">
          <ac:chgData name="Marion Spizzo" userId="43054aff-b319-44f0-be2a-97a1d91f7302" providerId="ADAL" clId="{37B54CB3-BD7E-40B0-8042-8E551ADA4A1D}" dt="2021-08-09T09:05:18.660" v="612" actId="1076"/>
          <ac:spMkLst>
            <pc:docMk/>
            <pc:sldMk cId="2728220748" sldId="1239"/>
            <ac:spMk id="34" creationId="{26108C93-EC30-4147-A9D6-AC95D6C382AD}"/>
          </ac:spMkLst>
        </pc:spChg>
        <pc:spChg chg="mod">
          <ac:chgData name="Marion Spizzo" userId="43054aff-b319-44f0-be2a-97a1d91f7302" providerId="ADAL" clId="{37B54CB3-BD7E-40B0-8042-8E551ADA4A1D}" dt="2021-08-09T09:04:39.566" v="600" actId="14861"/>
          <ac:spMkLst>
            <pc:docMk/>
            <pc:sldMk cId="2728220748" sldId="1239"/>
            <ac:spMk id="37" creationId="{F6B67D69-0672-4EEE-8B6D-D2C4976EE040}"/>
          </ac:spMkLst>
        </pc:spChg>
        <pc:spChg chg="mod">
          <ac:chgData name="Marion Spizzo" userId="43054aff-b319-44f0-be2a-97a1d91f7302" providerId="ADAL" clId="{37B54CB3-BD7E-40B0-8042-8E551ADA4A1D}" dt="2021-08-09T09:05:43.974" v="617" actId="1076"/>
          <ac:spMkLst>
            <pc:docMk/>
            <pc:sldMk cId="2728220748" sldId="1239"/>
            <ac:spMk id="43" creationId="{C6F8AFDB-D2AA-419F-911F-F021561D9E7D}"/>
          </ac:spMkLst>
        </pc:spChg>
        <pc:picChg chg="mod">
          <ac:chgData name="Marion Spizzo" userId="43054aff-b319-44f0-be2a-97a1d91f7302" providerId="ADAL" clId="{37B54CB3-BD7E-40B0-8042-8E551ADA4A1D}" dt="2021-08-09T09:04:39.566" v="600" actId="14861"/>
          <ac:picMkLst>
            <pc:docMk/>
            <pc:sldMk cId="2728220748" sldId="1239"/>
            <ac:picMk id="30" creationId="{7A35362A-7B5D-4F3E-9937-3DE37134CD04}"/>
          </ac:picMkLst>
        </pc:picChg>
        <pc:picChg chg="mod">
          <ac:chgData name="Marion Spizzo" userId="43054aff-b319-44f0-be2a-97a1d91f7302" providerId="ADAL" clId="{37B54CB3-BD7E-40B0-8042-8E551ADA4A1D}" dt="2021-08-09T09:05:15.372" v="611" actId="1076"/>
          <ac:picMkLst>
            <pc:docMk/>
            <pc:sldMk cId="2728220748" sldId="1239"/>
            <ac:picMk id="33" creationId="{976EBCD3-3BFA-45A6-9E24-4C99BDFD472F}"/>
          </ac:picMkLst>
        </pc:picChg>
        <pc:picChg chg="mod">
          <ac:chgData name="Marion Spizzo" userId="43054aff-b319-44f0-be2a-97a1d91f7302" providerId="ADAL" clId="{37B54CB3-BD7E-40B0-8042-8E551ADA4A1D}" dt="2021-08-09T09:05:09.351" v="608" actId="1076"/>
          <ac:picMkLst>
            <pc:docMk/>
            <pc:sldMk cId="2728220748" sldId="1239"/>
            <ac:picMk id="36" creationId="{358E72F3-DC72-435F-9F7D-6BC0540F55C5}"/>
          </ac:picMkLst>
        </pc:picChg>
        <pc:picChg chg="mod">
          <ac:chgData name="Marion Spizzo" userId="43054aff-b319-44f0-be2a-97a1d91f7302" providerId="ADAL" clId="{37B54CB3-BD7E-40B0-8042-8E551ADA4A1D}" dt="2021-08-09T09:05:08.262" v="607" actId="1076"/>
          <ac:picMkLst>
            <pc:docMk/>
            <pc:sldMk cId="2728220748" sldId="1239"/>
            <ac:picMk id="38" creationId="{42E136D2-B2F7-4A82-887E-755A1D9CBF55}"/>
          </ac:picMkLst>
        </pc:picChg>
        <pc:picChg chg="mod">
          <ac:chgData name="Marion Spizzo" userId="43054aff-b319-44f0-be2a-97a1d91f7302" providerId="ADAL" clId="{37B54CB3-BD7E-40B0-8042-8E551ADA4A1D}" dt="2021-08-09T09:04:39.566" v="600" actId="14861"/>
          <ac:picMkLst>
            <pc:docMk/>
            <pc:sldMk cId="2728220748" sldId="1239"/>
            <ac:picMk id="40" creationId="{40ED0E61-AB89-4DD6-9019-6F72A806D003}"/>
          </ac:picMkLst>
        </pc:picChg>
        <pc:picChg chg="mod">
          <ac:chgData name="Marion Spizzo" userId="43054aff-b319-44f0-be2a-97a1d91f7302" providerId="ADAL" clId="{37B54CB3-BD7E-40B0-8042-8E551ADA4A1D}" dt="2021-08-09T09:04:39.566" v="600" actId="14861"/>
          <ac:picMkLst>
            <pc:docMk/>
            <pc:sldMk cId="2728220748" sldId="1239"/>
            <ac:picMk id="41" creationId="{C2319F10-9084-4D1B-811E-85C2810CDAC4}"/>
          </ac:picMkLst>
        </pc:picChg>
        <pc:picChg chg="mod">
          <ac:chgData name="Marion Spizzo" userId="43054aff-b319-44f0-be2a-97a1d91f7302" providerId="ADAL" clId="{37B54CB3-BD7E-40B0-8042-8E551ADA4A1D}" dt="2021-08-09T09:05:30.909" v="615" actId="1076"/>
          <ac:picMkLst>
            <pc:docMk/>
            <pc:sldMk cId="2728220748" sldId="1239"/>
            <ac:picMk id="42" creationId="{CA2088CF-9C23-402A-9A8C-99BC59EFFD8A}"/>
          </ac:picMkLst>
        </pc:picChg>
        <pc:cxnChg chg="mod">
          <ac:chgData name="Marion Spizzo" userId="43054aff-b319-44f0-be2a-97a1d91f7302" providerId="ADAL" clId="{37B54CB3-BD7E-40B0-8042-8E551ADA4A1D}" dt="2021-08-09T09:04:39.566" v="600" actId="14861"/>
          <ac:cxnSpMkLst>
            <pc:docMk/>
            <pc:sldMk cId="2728220748" sldId="1239"/>
            <ac:cxnSpMk id="35" creationId="{586C64E9-2847-472D-9D29-43A8D24FCF66}"/>
          </ac:cxnSpMkLst>
        </pc:cxnChg>
        <pc:cxnChg chg="mod">
          <ac:chgData name="Marion Spizzo" userId="43054aff-b319-44f0-be2a-97a1d91f7302" providerId="ADAL" clId="{37B54CB3-BD7E-40B0-8042-8E551ADA4A1D}" dt="2021-08-09T09:04:39.566" v="600" actId="14861"/>
          <ac:cxnSpMkLst>
            <pc:docMk/>
            <pc:sldMk cId="2728220748" sldId="1239"/>
            <ac:cxnSpMk id="39" creationId="{FCED3A9E-BD00-4570-B0BB-71E35525E40B}"/>
          </ac:cxnSpMkLst>
        </pc:cxnChg>
      </pc:sldChg>
      <pc:sldChg chg="modSp mod">
        <pc:chgData name="Marion Spizzo" userId="43054aff-b319-44f0-be2a-97a1d91f7302" providerId="ADAL" clId="{37B54CB3-BD7E-40B0-8042-8E551ADA4A1D}" dt="2021-08-09T09:06:57.803" v="631" actId="14100"/>
        <pc:sldMkLst>
          <pc:docMk/>
          <pc:sldMk cId="718142970" sldId="1241"/>
        </pc:sldMkLst>
        <pc:spChg chg="mod">
          <ac:chgData name="Marion Spizzo" userId="43054aff-b319-44f0-be2a-97a1d91f7302" providerId="ADAL" clId="{37B54CB3-BD7E-40B0-8042-8E551ADA4A1D}" dt="2021-08-09T09:06:13.707" v="621" actId="12"/>
          <ac:spMkLst>
            <pc:docMk/>
            <pc:sldMk cId="718142970" sldId="1241"/>
            <ac:spMk id="10" creationId="{1654A0EB-E4AD-45F9-9DEC-C47CC9A8A467}"/>
          </ac:spMkLst>
        </pc:spChg>
        <pc:spChg chg="mod">
          <ac:chgData name="Marion Spizzo" userId="43054aff-b319-44f0-be2a-97a1d91f7302" providerId="ADAL" clId="{37B54CB3-BD7E-40B0-8042-8E551ADA4A1D}" dt="2021-08-09T09:06:57.803" v="631" actId="14100"/>
          <ac:spMkLst>
            <pc:docMk/>
            <pc:sldMk cId="718142970" sldId="1241"/>
            <ac:spMk id="19" creationId="{F252C76E-0619-4517-9166-0391EC0513AB}"/>
          </ac:spMkLst>
        </pc:spChg>
        <pc:spChg chg="mod">
          <ac:chgData name="Marion Spizzo" userId="43054aff-b319-44f0-be2a-97a1d91f7302" providerId="ADAL" clId="{37B54CB3-BD7E-40B0-8042-8E551ADA4A1D}" dt="2021-08-09T09:06:27.598" v="624" actId="14100"/>
          <ac:spMkLst>
            <pc:docMk/>
            <pc:sldMk cId="718142970" sldId="1241"/>
            <ac:spMk id="22" creationId="{5CB53CF6-B939-4CF5-B01A-98C36E6C7FEB}"/>
          </ac:spMkLst>
        </pc:spChg>
        <pc:spChg chg="mod">
          <ac:chgData name="Marion Spizzo" userId="43054aff-b319-44f0-be2a-97a1d91f7302" providerId="ADAL" clId="{37B54CB3-BD7E-40B0-8042-8E551ADA4A1D}" dt="2021-08-09T09:06:30.669" v="625" actId="1076"/>
          <ac:spMkLst>
            <pc:docMk/>
            <pc:sldMk cId="718142970" sldId="1241"/>
            <ac:spMk id="23" creationId="{099FAF26-B274-43C4-AC51-C502752691FF}"/>
          </ac:spMkLst>
        </pc:spChg>
        <pc:picChg chg="mod">
          <ac:chgData name="Marion Spizzo" userId="43054aff-b319-44f0-be2a-97a1d91f7302" providerId="ADAL" clId="{37B54CB3-BD7E-40B0-8042-8E551ADA4A1D}" dt="2021-08-09T09:06:38.624" v="627" actId="108"/>
          <ac:picMkLst>
            <pc:docMk/>
            <pc:sldMk cId="718142970" sldId="1241"/>
            <ac:picMk id="5" creationId="{6414ED29-8B96-4DA0-93ED-D2167F258C9D}"/>
          </ac:picMkLst>
        </pc:picChg>
        <pc:picChg chg="mod">
          <ac:chgData name="Marion Spizzo" userId="43054aff-b319-44f0-be2a-97a1d91f7302" providerId="ADAL" clId="{37B54CB3-BD7E-40B0-8042-8E551ADA4A1D}" dt="2021-08-09T09:06:36.513" v="626" actId="108"/>
          <ac:picMkLst>
            <pc:docMk/>
            <pc:sldMk cId="718142970" sldId="1241"/>
            <ac:picMk id="8" creationId="{9A8C1491-943C-43B3-82B8-7FABB928747A}"/>
          </ac:picMkLst>
        </pc:picChg>
      </pc:sldChg>
      <pc:sldChg chg="modSp mod">
        <pc:chgData name="Marion Spizzo" userId="43054aff-b319-44f0-be2a-97a1d91f7302" providerId="ADAL" clId="{37B54CB3-BD7E-40B0-8042-8E551ADA4A1D}" dt="2021-08-10T06:01:21.326" v="1249" actId="1036"/>
        <pc:sldMkLst>
          <pc:docMk/>
          <pc:sldMk cId="3675731293" sldId="1244"/>
        </pc:sldMkLst>
        <pc:spChg chg="mod">
          <ac:chgData name="Marion Spizzo" userId="43054aff-b319-44f0-be2a-97a1d91f7302" providerId="ADAL" clId="{37B54CB3-BD7E-40B0-8042-8E551ADA4A1D}" dt="2021-08-10T06:01:21.326" v="1249" actId="1036"/>
          <ac:spMkLst>
            <pc:docMk/>
            <pc:sldMk cId="3675731293" sldId="1244"/>
            <ac:spMk id="19" creationId="{7130449C-0A07-4C6E-BCC2-BD50AB1CF34F}"/>
          </ac:spMkLst>
        </pc:spChg>
        <pc:spChg chg="mod">
          <ac:chgData name="Marion Spizzo" userId="43054aff-b319-44f0-be2a-97a1d91f7302" providerId="ADAL" clId="{37B54CB3-BD7E-40B0-8042-8E551ADA4A1D}" dt="2021-08-09T09:15:45.067" v="677" actId="14100"/>
          <ac:spMkLst>
            <pc:docMk/>
            <pc:sldMk cId="3675731293" sldId="1244"/>
            <ac:spMk id="21" creationId="{84415443-1B98-43A1-81D0-7D105AFB28E8}"/>
          </ac:spMkLst>
        </pc:spChg>
        <pc:spChg chg="mod">
          <ac:chgData name="Marion Spizzo" userId="43054aff-b319-44f0-be2a-97a1d91f7302" providerId="ADAL" clId="{37B54CB3-BD7E-40B0-8042-8E551ADA4A1D}" dt="2021-08-09T09:14:36.829" v="666" actId="14100"/>
          <ac:spMkLst>
            <pc:docMk/>
            <pc:sldMk cId="3675731293" sldId="1244"/>
            <ac:spMk id="32" creationId="{12A9DCD9-595D-4D3C-8D8E-DC2168A33E8C}"/>
          </ac:spMkLst>
        </pc:spChg>
        <pc:picChg chg="mod">
          <ac:chgData name="Marion Spizzo" userId="43054aff-b319-44f0-be2a-97a1d91f7302" providerId="ADAL" clId="{37B54CB3-BD7E-40B0-8042-8E551ADA4A1D}" dt="2021-08-10T06:01:12.416" v="1242" actId="1036"/>
          <ac:picMkLst>
            <pc:docMk/>
            <pc:sldMk cId="3675731293" sldId="1244"/>
            <ac:picMk id="9" creationId="{1B34A735-4FD7-4B74-A227-DCE681BCA891}"/>
          </ac:picMkLst>
        </pc:picChg>
        <pc:picChg chg="mod">
          <ac:chgData name="Marion Spizzo" userId="43054aff-b319-44f0-be2a-97a1d91f7302" providerId="ADAL" clId="{37B54CB3-BD7E-40B0-8042-8E551ADA4A1D}" dt="2021-08-09T09:14:25.482" v="664" actId="108"/>
          <ac:picMkLst>
            <pc:docMk/>
            <pc:sldMk cId="3675731293" sldId="1244"/>
            <ac:picMk id="20" creationId="{480AB691-E3C3-463F-8844-FC3BC987D410}"/>
          </ac:picMkLst>
        </pc:picChg>
      </pc:sldChg>
      <pc:sldChg chg="addSp modSp mod modAnim">
        <pc:chgData name="Marion Spizzo" userId="43054aff-b319-44f0-be2a-97a1d91f7302" providerId="ADAL" clId="{37B54CB3-BD7E-40B0-8042-8E551ADA4A1D}" dt="2021-08-10T09:23:44.223" v="1287"/>
        <pc:sldMkLst>
          <pc:docMk/>
          <pc:sldMk cId="2646104225" sldId="1245"/>
        </pc:sldMkLst>
        <pc:spChg chg="mod">
          <ac:chgData name="Marion Spizzo" userId="43054aff-b319-44f0-be2a-97a1d91f7302" providerId="ADAL" clId="{37B54CB3-BD7E-40B0-8042-8E551ADA4A1D}" dt="2021-08-09T09:16:20.208" v="681" actId="12"/>
          <ac:spMkLst>
            <pc:docMk/>
            <pc:sldMk cId="2646104225" sldId="1245"/>
            <ac:spMk id="4" creationId="{C481A0CD-49C9-4BF9-B570-4A41BC1B88B5}"/>
          </ac:spMkLst>
        </pc:spChg>
        <pc:spChg chg="add mod">
          <ac:chgData name="Marion Spizzo" userId="43054aff-b319-44f0-be2a-97a1d91f7302" providerId="ADAL" clId="{37B54CB3-BD7E-40B0-8042-8E551ADA4A1D}" dt="2021-08-10T09:22:51.113" v="1283" actId="1076"/>
          <ac:spMkLst>
            <pc:docMk/>
            <pc:sldMk cId="2646104225" sldId="1245"/>
            <ac:spMk id="11" creationId="{2215C285-AE57-4CBC-8270-C8031446C5C4}"/>
          </ac:spMkLst>
        </pc:spChg>
        <pc:spChg chg="add mod">
          <ac:chgData name="Marion Spizzo" userId="43054aff-b319-44f0-be2a-97a1d91f7302" providerId="ADAL" clId="{37B54CB3-BD7E-40B0-8042-8E551ADA4A1D}" dt="2021-08-10T09:22:41.950" v="1280" actId="1076"/>
          <ac:spMkLst>
            <pc:docMk/>
            <pc:sldMk cId="2646104225" sldId="1245"/>
            <ac:spMk id="12" creationId="{B2577342-5197-463B-B5A5-2977A0169F18}"/>
          </ac:spMkLst>
        </pc:spChg>
        <pc:spChg chg="add mod">
          <ac:chgData name="Marion Spizzo" userId="43054aff-b319-44f0-be2a-97a1d91f7302" providerId="ADAL" clId="{37B54CB3-BD7E-40B0-8042-8E551ADA4A1D}" dt="2021-08-10T09:22:35.539" v="1279" actId="20577"/>
          <ac:spMkLst>
            <pc:docMk/>
            <pc:sldMk cId="2646104225" sldId="1245"/>
            <ac:spMk id="13" creationId="{055DEF0D-9924-40B5-B6FF-2AA8DA9909BE}"/>
          </ac:spMkLst>
        </pc:spChg>
        <pc:spChg chg="mod">
          <ac:chgData name="Marion Spizzo" userId="43054aff-b319-44f0-be2a-97a1d91f7302" providerId="ADAL" clId="{37B54CB3-BD7E-40B0-8042-8E551ADA4A1D}" dt="2021-08-09T11:20:16.667" v="1136" actId="1035"/>
          <ac:spMkLst>
            <pc:docMk/>
            <pc:sldMk cId="2646104225" sldId="1245"/>
            <ac:spMk id="20" creationId="{B44B7E66-9498-4FA4-9B03-DF40E6361A43}"/>
          </ac:spMkLst>
        </pc:spChg>
        <pc:spChg chg="mod">
          <ac:chgData name="Marion Spizzo" userId="43054aff-b319-44f0-be2a-97a1d91f7302" providerId="ADAL" clId="{37B54CB3-BD7E-40B0-8042-8E551ADA4A1D}" dt="2021-08-09T09:18:15.184" v="698" actId="1076"/>
          <ac:spMkLst>
            <pc:docMk/>
            <pc:sldMk cId="2646104225" sldId="1245"/>
            <ac:spMk id="22" creationId="{6DF8D629-6263-44AA-8AB0-4C2EF56E1D77}"/>
          </ac:spMkLst>
        </pc:spChg>
        <pc:spChg chg="mod">
          <ac:chgData name="Marion Spizzo" userId="43054aff-b319-44f0-be2a-97a1d91f7302" providerId="ADAL" clId="{37B54CB3-BD7E-40B0-8042-8E551ADA4A1D}" dt="2021-08-09T09:18:07.981" v="697" actId="14100"/>
          <ac:spMkLst>
            <pc:docMk/>
            <pc:sldMk cId="2646104225" sldId="1245"/>
            <ac:spMk id="23" creationId="{3ED9F339-DB99-4B99-8B5C-E66BEC409649}"/>
          </ac:spMkLst>
        </pc:spChg>
        <pc:spChg chg="mod">
          <ac:chgData name="Marion Spizzo" userId="43054aff-b319-44f0-be2a-97a1d91f7302" providerId="ADAL" clId="{37B54CB3-BD7E-40B0-8042-8E551ADA4A1D}" dt="2021-08-09T11:20:21.711" v="1139" actId="1037"/>
          <ac:spMkLst>
            <pc:docMk/>
            <pc:sldMk cId="2646104225" sldId="1245"/>
            <ac:spMk id="24" creationId="{FFDE4383-F008-4D5D-A77B-000B170DD669}"/>
          </ac:spMkLst>
        </pc:spChg>
        <pc:picChg chg="mod">
          <ac:chgData name="Marion Spizzo" userId="43054aff-b319-44f0-be2a-97a1d91f7302" providerId="ADAL" clId="{37B54CB3-BD7E-40B0-8042-8E551ADA4A1D}" dt="2021-08-09T09:15:57.539" v="679" actId="108"/>
          <ac:picMkLst>
            <pc:docMk/>
            <pc:sldMk cId="2646104225" sldId="1245"/>
            <ac:picMk id="19" creationId="{D0129526-63DE-4125-B7F6-58FA0C34D75F}"/>
          </ac:picMkLst>
        </pc:picChg>
        <pc:picChg chg="mod">
          <ac:chgData name="Marion Spizzo" userId="43054aff-b319-44f0-be2a-97a1d91f7302" providerId="ADAL" clId="{37B54CB3-BD7E-40B0-8042-8E551ADA4A1D}" dt="2021-08-09T09:16:56.230" v="687" actId="1076"/>
          <ac:picMkLst>
            <pc:docMk/>
            <pc:sldMk cId="2646104225" sldId="1245"/>
            <ac:picMk id="21" creationId="{68BBF5D9-8E48-4219-833C-0047B3B2061C}"/>
          </ac:picMkLst>
        </pc:picChg>
      </pc:sldChg>
      <pc:sldChg chg="modSp mod">
        <pc:chgData name="Marion Spizzo" userId="43054aff-b319-44f0-be2a-97a1d91f7302" providerId="ADAL" clId="{37B54CB3-BD7E-40B0-8042-8E551ADA4A1D}" dt="2021-08-09T09:18:55.295" v="708" actId="12"/>
        <pc:sldMkLst>
          <pc:docMk/>
          <pc:sldMk cId="787866711" sldId="1248"/>
        </pc:sldMkLst>
        <pc:spChg chg="mod">
          <ac:chgData name="Marion Spizzo" userId="43054aff-b319-44f0-be2a-97a1d91f7302" providerId="ADAL" clId="{37B54CB3-BD7E-40B0-8042-8E551ADA4A1D}" dt="2021-08-09T09:18:55.295" v="708" actId="12"/>
          <ac:spMkLst>
            <pc:docMk/>
            <pc:sldMk cId="787866711" sldId="1248"/>
            <ac:spMk id="4" creationId="{C481A0CD-49C9-4BF9-B570-4A41BC1B88B5}"/>
          </ac:spMkLst>
        </pc:spChg>
        <pc:picChg chg="mod">
          <ac:chgData name="Marion Spizzo" userId="43054aff-b319-44f0-be2a-97a1d91f7302" providerId="ADAL" clId="{37B54CB3-BD7E-40B0-8042-8E551ADA4A1D}" dt="2021-08-09T09:18:35.620" v="704" actId="14861"/>
          <ac:picMkLst>
            <pc:docMk/>
            <pc:sldMk cId="787866711" sldId="1248"/>
            <ac:picMk id="24" creationId="{AAC03E90-A6B4-46EA-B854-2FD09AF94C54}"/>
          </ac:picMkLst>
        </pc:picChg>
        <pc:picChg chg="mod">
          <ac:chgData name="Marion Spizzo" userId="43054aff-b319-44f0-be2a-97a1d91f7302" providerId="ADAL" clId="{37B54CB3-BD7E-40B0-8042-8E551ADA4A1D}" dt="2021-08-09T09:18:38.489" v="705" actId="1076"/>
          <ac:picMkLst>
            <pc:docMk/>
            <pc:sldMk cId="787866711" sldId="1248"/>
            <ac:picMk id="26" creationId="{D46C1376-2B52-457A-95C1-FAAC16C8F00D}"/>
          </ac:picMkLst>
        </pc:picChg>
        <pc:picChg chg="mod">
          <ac:chgData name="Marion Spizzo" userId="43054aff-b319-44f0-be2a-97a1d91f7302" providerId="ADAL" clId="{37B54CB3-BD7E-40B0-8042-8E551ADA4A1D}" dt="2021-08-09T09:18:45.992" v="707" actId="14861"/>
          <ac:picMkLst>
            <pc:docMk/>
            <pc:sldMk cId="787866711" sldId="1248"/>
            <ac:picMk id="29" creationId="{D4A71C62-E4F5-4282-A732-FA65C62F96F7}"/>
          </ac:picMkLst>
        </pc:picChg>
        <pc:picChg chg="mod">
          <ac:chgData name="Marion Spizzo" userId="43054aff-b319-44f0-be2a-97a1d91f7302" providerId="ADAL" clId="{37B54CB3-BD7E-40B0-8042-8E551ADA4A1D}" dt="2021-08-09T09:18:41.997" v="706" actId="1076"/>
          <ac:picMkLst>
            <pc:docMk/>
            <pc:sldMk cId="787866711" sldId="1248"/>
            <ac:picMk id="33" creationId="{052DCC53-5C47-4418-8CE3-8ADF078803F5}"/>
          </ac:picMkLst>
        </pc:picChg>
      </pc:sldChg>
      <pc:sldChg chg="addSp delSp modSp mod delAnim modAnim">
        <pc:chgData name="Marion Spizzo" userId="43054aff-b319-44f0-be2a-97a1d91f7302" providerId="ADAL" clId="{37B54CB3-BD7E-40B0-8042-8E551ADA4A1D}" dt="2021-08-10T09:24:36.480" v="1298"/>
        <pc:sldMkLst>
          <pc:docMk/>
          <pc:sldMk cId="2366905453" sldId="1249"/>
        </pc:sldMkLst>
        <pc:spChg chg="mod">
          <ac:chgData name="Marion Spizzo" userId="43054aff-b319-44f0-be2a-97a1d91f7302" providerId="ADAL" clId="{37B54CB3-BD7E-40B0-8042-8E551ADA4A1D}" dt="2021-08-09T09:19:19.387" v="710" actId="12"/>
          <ac:spMkLst>
            <pc:docMk/>
            <pc:sldMk cId="2366905453" sldId="1249"/>
            <ac:spMk id="4" creationId="{C481A0CD-49C9-4BF9-B570-4A41BC1B88B5}"/>
          </ac:spMkLst>
        </pc:spChg>
        <pc:spChg chg="add del mod">
          <ac:chgData name="Marion Spizzo" userId="43054aff-b319-44f0-be2a-97a1d91f7302" providerId="ADAL" clId="{37B54CB3-BD7E-40B0-8042-8E551ADA4A1D}" dt="2021-08-10T09:24:00.499" v="1290" actId="478"/>
          <ac:spMkLst>
            <pc:docMk/>
            <pc:sldMk cId="2366905453" sldId="1249"/>
            <ac:spMk id="11" creationId="{BA40005F-43E3-43C5-B157-93C898F50CBC}"/>
          </ac:spMkLst>
        </pc:spChg>
        <pc:spChg chg="add mod">
          <ac:chgData name="Marion Spizzo" userId="43054aff-b319-44f0-be2a-97a1d91f7302" providerId="ADAL" clId="{37B54CB3-BD7E-40B0-8042-8E551ADA4A1D}" dt="2021-08-10T09:24:17.648" v="1294" actId="1076"/>
          <ac:spMkLst>
            <pc:docMk/>
            <pc:sldMk cId="2366905453" sldId="1249"/>
            <ac:spMk id="12" creationId="{418A92DC-D18C-4514-B3FF-2339228A8A29}"/>
          </ac:spMkLst>
        </pc:spChg>
        <pc:spChg chg="add mod">
          <ac:chgData name="Marion Spizzo" userId="43054aff-b319-44f0-be2a-97a1d91f7302" providerId="ADAL" clId="{37B54CB3-BD7E-40B0-8042-8E551ADA4A1D}" dt="2021-08-10T09:24:22.056" v="1295" actId="1076"/>
          <ac:spMkLst>
            <pc:docMk/>
            <pc:sldMk cId="2366905453" sldId="1249"/>
            <ac:spMk id="13" creationId="{5F0B3493-AEBB-4DFC-A41F-1B46B58C42AC}"/>
          </ac:spMkLst>
        </pc:spChg>
        <pc:spChg chg="mod">
          <ac:chgData name="Marion Spizzo" userId="43054aff-b319-44f0-be2a-97a1d91f7302" providerId="ADAL" clId="{37B54CB3-BD7E-40B0-8042-8E551ADA4A1D}" dt="2021-08-09T11:20:37.851" v="1146" actId="1035"/>
          <ac:spMkLst>
            <pc:docMk/>
            <pc:sldMk cId="2366905453" sldId="1249"/>
            <ac:spMk id="20" creationId="{7D24A8A8-58B8-4F9F-9012-6C475C14F39F}"/>
          </ac:spMkLst>
        </pc:spChg>
        <pc:spChg chg="mod">
          <ac:chgData name="Marion Spizzo" userId="43054aff-b319-44f0-be2a-97a1d91f7302" providerId="ADAL" clId="{37B54CB3-BD7E-40B0-8042-8E551ADA4A1D}" dt="2021-08-09T09:20:23.044" v="730" actId="1582"/>
          <ac:spMkLst>
            <pc:docMk/>
            <pc:sldMk cId="2366905453" sldId="1249"/>
            <ac:spMk id="21" creationId="{FE9CDD19-53FA-43BA-9D44-5C6466649B4A}"/>
          </ac:spMkLst>
        </pc:spChg>
        <pc:spChg chg="mod">
          <ac:chgData name="Marion Spizzo" userId="43054aff-b319-44f0-be2a-97a1d91f7302" providerId="ADAL" clId="{37B54CB3-BD7E-40B0-8042-8E551ADA4A1D}" dt="2021-08-09T11:20:31.340" v="1142" actId="1035"/>
          <ac:spMkLst>
            <pc:docMk/>
            <pc:sldMk cId="2366905453" sldId="1249"/>
            <ac:spMk id="30" creationId="{182C1989-E7F1-41C1-A6B0-D41635D92EC6}"/>
          </ac:spMkLst>
        </pc:spChg>
        <pc:picChg chg="mod">
          <ac:chgData name="Marion Spizzo" userId="43054aff-b319-44f0-be2a-97a1d91f7302" providerId="ADAL" clId="{37B54CB3-BD7E-40B0-8042-8E551ADA4A1D}" dt="2021-08-09T09:20:29.193" v="731" actId="1582"/>
          <ac:picMkLst>
            <pc:docMk/>
            <pc:sldMk cId="2366905453" sldId="1249"/>
            <ac:picMk id="10" creationId="{C989DD06-3F26-4EBF-A968-326E348517A8}"/>
          </ac:picMkLst>
        </pc:picChg>
        <pc:picChg chg="mod">
          <ac:chgData name="Marion Spizzo" userId="43054aff-b319-44f0-be2a-97a1d91f7302" providerId="ADAL" clId="{37B54CB3-BD7E-40B0-8042-8E551ADA4A1D}" dt="2021-08-09T09:20:33.633" v="732" actId="1076"/>
          <ac:picMkLst>
            <pc:docMk/>
            <pc:sldMk cId="2366905453" sldId="1249"/>
            <ac:picMk id="29" creationId="{5E790E84-251D-4EC2-9F6A-F1E0BF7ACDC2}"/>
          </ac:picMkLst>
        </pc:picChg>
      </pc:sldChg>
      <pc:sldChg chg="addSp delSp modSp mod delAnim modAnim">
        <pc:chgData name="Marion Spizzo" userId="43054aff-b319-44f0-be2a-97a1d91f7302" providerId="ADAL" clId="{37B54CB3-BD7E-40B0-8042-8E551ADA4A1D}" dt="2021-08-11T06:21:52.607" v="1925"/>
        <pc:sldMkLst>
          <pc:docMk/>
          <pc:sldMk cId="3784997034" sldId="1254"/>
        </pc:sldMkLst>
        <pc:spChg chg="mod">
          <ac:chgData name="Marion Spizzo" userId="43054aff-b319-44f0-be2a-97a1d91f7302" providerId="ADAL" clId="{37B54CB3-BD7E-40B0-8042-8E551ADA4A1D}" dt="2021-08-09T09:29:23.663" v="761" actId="14100"/>
          <ac:spMkLst>
            <pc:docMk/>
            <pc:sldMk cId="3784997034" sldId="1254"/>
            <ac:spMk id="21" creationId="{C2A5B94E-0BF0-4332-BBD4-E5F816585FB1}"/>
          </ac:spMkLst>
        </pc:spChg>
        <pc:spChg chg="mod">
          <ac:chgData name="Marion Spizzo" userId="43054aff-b319-44f0-be2a-97a1d91f7302" providerId="ADAL" clId="{37B54CB3-BD7E-40B0-8042-8E551ADA4A1D}" dt="2021-08-09T09:29:43.623" v="766" actId="1076"/>
          <ac:spMkLst>
            <pc:docMk/>
            <pc:sldMk cId="3784997034" sldId="1254"/>
            <ac:spMk id="23" creationId="{49A605B4-C047-4654-800E-4B386340AE21}"/>
          </ac:spMkLst>
        </pc:spChg>
        <pc:spChg chg="mod">
          <ac:chgData name="Marion Spizzo" userId="43054aff-b319-44f0-be2a-97a1d91f7302" providerId="ADAL" clId="{37B54CB3-BD7E-40B0-8042-8E551ADA4A1D}" dt="2021-08-09T09:29:41.260" v="765" actId="1076"/>
          <ac:spMkLst>
            <pc:docMk/>
            <pc:sldMk cId="3784997034" sldId="1254"/>
            <ac:spMk id="24" creationId="{C470014D-86AB-4998-8C0C-A856EE27F7EA}"/>
          </ac:spMkLst>
        </pc:spChg>
        <pc:spChg chg="add mod">
          <ac:chgData name="Marion Spizzo" userId="43054aff-b319-44f0-be2a-97a1d91f7302" providerId="ADAL" clId="{37B54CB3-BD7E-40B0-8042-8E551ADA4A1D}" dt="2021-08-11T06:19:22.550" v="1878" actId="14100"/>
          <ac:spMkLst>
            <pc:docMk/>
            <pc:sldMk cId="3784997034" sldId="1254"/>
            <ac:spMk id="26" creationId="{ABC8C899-F5D3-4046-AF4E-0CD8A6F2B1CD}"/>
          </ac:spMkLst>
        </pc:spChg>
        <pc:spChg chg="add mod">
          <ac:chgData name="Marion Spizzo" userId="43054aff-b319-44f0-be2a-97a1d91f7302" providerId="ADAL" clId="{37B54CB3-BD7E-40B0-8042-8E551ADA4A1D}" dt="2021-08-11T06:19:48.659" v="1884" actId="1035"/>
          <ac:spMkLst>
            <pc:docMk/>
            <pc:sldMk cId="3784997034" sldId="1254"/>
            <ac:spMk id="27" creationId="{08D42065-A7A1-4915-990A-BFC51F2D2A6C}"/>
          </ac:spMkLst>
        </pc:spChg>
        <pc:spChg chg="add mod">
          <ac:chgData name="Marion Spizzo" userId="43054aff-b319-44f0-be2a-97a1d91f7302" providerId="ADAL" clId="{37B54CB3-BD7E-40B0-8042-8E551ADA4A1D}" dt="2021-08-11T06:20:01.808" v="1893" actId="1037"/>
          <ac:spMkLst>
            <pc:docMk/>
            <pc:sldMk cId="3784997034" sldId="1254"/>
            <ac:spMk id="28" creationId="{56A1E27D-2407-4780-8FC1-EF29CEB796FA}"/>
          </ac:spMkLst>
        </pc:spChg>
        <pc:spChg chg="add del mod">
          <ac:chgData name="Marion Spizzo" userId="43054aff-b319-44f0-be2a-97a1d91f7302" providerId="ADAL" clId="{37B54CB3-BD7E-40B0-8042-8E551ADA4A1D}" dt="2021-08-11T06:20:15.784" v="1895" actId="478"/>
          <ac:spMkLst>
            <pc:docMk/>
            <pc:sldMk cId="3784997034" sldId="1254"/>
            <ac:spMk id="29" creationId="{CB7590EE-445A-48AF-946B-B0048ED9DF70}"/>
          </ac:spMkLst>
        </pc:spChg>
        <pc:spChg chg="add mod">
          <ac:chgData name="Marion Spizzo" userId="43054aff-b319-44f0-be2a-97a1d91f7302" providerId="ADAL" clId="{37B54CB3-BD7E-40B0-8042-8E551ADA4A1D}" dt="2021-08-11T06:20:30.437" v="1897" actId="1076"/>
          <ac:spMkLst>
            <pc:docMk/>
            <pc:sldMk cId="3784997034" sldId="1254"/>
            <ac:spMk id="32" creationId="{A53D7088-17BE-4167-B040-4D27B9564F89}"/>
          </ac:spMkLst>
        </pc:spChg>
        <pc:spChg chg="add mod">
          <ac:chgData name="Marion Spizzo" userId="43054aff-b319-44f0-be2a-97a1d91f7302" providerId="ADAL" clId="{37B54CB3-BD7E-40B0-8042-8E551ADA4A1D}" dt="2021-08-11T06:21:09.447" v="1915" actId="1076"/>
          <ac:spMkLst>
            <pc:docMk/>
            <pc:sldMk cId="3784997034" sldId="1254"/>
            <ac:spMk id="33" creationId="{5908A8CF-3870-4B2F-9F59-0DB6157D1617}"/>
          </ac:spMkLst>
        </pc:spChg>
        <pc:spChg chg="add mod">
          <ac:chgData name="Marion Spizzo" userId="43054aff-b319-44f0-be2a-97a1d91f7302" providerId="ADAL" clId="{37B54CB3-BD7E-40B0-8042-8E551ADA4A1D}" dt="2021-08-11T06:21:02.629" v="1914" actId="1076"/>
          <ac:spMkLst>
            <pc:docMk/>
            <pc:sldMk cId="3784997034" sldId="1254"/>
            <ac:spMk id="34" creationId="{5866ABAB-F230-40A3-82E2-1153694118A9}"/>
          </ac:spMkLst>
        </pc:spChg>
        <pc:spChg chg="add mod">
          <ac:chgData name="Marion Spizzo" userId="43054aff-b319-44f0-be2a-97a1d91f7302" providerId="ADAL" clId="{37B54CB3-BD7E-40B0-8042-8E551ADA4A1D}" dt="2021-08-11T06:20:58.108" v="1913" actId="1076"/>
          <ac:spMkLst>
            <pc:docMk/>
            <pc:sldMk cId="3784997034" sldId="1254"/>
            <ac:spMk id="35" creationId="{B13DD98E-A6EE-4FC1-857E-7C29DA40404E}"/>
          </ac:spMkLst>
        </pc:spChg>
        <pc:spChg chg="add mod">
          <ac:chgData name="Marion Spizzo" userId="43054aff-b319-44f0-be2a-97a1d91f7302" providerId="ADAL" clId="{37B54CB3-BD7E-40B0-8042-8E551ADA4A1D}" dt="2021-08-11T06:20:50.311" v="1910" actId="1076"/>
          <ac:spMkLst>
            <pc:docMk/>
            <pc:sldMk cId="3784997034" sldId="1254"/>
            <ac:spMk id="36" creationId="{6FCC8167-8627-46A7-8349-2F768A626259}"/>
          </ac:spMkLst>
        </pc:spChg>
        <pc:picChg chg="mod">
          <ac:chgData name="Marion Spizzo" userId="43054aff-b319-44f0-be2a-97a1d91f7302" providerId="ADAL" clId="{37B54CB3-BD7E-40B0-8042-8E551ADA4A1D}" dt="2021-08-09T09:29:08.941" v="757" actId="1076"/>
          <ac:picMkLst>
            <pc:docMk/>
            <pc:sldMk cId="3784997034" sldId="1254"/>
            <ac:picMk id="20" creationId="{9B5E6969-E707-4FFF-818F-A97912B5FEC4}"/>
          </ac:picMkLst>
        </pc:picChg>
        <pc:picChg chg="mod">
          <ac:chgData name="Marion Spizzo" userId="43054aff-b319-44f0-be2a-97a1d91f7302" providerId="ADAL" clId="{37B54CB3-BD7E-40B0-8042-8E551ADA4A1D}" dt="2021-08-09T09:29:02.161" v="756" actId="1076"/>
          <ac:picMkLst>
            <pc:docMk/>
            <pc:sldMk cId="3784997034" sldId="1254"/>
            <ac:picMk id="22" creationId="{0259672A-9F67-4F30-8ABE-AA45F58C76AE}"/>
          </ac:picMkLst>
        </pc:picChg>
        <pc:picChg chg="mod ord">
          <ac:chgData name="Marion Spizzo" userId="43054aff-b319-44f0-be2a-97a1d91f7302" providerId="ADAL" clId="{37B54CB3-BD7E-40B0-8042-8E551ADA4A1D}" dt="2021-08-11T06:21:51.128" v="1924" actId="1076"/>
          <ac:picMkLst>
            <pc:docMk/>
            <pc:sldMk cId="3784997034" sldId="1254"/>
            <ac:picMk id="25" creationId="{96FAF8FA-6EEC-4D57-A670-C1C07E5D859D}"/>
          </ac:picMkLst>
        </pc:picChg>
      </pc:sldChg>
      <pc:sldChg chg="modSp mod">
        <pc:chgData name="Marion Spizzo" userId="43054aff-b319-44f0-be2a-97a1d91f7302" providerId="ADAL" clId="{37B54CB3-BD7E-40B0-8042-8E551ADA4A1D}" dt="2021-08-09T09:30:25.347" v="773" actId="14100"/>
        <pc:sldMkLst>
          <pc:docMk/>
          <pc:sldMk cId="2506003538" sldId="1255"/>
        </pc:sldMkLst>
        <pc:spChg chg="mod">
          <ac:chgData name="Marion Spizzo" userId="43054aff-b319-44f0-be2a-97a1d91f7302" providerId="ADAL" clId="{37B54CB3-BD7E-40B0-8042-8E551ADA4A1D}" dt="2021-08-09T09:30:25.347" v="773" actId="14100"/>
          <ac:spMkLst>
            <pc:docMk/>
            <pc:sldMk cId="2506003538" sldId="1255"/>
            <ac:spMk id="16" creationId="{F514AB4B-1D4E-4CA7-9F66-402E0D369059}"/>
          </ac:spMkLst>
        </pc:spChg>
        <pc:picChg chg="mod">
          <ac:chgData name="Marion Spizzo" userId="43054aff-b319-44f0-be2a-97a1d91f7302" providerId="ADAL" clId="{37B54CB3-BD7E-40B0-8042-8E551ADA4A1D}" dt="2021-08-09T09:30:09.902" v="770" actId="108"/>
          <ac:picMkLst>
            <pc:docMk/>
            <pc:sldMk cId="2506003538" sldId="1255"/>
            <ac:picMk id="15" creationId="{BD4B041B-AD85-485D-8B21-C30F0C2CD01C}"/>
          </ac:picMkLst>
        </pc:picChg>
        <pc:picChg chg="mod">
          <ac:chgData name="Marion Spizzo" userId="43054aff-b319-44f0-be2a-97a1d91f7302" providerId="ADAL" clId="{37B54CB3-BD7E-40B0-8042-8E551ADA4A1D}" dt="2021-08-09T09:30:11.823" v="771" actId="108"/>
          <ac:picMkLst>
            <pc:docMk/>
            <pc:sldMk cId="2506003538" sldId="1255"/>
            <ac:picMk id="18" creationId="{0773F03C-3138-4E46-BBDB-61EBE66B332C}"/>
          </ac:picMkLst>
        </pc:picChg>
      </pc:sldChg>
      <pc:sldChg chg="addSp delSp modSp mod modAnim">
        <pc:chgData name="Marion Spizzo" userId="43054aff-b319-44f0-be2a-97a1d91f7302" providerId="ADAL" clId="{37B54CB3-BD7E-40B0-8042-8E551ADA4A1D}" dt="2021-08-11T06:18:38.773" v="1873"/>
        <pc:sldMkLst>
          <pc:docMk/>
          <pc:sldMk cId="902396068" sldId="1257"/>
        </pc:sldMkLst>
        <pc:spChg chg="add mod">
          <ac:chgData name="Marion Spizzo" userId="43054aff-b319-44f0-be2a-97a1d91f7302" providerId="ADAL" clId="{37B54CB3-BD7E-40B0-8042-8E551ADA4A1D}" dt="2021-08-11T06:15:57.611" v="1832" actId="1076"/>
          <ac:spMkLst>
            <pc:docMk/>
            <pc:sldMk cId="902396068" sldId="1257"/>
            <ac:spMk id="18" creationId="{D49BAB6D-BE61-44D4-B46F-21F3BA0A0764}"/>
          </ac:spMkLst>
        </pc:spChg>
        <pc:spChg chg="add mod">
          <ac:chgData name="Marion Spizzo" userId="43054aff-b319-44f0-be2a-97a1d91f7302" providerId="ADAL" clId="{37B54CB3-BD7E-40B0-8042-8E551ADA4A1D}" dt="2021-08-11T06:16:37.539" v="1846" actId="20577"/>
          <ac:spMkLst>
            <pc:docMk/>
            <pc:sldMk cId="902396068" sldId="1257"/>
            <ac:spMk id="19" creationId="{E526249B-4C15-43B1-8E7B-324E2F51C495}"/>
          </ac:spMkLst>
        </pc:spChg>
        <pc:spChg chg="add mod">
          <ac:chgData name="Marion Spizzo" userId="43054aff-b319-44f0-be2a-97a1d91f7302" providerId="ADAL" clId="{37B54CB3-BD7E-40B0-8042-8E551ADA4A1D}" dt="2021-08-11T06:16:39.895" v="1848" actId="20577"/>
          <ac:spMkLst>
            <pc:docMk/>
            <pc:sldMk cId="902396068" sldId="1257"/>
            <ac:spMk id="20" creationId="{DF1B1145-6CB5-4DD6-8AD9-DF702717532C}"/>
          </ac:spMkLst>
        </pc:spChg>
        <pc:spChg chg="ord">
          <ac:chgData name="Marion Spizzo" userId="43054aff-b319-44f0-be2a-97a1d91f7302" providerId="ADAL" clId="{37B54CB3-BD7E-40B0-8042-8E551ADA4A1D}" dt="2021-08-11T06:12:54.268" v="1797" actId="167"/>
          <ac:spMkLst>
            <pc:docMk/>
            <pc:sldMk cId="902396068" sldId="1257"/>
            <ac:spMk id="21" creationId="{AC66332B-B9BF-4160-A9A2-2AF54C3580BB}"/>
          </ac:spMkLst>
        </pc:spChg>
        <pc:spChg chg="mod topLvl">
          <ac:chgData name="Marion Spizzo" userId="43054aff-b319-44f0-be2a-97a1d91f7302" providerId="ADAL" clId="{37B54CB3-BD7E-40B0-8042-8E551ADA4A1D}" dt="2021-08-11T06:18:00.077" v="1866" actId="165"/>
          <ac:spMkLst>
            <pc:docMk/>
            <pc:sldMk cId="902396068" sldId="1257"/>
            <ac:spMk id="24" creationId="{0C038D7E-3153-4884-A0D6-A87CDE1ABDAE}"/>
          </ac:spMkLst>
        </pc:spChg>
        <pc:spChg chg="mod topLvl">
          <ac:chgData name="Marion Spizzo" userId="43054aff-b319-44f0-be2a-97a1d91f7302" providerId="ADAL" clId="{37B54CB3-BD7E-40B0-8042-8E551ADA4A1D}" dt="2021-08-11T06:18:00.077" v="1866" actId="165"/>
          <ac:spMkLst>
            <pc:docMk/>
            <pc:sldMk cId="902396068" sldId="1257"/>
            <ac:spMk id="25" creationId="{7954A657-8287-48EA-A62F-59FFB7F2D6FD}"/>
          </ac:spMkLst>
        </pc:spChg>
        <pc:spChg chg="mod topLvl">
          <ac:chgData name="Marion Spizzo" userId="43054aff-b319-44f0-be2a-97a1d91f7302" providerId="ADAL" clId="{37B54CB3-BD7E-40B0-8042-8E551ADA4A1D}" dt="2021-08-11T06:18:00.077" v="1866" actId="165"/>
          <ac:spMkLst>
            <pc:docMk/>
            <pc:sldMk cId="902396068" sldId="1257"/>
            <ac:spMk id="26" creationId="{4F14FDE1-7C32-4758-A9C2-49D9439D6402}"/>
          </ac:spMkLst>
        </pc:spChg>
        <pc:spChg chg="mod topLvl">
          <ac:chgData name="Marion Spizzo" userId="43054aff-b319-44f0-be2a-97a1d91f7302" providerId="ADAL" clId="{37B54CB3-BD7E-40B0-8042-8E551ADA4A1D}" dt="2021-08-11T06:18:00.077" v="1866" actId="165"/>
          <ac:spMkLst>
            <pc:docMk/>
            <pc:sldMk cId="902396068" sldId="1257"/>
            <ac:spMk id="27" creationId="{1298B177-F9FA-4EE2-9B62-D16991C6198B}"/>
          </ac:spMkLst>
        </pc:spChg>
        <pc:spChg chg="mod topLvl">
          <ac:chgData name="Marion Spizzo" userId="43054aff-b319-44f0-be2a-97a1d91f7302" providerId="ADAL" clId="{37B54CB3-BD7E-40B0-8042-8E551ADA4A1D}" dt="2021-08-11T06:18:00.077" v="1866" actId="165"/>
          <ac:spMkLst>
            <pc:docMk/>
            <pc:sldMk cId="902396068" sldId="1257"/>
            <ac:spMk id="28" creationId="{7D539016-2407-4C42-BBF0-732FD9C4F657}"/>
          </ac:spMkLst>
        </pc:spChg>
        <pc:spChg chg="mod topLvl">
          <ac:chgData name="Marion Spizzo" userId="43054aff-b319-44f0-be2a-97a1d91f7302" providerId="ADAL" clId="{37B54CB3-BD7E-40B0-8042-8E551ADA4A1D}" dt="2021-08-11T06:18:00.077" v="1866" actId="165"/>
          <ac:spMkLst>
            <pc:docMk/>
            <pc:sldMk cId="902396068" sldId="1257"/>
            <ac:spMk id="29" creationId="{B0FB0DFB-593D-4101-909A-40F6EA304D84}"/>
          </ac:spMkLst>
        </pc:spChg>
        <pc:spChg chg="mod ord">
          <ac:chgData name="Marion Spizzo" userId="43054aff-b319-44f0-be2a-97a1d91f7302" providerId="ADAL" clId="{37B54CB3-BD7E-40B0-8042-8E551ADA4A1D}" dt="2021-08-11T06:12:22.671" v="1784" actId="167"/>
          <ac:spMkLst>
            <pc:docMk/>
            <pc:sldMk cId="902396068" sldId="1257"/>
            <ac:spMk id="31" creationId="{061FD2BD-1FD8-4EC0-8FCD-24D088A99E45}"/>
          </ac:spMkLst>
        </pc:spChg>
        <pc:spChg chg="add mod">
          <ac:chgData name="Marion Spizzo" userId="43054aff-b319-44f0-be2a-97a1d91f7302" providerId="ADAL" clId="{37B54CB3-BD7E-40B0-8042-8E551ADA4A1D}" dt="2021-08-11T06:16:42.761" v="1850" actId="20577"/>
          <ac:spMkLst>
            <pc:docMk/>
            <pc:sldMk cId="902396068" sldId="1257"/>
            <ac:spMk id="32" creationId="{3EBBBE6B-EA1D-4E58-94D1-DCF9AEB73DA6}"/>
          </ac:spMkLst>
        </pc:spChg>
        <pc:spChg chg="add mod">
          <ac:chgData name="Marion Spizzo" userId="43054aff-b319-44f0-be2a-97a1d91f7302" providerId="ADAL" clId="{37B54CB3-BD7E-40B0-8042-8E551ADA4A1D}" dt="2021-08-11T06:17:44.242" v="1863" actId="20577"/>
          <ac:spMkLst>
            <pc:docMk/>
            <pc:sldMk cId="902396068" sldId="1257"/>
            <ac:spMk id="33" creationId="{9ABBAC7D-C309-4C8F-8B39-7F28B014BDF2}"/>
          </ac:spMkLst>
        </pc:spChg>
        <pc:spChg chg="add del mod">
          <ac:chgData name="Marion Spizzo" userId="43054aff-b319-44f0-be2a-97a1d91f7302" providerId="ADAL" clId="{37B54CB3-BD7E-40B0-8042-8E551ADA4A1D}" dt="2021-08-11T06:17:09.927" v="1856"/>
          <ac:spMkLst>
            <pc:docMk/>
            <pc:sldMk cId="902396068" sldId="1257"/>
            <ac:spMk id="34" creationId="{C3E272E6-FD00-455C-B0D4-4604A30BB341}"/>
          </ac:spMkLst>
        </pc:spChg>
        <pc:spChg chg="mod topLvl">
          <ac:chgData name="Marion Spizzo" userId="43054aff-b319-44f0-be2a-97a1d91f7302" providerId="ADAL" clId="{37B54CB3-BD7E-40B0-8042-8E551ADA4A1D}" dt="2021-08-11T06:18:00.077" v="1866" actId="165"/>
          <ac:spMkLst>
            <pc:docMk/>
            <pc:sldMk cId="902396068" sldId="1257"/>
            <ac:spMk id="35" creationId="{BEAE9307-0251-46CC-9716-BC034EDBC2BF}"/>
          </ac:spMkLst>
        </pc:spChg>
        <pc:spChg chg="add mod">
          <ac:chgData name="Marion Spizzo" userId="43054aff-b319-44f0-be2a-97a1d91f7302" providerId="ADAL" clId="{37B54CB3-BD7E-40B0-8042-8E551ADA4A1D}" dt="2021-08-11T06:17:24.919" v="1859" actId="14100"/>
          <ac:spMkLst>
            <pc:docMk/>
            <pc:sldMk cId="902396068" sldId="1257"/>
            <ac:spMk id="37" creationId="{E67C8C1D-6F83-4DF9-B1D6-25357F1D99BD}"/>
          </ac:spMkLst>
        </pc:spChg>
        <pc:grpChg chg="add del mod">
          <ac:chgData name="Marion Spizzo" userId="43054aff-b319-44f0-be2a-97a1d91f7302" providerId="ADAL" clId="{37B54CB3-BD7E-40B0-8042-8E551ADA4A1D}" dt="2021-08-11T06:18:00.077" v="1866" actId="165"/>
          <ac:grpSpMkLst>
            <pc:docMk/>
            <pc:sldMk cId="902396068" sldId="1257"/>
            <ac:grpSpMk id="4" creationId="{86E11E13-D530-4B22-9F48-457F45803311}"/>
          </ac:grpSpMkLst>
        </pc:grpChg>
        <pc:picChg chg="add mod ord">
          <ac:chgData name="Marion Spizzo" userId="43054aff-b319-44f0-be2a-97a1d91f7302" providerId="ADAL" clId="{37B54CB3-BD7E-40B0-8042-8E551ADA4A1D}" dt="2021-08-11T06:16:13.949" v="1839" actId="1076"/>
          <ac:picMkLst>
            <pc:docMk/>
            <pc:sldMk cId="902396068" sldId="1257"/>
            <ac:picMk id="3" creationId="{1A816D2A-3660-4EB3-A332-CE9126C88837}"/>
          </ac:picMkLst>
        </pc:picChg>
        <pc:picChg chg="add del mod">
          <ac:chgData name="Marion Spizzo" userId="43054aff-b319-44f0-be2a-97a1d91f7302" providerId="ADAL" clId="{37B54CB3-BD7E-40B0-8042-8E551ADA4A1D}" dt="2021-08-11T06:14:25.687" v="1820" actId="478"/>
          <ac:picMkLst>
            <pc:docMk/>
            <pc:sldMk cId="902396068" sldId="1257"/>
            <ac:picMk id="23" creationId="{9007B559-EDA4-42C3-8955-056A4CD9D081}"/>
          </ac:picMkLst>
        </pc:picChg>
        <pc:picChg chg="mod ord">
          <ac:chgData name="Marion Spizzo" userId="43054aff-b319-44f0-be2a-97a1d91f7302" providerId="ADAL" clId="{37B54CB3-BD7E-40B0-8042-8E551ADA4A1D}" dt="2021-08-11T06:12:18.719" v="1783" actId="167"/>
          <ac:picMkLst>
            <pc:docMk/>
            <pc:sldMk cId="902396068" sldId="1257"/>
            <ac:picMk id="30" creationId="{4D390A8C-1A0D-4F66-B752-C3132D0BD64A}"/>
          </ac:picMkLst>
        </pc:picChg>
        <pc:picChg chg="mod ord">
          <ac:chgData name="Marion Spizzo" userId="43054aff-b319-44f0-be2a-97a1d91f7302" providerId="ADAL" clId="{37B54CB3-BD7E-40B0-8042-8E551ADA4A1D}" dt="2021-08-11T06:18:36.819" v="1872" actId="1076"/>
          <ac:picMkLst>
            <pc:docMk/>
            <pc:sldMk cId="902396068" sldId="1257"/>
            <ac:picMk id="36" creationId="{803DEF53-D4DC-4B10-8D60-B9C0829CB425}"/>
          </ac:picMkLst>
        </pc:picChg>
      </pc:sldChg>
      <pc:sldChg chg="modSp mod">
        <pc:chgData name="Marion Spizzo" userId="43054aff-b319-44f0-be2a-97a1d91f7302" providerId="ADAL" clId="{37B54CB3-BD7E-40B0-8042-8E551ADA4A1D}" dt="2021-08-09T09:33:05.817" v="806" actId="5793"/>
        <pc:sldMkLst>
          <pc:docMk/>
          <pc:sldMk cId="2836246578" sldId="1258"/>
        </pc:sldMkLst>
        <pc:spChg chg="mod">
          <ac:chgData name="Marion Spizzo" userId="43054aff-b319-44f0-be2a-97a1d91f7302" providerId="ADAL" clId="{37B54CB3-BD7E-40B0-8042-8E551ADA4A1D}" dt="2021-08-09T09:32:59.904" v="805" actId="1582"/>
          <ac:spMkLst>
            <pc:docMk/>
            <pc:sldMk cId="2836246578" sldId="1258"/>
            <ac:spMk id="16" creationId="{0EAB0492-B8F6-4D7A-B127-B2CA0A7D58CF}"/>
          </ac:spMkLst>
        </pc:spChg>
        <pc:spChg chg="mod">
          <ac:chgData name="Marion Spizzo" userId="43054aff-b319-44f0-be2a-97a1d91f7302" providerId="ADAL" clId="{37B54CB3-BD7E-40B0-8042-8E551ADA4A1D}" dt="2021-08-09T09:32:59.904" v="805" actId="1582"/>
          <ac:spMkLst>
            <pc:docMk/>
            <pc:sldMk cId="2836246578" sldId="1258"/>
            <ac:spMk id="18" creationId="{CFE59228-346F-4FE3-9D6C-D376D8B28378}"/>
          </ac:spMkLst>
        </pc:spChg>
        <pc:spChg chg="mod">
          <ac:chgData name="Marion Spizzo" userId="43054aff-b319-44f0-be2a-97a1d91f7302" providerId="ADAL" clId="{37B54CB3-BD7E-40B0-8042-8E551ADA4A1D}" dt="2021-08-09T09:33:05.817" v="806" actId="5793"/>
          <ac:spMkLst>
            <pc:docMk/>
            <pc:sldMk cId="2836246578" sldId="1258"/>
            <ac:spMk id="20" creationId="{32454CC3-385C-42A1-829D-CBADBEF3B39D}"/>
          </ac:spMkLst>
        </pc:spChg>
        <pc:picChg chg="mod">
          <ac:chgData name="Marion Spizzo" userId="43054aff-b319-44f0-be2a-97a1d91f7302" providerId="ADAL" clId="{37B54CB3-BD7E-40B0-8042-8E551ADA4A1D}" dt="2021-08-09T09:32:48.632" v="803" actId="108"/>
          <ac:picMkLst>
            <pc:docMk/>
            <pc:sldMk cId="2836246578" sldId="1258"/>
            <ac:picMk id="15" creationId="{A2EB2D48-5D72-4C54-97BC-5B8CE438F12A}"/>
          </ac:picMkLst>
        </pc:picChg>
        <pc:picChg chg="mod">
          <ac:chgData name="Marion Spizzo" userId="43054aff-b319-44f0-be2a-97a1d91f7302" providerId="ADAL" clId="{37B54CB3-BD7E-40B0-8042-8E551ADA4A1D}" dt="2021-08-09T09:32:51.438" v="804" actId="108"/>
          <ac:picMkLst>
            <pc:docMk/>
            <pc:sldMk cId="2836246578" sldId="1258"/>
            <ac:picMk id="17" creationId="{05DE6F5B-2BDE-4966-858E-66652F2A1BD7}"/>
          </ac:picMkLst>
        </pc:picChg>
      </pc:sldChg>
      <pc:sldChg chg="modSp mod">
        <pc:chgData name="Marion Spizzo" userId="43054aff-b319-44f0-be2a-97a1d91f7302" providerId="ADAL" clId="{37B54CB3-BD7E-40B0-8042-8E551ADA4A1D}" dt="2021-08-09T09:34:27.377" v="829" actId="1076"/>
        <pc:sldMkLst>
          <pc:docMk/>
          <pc:sldMk cId="2623727456" sldId="1259"/>
        </pc:sldMkLst>
        <pc:spChg chg="mod">
          <ac:chgData name="Marion Spizzo" userId="43054aff-b319-44f0-be2a-97a1d91f7302" providerId="ADAL" clId="{37B54CB3-BD7E-40B0-8042-8E551ADA4A1D}" dt="2021-08-09T09:34:06.722" v="823" actId="1582"/>
          <ac:spMkLst>
            <pc:docMk/>
            <pc:sldMk cId="2623727456" sldId="1259"/>
            <ac:spMk id="13" creationId="{9195CA8F-4CC7-47B3-9BF4-DCCDA5CB1D5C}"/>
          </ac:spMkLst>
        </pc:spChg>
        <pc:spChg chg="mod">
          <ac:chgData name="Marion Spizzo" userId="43054aff-b319-44f0-be2a-97a1d91f7302" providerId="ADAL" clId="{37B54CB3-BD7E-40B0-8042-8E551ADA4A1D}" dt="2021-08-09T09:34:27.377" v="829" actId="1076"/>
          <ac:spMkLst>
            <pc:docMk/>
            <pc:sldMk cId="2623727456" sldId="1259"/>
            <ac:spMk id="14" creationId="{26A6B95A-DA5A-4728-B094-D990C1780DD9}"/>
          </ac:spMkLst>
        </pc:spChg>
        <pc:picChg chg="mod">
          <ac:chgData name="Marion Spizzo" userId="43054aff-b319-44f0-be2a-97a1d91f7302" providerId="ADAL" clId="{37B54CB3-BD7E-40B0-8042-8E551ADA4A1D}" dt="2021-08-09T09:33:51.993" v="820" actId="14100"/>
          <ac:picMkLst>
            <pc:docMk/>
            <pc:sldMk cId="2623727456" sldId="1259"/>
            <ac:picMk id="11" creationId="{121F4123-ECF6-4E58-A540-0AFD23D81E25}"/>
          </ac:picMkLst>
        </pc:picChg>
        <pc:picChg chg="mod">
          <ac:chgData name="Marion Spizzo" userId="43054aff-b319-44f0-be2a-97a1d91f7302" providerId="ADAL" clId="{37B54CB3-BD7E-40B0-8042-8E551ADA4A1D}" dt="2021-08-09T09:34:23.642" v="828" actId="1076"/>
          <ac:picMkLst>
            <pc:docMk/>
            <pc:sldMk cId="2623727456" sldId="1259"/>
            <ac:picMk id="12" creationId="{135C24CF-D4CB-4F58-9A67-E2E0D6944C0F}"/>
          </ac:picMkLst>
        </pc:picChg>
      </pc:sldChg>
      <pc:sldChg chg="addSp delSp modSp mod modAnim">
        <pc:chgData name="Marion Spizzo" userId="43054aff-b319-44f0-be2a-97a1d91f7302" providerId="ADAL" clId="{37B54CB3-BD7E-40B0-8042-8E551ADA4A1D}" dt="2021-08-11T06:23:26.870" v="1943"/>
        <pc:sldMkLst>
          <pc:docMk/>
          <pc:sldMk cId="472098171" sldId="1261"/>
        </pc:sldMkLst>
        <pc:spChg chg="add mod">
          <ac:chgData name="Marion Spizzo" userId="43054aff-b319-44f0-be2a-97a1d91f7302" providerId="ADAL" clId="{37B54CB3-BD7E-40B0-8042-8E551ADA4A1D}" dt="2021-08-11T06:23:00.765" v="1939" actId="1076"/>
          <ac:spMkLst>
            <pc:docMk/>
            <pc:sldMk cId="472098171" sldId="1261"/>
            <ac:spMk id="10" creationId="{4794B1DF-3901-4965-87B4-E0D9465C43B4}"/>
          </ac:spMkLst>
        </pc:spChg>
        <pc:spChg chg="add del mod">
          <ac:chgData name="Marion Spizzo" userId="43054aff-b319-44f0-be2a-97a1d91f7302" providerId="ADAL" clId="{37B54CB3-BD7E-40B0-8042-8E551ADA4A1D}" dt="2021-08-09T09:39:02.698" v="856" actId="478"/>
          <ac:spMkLst>
            <pc:docMk/>
            <pc:sldMk cId="472098171" sldId="1261"/>
            <ac:spMk id="10" creationId="{73F8EF55-E91D-4BAE-A20A-6775064B6C1F}"/>
          </ac:spMkLst>
        </pc:spChg>
        <pc:spChg chg="add mod">
          <ac:chgData name="Marion Spizzo" userId="43054aff-b319-44f0-be2a-97a1d91f7302" providerId="ADAL" clId="{37B54CB3-BD7E-40B0-8042-8E551ADA4A1D}" dt="2021-08-11T06:22:40.854" v="1935" actId="20577"/>
          <ac:spMkLst>
            <pc:docMk/>
            <pc:sldMk cId="472098171" sldId="1261"/>
            <ac:spMk id="11" creationId="{03642EBD-47BC-49BD-90C8-10EAD4A2C93E}"/>
          </ac:spMkLst>
        </pc:spChg>
        <pc:spChg chg="add mod">
          <ac:chgData name="Marion Spizzo" userId="43054aff-b319-44f0-be2a-97a1d91f7302" providerId="ADAL" clId="{37B54CB3-BD7E-40B0-8042-8E551ADA4A1D}" dt="2021-08-11T06:22:48.177" v="1936" actId="1076"/>
          <ac:spMkLst>
            <pc:docMk/>
            <pc:sldMk cId="472098171" sldId="1261"/>
            <ac:spMk id="12" creationId="{5E380A8B-C845-4236-95EE-9472A414EA3F}"/>
          </ac:spMkLst>
        </pc:spChg>
        <pc:spChg chg="mod ord">
          <ac:chgData name="Marion Spizzo" userId="43054aff-b319-44f0-be2a-97a1d91f7302" providerId="ADAL" clId="{37B54CB3-BD7E-40B0-8042-8E551ADA4A1D}" dt="2021-08-09T09:40:46.635" v="873" actId="14100"/>
          <ac:spMkLst>
            <pc:docMk/>
            <pc:sldMk cId="472098171" sldId="1261"/>
            <ac:spMk id="18" creationId="{45473E86-3F86-41F7-A6E6-0286E9EAAD77}"/>
          </ac:spMkLst>
        </pc:spChg>
        <pc:spChg chg="mod">
          <ac:chgData name="Marion Spizzo" userId="43054aff-b319-44f0-be2a-97a1d91f7302" providerId="ADAL" clId="{37B54CB3-BD7E-40B0-8042-8E551ADA4A1D}" dt="2021-08-09T09:36:26.626" v="850" actId="14100"/>
          <ac:spMkLst>
            <pc:docMk/>
            <pc:sldMk cId="472098171" sldId="1261"/>
            <ac:spMk id="19" creationId="{F3A4EE3E-3685-4698-AEB2-63A87360DF91}"/>
          </ac:spMkLst>
        </pc:spChg>
        <pc:spChg chg="mod">
          <ac:chgData name="Marion Spizzo" userId="43054aff-b319-44f0-be2a-97a1d91f7302" providerId="ADAL" clId="{37B54CB3-BD7E-40B0-8042-8E551ADA4A1D}" dt="2021-08-09T09:36:32.487" v="852" actId="14100"/>
          <ac:spMkLst>
            <pc:docMk/>
            <pc:sldMk cId="472098171" sldId="1261"/>
            <ac:spMk id="20" creationId="{4C28A8D8-0D36-4001-8895-E5E6EE701754}"/>
          </ac:spMkLst>
        </pc:spChg>
        <pc:spChg chg="mod">
          <ac:chgData name="Marion Spizzo" userId="43054aff-b319-44f0-be2a-97a1d91f7302" providerId="ADAL" clId="{37B54CB3-BD7E-40B0-8042-8E551ADA4A1D}" dt="2021-08-09T09:36:41.980" v="854" actId="14100"/>
          <ac:spMkLst>
            <pc:docMk/>
            <pc:sldMk cId="472098171" sldId="1261"/>
            <ac:spMk id="21" creationId="{68FC3A2E-2ED8-48D0-BA9B-01E972C76214}"/>
          </ac:spMkLst>
        </pc:spChg>
        <pc:picChg chg="add del mod">
          <ac:chgData name="Marion Spizzo" userId="43054aff-b319-44f0-be2a-97a1d91f7302" providerId="ADAL" clId="{37B54CB3-BD7E-40B0-8042-8E551ADA4A1D}" dt="2021-08-09T09:40:16.220" v="862" actId="478"/>
          <ac:picMkLst>
            <pc:docMk/>
            <pc:sldMk cId="472098171" sldId="1261"/>
            <ac:picMk id="3" creationId="{6FCA2A7A-9517-4A5B-B0EE-542F00BB0D2E}"/>
          </ac:picMkLst>
        </pc:picChg>
        <pc:picChg chg="add mod">
          <ac:chgData name="Marion Spizzo" userId="43054aff-b319-44f0-be2a-97a1d91f7302" providerId="ADAL" clId="{37B54CB3-BD7E-40B0-8042-8E551ADA4A1D}" dt="2021-08-09T09:40:35.333" v="871" actId="1076"/>
          <ac:picMkLst>
            <pc:docMk/>
            <pc:sldMk cId="472098171" sldId="1261"/>
            <ac:picMk id="5" creationId="{0C8A69B4-0C16-4647-8BEF-2E972C9D09F3}"/>
          </ac:picMkLst>
        </pc:picChg>
        <pc:picChg chg="mod">
          <ac:chgData name="Marion Spizzo" userId="43054aff-b319-44f0-be2a-97a1d91f7302" providerId="ADAL" clId="{37B54CB3-BD7E-40B0-8042-8E551ADA4A1D}" dt="2021-08-11T06:22:53.871" v="1938" actId="1076"/>
          <ac:picMkLst>
            <pc:docMk/>
            <pc:sldMk cId="472098171" sldId="1261"/>
            <ac:picMk id="16" creationId="{2D9207F8-CCC4-4884-A49D-22FF472478D0}"/>
          </ac:picMkLst>
        </pc:picChg>
        <pc:picChg chg="del mod">
          <ac:chgData name="Marion Spizzo" userId="43054aff-b319-44f0-be2a-97a1d91f7302" providerId="ADAL" clId="{37B54CB3-BD7E-40B0-8042-8E551ADA4A1D}" dt="2021-08-09T09:40:22.651" v="865" actId="478"/>
          <ac:picMkLst>
            <pc:docMk/>
            <pc:sldMk cId="472098171" sldId="1261"/>
            <ac:picMk id="17" creationId="{4DA96D58-0099-4DE6-AF47-42AA12A471AC}"/>
          </ac:picMkLst>
        </pc:picChg>
      </pc:sldChg>
      <pc:sldChg chg="addSp modSp mod modAnim">
        <pc:chgData name="Marion Spizzo" userId="43054aff-b319-44f0-be2a-97a1d91f7302" providerId="ADAL" clId="{37B54CB3-BD7E-40B0-8042-8E551ADA4A1D}" dt="2021-08-11T06:25:15.746" v="1957"/>
        <pc:sldMkLst>
          <pc:docMk/>
          <pc:sldMk cId="818281892" sldId="1262"/>
        </pc:sldMkLst>
        <pc:spChg chg="add mod">
          <ac:chgData name="Marion Spizzo" userId="43054aff-b319-44f0-be2a-97a1d91f7302" providerId="ADAL" clId="{37B54CB3-BD7E-40B0-8042-8E551ADA4A1D}" dt="2021-08-11T06:23:49.436" v="1947" actId="20577"/>
          <ac:spMkLst>
            <pc:docMk/>
            <pc:sldMk cId="818281892" sldId="1262"/>
            <ac:spMk id="9" creationId="{7863C5E6-6444-49B0-A98D-E83734695839}"/>
          </ac:spMkLst>
        </pc:spChg>
        <pc:spChg chg="mod">
          <ac:chgData name="Marion Spizzo" userId="43054aff-b319-44f0-be2a-97a1d91f7302" providerId="ADAL" clId="{37B54CB3-BD7E-40B0-8042-8E551ADA4A1D}" dt="2021-08-09T09:41:13.456" v="877" actId="1076"/>
          <ac:spMkLst>
            <pc:docMk/>
            <pc:sldMk cId="818281892" sldId="1262"/>
            <ac:spMk id="18" creationId="{92D2B0A5-D21B-44F8-950C-5EE61FBCB909}"/>
          </ac:spMkLst>
        </pc:spChg>
        <pc:spChg chg="mod">
          <ac:chgData name="Marion Spizzo" userId="43054aff-b319-44f0-be2a-97a1d91f7302" providerId="ADAL" clId="{37B54CB3-BD7E-40B0-8042-8E551ADA4A1D}" dt="2021-08-11T06:25:02.167" v="1953" actId="1582"/>
          <ac:spMkLst>
            <pc:docMk/>
            <pc:sldMk cId="818281892" sldId="1262"/>
            <ac:spMk id="20" creationId="{CA4356EA-D0F3-4734-8919-6D4BA4699E51}"/>
          </ac:spMkLst>
        </pc:spChg>
        <pc:picChg chg="mod">
          <ac:chgData name="Marion Spizzo" userId="43054aff-b319-44f0-be2a-97a1d91f7302" providerId="ADAL" clId="{37B54CB3-BD7E-40B0-8042-8E551ADA4A1D}" dt="2021-08-09T09:41:06.763" v="876" actId="1076"/>
          <ac:picMkLst>
            <pc:docMk/>
            <pc:sldMk cId="818281892" sldId="1262"/>
            <ac:picMk id="17" creationId="{598F541D-AAAE-4728-9C10-74EC5814469F}"/>
          </ac:picMkLst>
        </pc:picChg>
        <pc:picChg chg="mod">
          <ac:chgData name="Marion Spizzo" userId="43054aff-b319-44f0-be2a-97a1d91f7302" providerId="ADAL" clId="{37B54CB3-BD7E-40B0-8042-8E551ADA4A1D}" dt="2021-08-11T06:25:13.493" v="1956" actId="1076"/>
          <ac:picMkLst>
            <pc:docMk/>
            <pc:sldMk cId="818281892" sldId="1262"/>
            <ac:picMk id="21" creationId="{B6E35AD9-8D14-40FB-B3A8-F2F6D8D671FB}"/>
          </ac:picMkLst>
        </pc:picChg>
      </pc:sldChg>
      <pc:sldChg chg="modSp mod">
        <pc:chgData name="Marion Spizzo" userId="43054aff-b319-44f0-be2a-97a1d91f7302" providerId="ADAL" clId="{37B54CB3-BD7E-40B0-8042-8E551ADA4A1D}" dt="2021-08-09T09:41:48.309" v="883" actId="207"/>
        <pc:sldMkLst>
          <pc:docMk/>
          <pc:sldMk cId="2097992450" sldId="1263"/>
        </pc:sldMkLst>
        <pc:spChg chg="mod">
          <ac:chgData name="Marion Spizzo" userId="43054aff-b319-44f0-be2a-97a1d91f7302" providerId="ADAL" clId="{37B54CB3-BD7E-40B0-8042-8E551ADA4A1D}" dt="2021-08-09T09:41:48.309" v="883" actId="207"/>
          <ac:spMkLst>
            <pc:docMk/>
            <pc:sldMk cId="2097992450" sldId="1263"/>
            <ac:spMk id="26" creationId="{BF144AED-DA30-4433-8B30-A8E755BAE9DA}"/>
          </ac:spMkLst>
        </pc:spChg>
      </pc:sldChg>
      <pc:sldChg chg="addSp delSp modSp mod modAnim">
        <pc:chgData name="Marion Spizzo" userId="43054aff-b319-44f0-be2a-97a1d91f7302" providerId="ADAL" clId="{37B54CB3-BD7E-40B0-8042-8E551ADA4A1D}" dt="2021-08-11T06:46:50.972" v="2200"/>
        <pc:sldMkLst>
          <pc:docMk/>
          <pc:sldMk cId="3784004545" sldId="1264"/>
        </pc:sldMkLst>
        <pc:spChg chg="mod">
          <ac:chgData name="Marion Spizzo" userId="43054aff-b319-44f0-be2a-97a1d91f7302" providerId="ADAL" clId="{37B54CB3-BD7E-40B0-8042-8E551ADA4A1D}" dt="2021-08-09T09:46:00.627" v="906" actId="1076"/>
          <ac:spMkLst>
            <pc:docMk/>
            <pc:sldMk cId="3784004545" sldId="1264"/>
            <ac:spMk id="6" creationId="{A19744FE-0122-4458-A703-1ED9355A7C5F}"/>
          </ac:spMkLst>
        </pc:spChg>
        <pc:spChg chg="mod">
          <ac:chgData name="Marion Spizzo" userId="43054aff-b319-44f0-be2a-97a1d91f7302" providerId="ADAL" clId="{37B54CB3-BD7E-40B0-8042-8E551ADA4A1D}" dt="2021-08-09T11:12:49.085" v="1067" actId="2711"/>
          <ac:spMkLst>
            <pc:docMk/>
            <pc:sldMk cId="3784004545" sldId="1264"/>
            <ac:spMk id="9" creationId="{BF625B3B-054F-492B-BA4C-7613E1C58443}"/>
          </ac:spMkLst>
        </pc:spChg>
        <pc:spChg chg="mod">
          <ac:chgData name="Marion Spizzo" userId="43054aff-b319-44f0-be2a-97a1d91f7302" providerId="ADAL" clId="{37B54CB3-BD7E-40B0-8042-8E551ADA4A1D}" dt="2021-08-09T11:12:49.085" v="1067" actId="2711"/>
          <ac:spMkLst>
            <pc:docMk/>
            <pc:sldMk cId="3784004545" sldId="1264"/>
            <ac:spMk id="10" creationId="{5BDD4101-AC72-4520-97CA-1A59C9205A30}"/>
          </ac:spMkLst>
        </pc:spChg>
        <pc:spChg chg="mod">
          <ac:chgData name="Marion Spizzo" userId="43054aff-b319-44f0-be2a-97a1d91f7302" providerId="ADAL" clId="{37B54CB3-BD7E-40B0-8042-8E551ADA4A1D}" dt="2021-08-09T09:48:29.149" v="938" actId="1076"/>
          <ac:spMkLst>
            <pc:docMk/>
            <pc:sldMk cId="3784004545" sldId="1264"/>
            <ac:spMk id="11" creationId="{32B56375-6760-4522-A9E4-CDE2E1BD8062}"/>
          </ac:spMkLst>
        </pc:spChg>
        <pc:spChg chg="del mod">
          <ac:chgData name="Marion Spizzo" userId="43054aff-b319-44f0-be2a-97a1d91f7302" providerId="ADAL" clId="{37B54CB3-BD7E-40B0-8042-8E551ADA4A1D}" dt="2021-08-09T09:48:13.923" v="935" actId="478"/>
          <ac:spMkLst>
            <pc:docMk/>
            <pc:sldMk cId="3784004545" sldId="1264"/>
            <ac:spMk id="12" creationId="{F21F0FEE-4190-4902-989D-8D976BEC03DA}"/>
          </ac:spMkLst>
        </pc:spChg>
        <pc:spChg chg="mod">
          <ac:chgData name="Marion Spizzo" userId="43054aff-b319-44f0-be2a-97a1d91f7302" providerId="ADAL" clId="{37B54CB3-BD7E-40B0-8042-8E551ADA4A1D}" dt="2021-08-09T11:12:49.085" v="1067" actId="2711"/>
          <ac:spMkLst>
            <pc:docMk/>
            <pc:sldMk cId="3784004545" sldId="1264"/>
            <ac:spMk id="13" creationId="{B9E1B828-9B86-439D-ACAD-6BE4179CC0B5}"/>
          </ac:spMkLst>
        </pc:spChg>
        <pc:spChg chg="mod">
          <ac:chgData name="Marion Spizzo" userId="43054aff-b319-44f0-be2a-97a1d91f7302" providerId="ADAL" clId="{37B54CB3-BD7E-40B0-8042-8E551ADA4A1D}" dt="2021-08-09T11:12:49.085" v="1067" actId="2711"/>
          <ac:spMkLst>
            <pc:docMk/>
            <pc:sldMk cId="3784004545" sldId="1264"/>
            <ac:spMk id="15" creationId="{83D75EC2-C7C2-4C77-B789-ACB0F3B7C39A}"/>
          </ac:spMkLst>
        </pc:spChg>
        <pc:spChg chg="mod ord">
          <ac:chgData name="Marion Spizzo" userId="43054aff-b319-44f0-be2a-97a1d91f7302" providerId="ADAL" clId="{37B54CB3-BD7E-40B0-8042-8E551ADA4A1D}" dt="2021-08-11T06:31:57.439" v="2063" actId="1037"/>
          <ac:spMkLst>
            <pc:docMk/>
            <pc:sldMk cId="3784004545" sldId="1264"/>
            <ac:spMk id="19" creationId="{5302C129-1CC6-456A-A811-227F7DB92178}"/>
          </ac:spMkLst>
        </pc:spChg>
        <pc:spChg chg="mod ord">
          <ac:chgData name="Marion Spizzo" userId="43054aff-b319-44f0-be2a-97a1d91f7302" providerId="ADAL" clId="{37B54CB3-BD7E-40B0-8042-8E551ADA4A1D}" dt="2021-08-11T06:28:30.424" v="1972" actId="1076"/>
          <ac:spMkLst>
            <pc:docMk/>
            <pc:sldMk cId="3784004545" sldId="1264"/>
            <ac:spMk id="20" creationId="{C51E5346-F2A4-4A8C-B97B-10FB04E44E3C}"/>
          </ac:spMkLst>
        </pc:spChg>
        <pc:spChg chg="mod ord">
          <ac:chgData name="Marion Spizzo" userId="43054aff-b319-44f0-be2a-97a1d91f7302" providerId="ADAL" clId="{37B54CB3-BD7E-40B0-8042-8E551ADA4A1D}" dt="2021-08-11T06:35:25.745" v="2105" actId="1036"/>
          <ac:spMkLst>
            <pc:docMk/>
            <pc:sldMk cId="3784004545" sldId="1264"/>
            <ac:spMk id="21" creationId="{F9DFBD54-F439-4685-A885-33737D01C33F}"/>
          </ac:spMkLst>
        </pc:spChg>
        <pc:spChg chg="mod ord">
          <ac:chgData name="Marion Spizzo" userId="43054aff-b319-44f0-be2a-97a1d91f7302" providerId="ADAL" clId="{37B54CB3-BD7E-40B0-8042-8E551ADA4A1D}" dt="2021-08-11T06:36:03.334" v="2116" actId="14100"/>
          <ac:spMkLst>
            <pc:docMk/>
            <pc:sldMk cId="3784004545" sldId="1264"/>
            <ac:spMk id="23" creationId="{BDED44D3-4E2A-4EE3-A30B-5EE24651FE7F}"/>
          </ac:spMkLst>
        </pc:spChg>
        <pc:spChg chg="mod ord">
          <ac:chgData name="Marion Spizzo" userId="43054aff-b319-44f0-be2a-97a1d91f7302" providerId="ADAL" clId="{37B54CB3-BD7E-40B0-8042-8E551ADA4A1D}" dt="2021-08-11T06:41:51.664" v="2150" actId="1038"/>
          <ac:spMkLst>
            <pc:docMk/>
            <pc:sldMk cId="3784004545" sldId="1264"/>
            <ac:spMk id="25" creationId="{47D081CB-07E5-452F-AF2C-16DD2AC4BEFF}"/>
          </ac:spMkLst>
        </pc:spChg>
        <pc:spChg chg="mod ord">
          <ac:chgData name="Marion Spizzo" userId="43054aff-b319-44f0-be2a-97a1d91f7302" providerId="ADAL" clId="{37B54CB3-BD7E-40B0-8042-8E551ADA4A1D}" dt="2021-08-11T06:43:58.622" v="2181" actId="1035"/>
          <ac:spMkLst>
            <pc:docMk/>
            <pc:sldMk cId="3784004545" sldId="1264"/>
            <ac:spMk id="26" creationId="{5C61A3D9-BA67-4443-B77F-48944A447AD8}"/>
          </ac:spMkLst>
        </pc:spChg>
        <pc:spChg chg="del mod">
          <ac:chgData name="Marion Spizzo" userId="43054aff-b319-44f0-be2a-97a1d91f7302" providerId="ADAL" clId="{37B54CB3-BD7E-40B0-8042-8E551ADA4A1D}" dt="2021-08-09T09:48:31.284" v="939" actId="478"/>
          <ac:spMkLst>
            <pc:docMk/>
            <pc:sldMk cId="3784004545" sldId="1264"/>
            <ac:spMk id="27" creationId="{CBFCF653-63FD-4EC7-A873-95E67C44D526}"/>
          </ac:spMkLst>
        </pc:spChg>
        <pc:spChg chg="mod ord">
          <ac:chgData name="Marion Spizzo" userId="43054aff-b319-44f0-be2a-97a1d91f7302" providerId="ADAL" clId="{37B54CB3-BD7E-40B0-8042-8E551ADA4A1D}" dt="2021-08-11T06:44:10.374" v="2183" actId="14100"/>
          <ac:spMkLst>
            <pc:docMk/>
            <pc:sldMk cId="3784004545" sldId="1264"/>
            <ac:spMk id="28" creationId="{DBD119D8-9C5B-4430-8C09-57AD42A0CA10}"/>
          </ac:spMkLst>
        </pc:spChg>
        <pc:spChg chg="add mod">
          <ac:chgData name="Marion Spizzo" userId="43054aff-b319-44f0-be2a-97a1d91f7302" providerId="ADAL" clId="{37B54CB3-BD7E-40B0-8042-8E551ADA4A1D}" dt="2021-08-09T09:48:42.109" v="942" actId="1076"/>
          <ac:spMkLst>
            <pc:docMk/>
            <pc:sldMk cId="3784004545" sldId="1264"/>
            <ac:spMk id="30" creationId="{4939613C-248B-4DD1-A3A1-83DB2E4A4336}"/>
          </ac:spMkLst>
        </pc:spChg>
        <pc:spChg chg="add mod">
          <ac:chgData name="Marion Spizzo" userId="43054aff-b319-44f0-be2a-97a1d91f7302" providerId="ADAL" clId="{37B54CB3-BD7E-40B0-8042-8E551ADA4A1D}" dt="2021-08-09T09:48:38.953" v="941" actId="1076"/>
          <ac:spMkLst>
            <pc:docMk/>
            <pc:sldMk cId="3784004545" sldId="1264"/>
            <ac:spMk id="31" creationId="{BCBBDAD7-53BC-4220-9F68-3DB7B1D37894}"/>
          </ac:spMkLst>
        </pc:spChg>
        <pc:picChg chg="add mod">
          <ac:chgData name="Marion Spizzo" userId="43054aff-b319-44f0-be2a-97a1d91f7302" providerId="ADAL" clId="{37B54CB3-BD7E-40B0-8042-8E551ADA4A1D}" dt="2021-08-11T06:28:10.750" v="1969" actId="1076"/>
          <ac:picMkLst>
            <pc:docMk/>
            <pc:sldMk cId="3784004545" sldId="1264"/>
            <ac:picMk id="12" creationId="{98DBD290-BEC4-4841-B4F3-18C779C04FB7}"/>
          </ac:picMkLst>
        </pc:picChg>
        <pc:picChg chg="del mod">
          <ac:chgData name="Marion Spizzo" userId="43054aff-b319-44f0-be2a-97a1d91f7302" providerId="ADAL" clId="{37B54CB3-BD7E-40B0-8042-8E551ADA4A1D}" dt="2021-08-11T06:43:13.134" v="2158" actId="478"/>
          <ac:picMkLst>
            <pc:docMk/>
            <pc:sldMk cId="3784004545" sldId="1264"/>
            <ac:picMk id="14" creationId="{DEDD0D9B-B967-49B2-8CD0-3B80760E21FE}"/>
          </ac:picMkLst>
        </pc:picChg>
        <pc:picChg chg="del">
          <ac:chgData name="Marion Spizzo" userId="43054aff-b319-44f0-be2a-97a1d91f7302" providerId="ADAL" clId="{37B54CB3-BD7E-40B0-8042-8E551ADA4A1D}" dt="2021-08-11T06:27:40.880" v="1958" actId="478"/>
          <ac:picMkLst>
            <pc:docMk/>
            <pc:sldMk cId="3784004545" sldId="1264"/>
            <ac:picMk id="16" creationId="{781A8D24-9DF4-46F2-BF77-8AB7C1A8666C}"/>
          </ac:picMkLst>
        </pc:picChg>
        <pc:picChg chg="del">
          <ac:chgData name="Marion Spizzo" userId="43054aff-b319-44f0-be2a-97a1d91f7302" providerId="ADAL" clId="{37B54CB3-BD7E-40B0-8042-8E551ADA4A1D}" dt="2021-08-11T06:34:32.831" v="2083" actId="478"/>
          <ac:picMkLst>
            <pc:docMk/>
            <pc:sldMk cId="3784004545" sldId="1264"/>
            <ac:picMk id="17" creationId="{8EDF4411-79FB-46EC-9A8B-F7A068B9F218}"/>
          </ac:picMkLst>
        </pc:picChg>
        <pc:picChg chg="del mod ord">
          <ac:chgData name="Marion Spizzo" userId="43054aff-b319-44f0-be2a-97a1d91f7302" providerId="ADAL" clId="{37B54CB3-BD7E-40B0-8042-8E551ADA4A1D}" dt="2021-08-11T06:28:37.921" v="1975" actId="478"/>
          <ac:picMkLst>
            <pc:docMk/>
            <pc:sldMk cId="3784004545" sldId="1264"/>
            <ac:picMk id="18" creationId="{12EB005A-B552-4279-8D40-87F4FC5FD0A4}"/>
          </ac:picMkLst>
        </pc:picChg>
        <pc:picChg chg="del">
          <ac:chgData name="Marion Spizzo" userId="43054aff-b319-44f0-be2a-97a1d91f7302" providerId="ADAL" clId="{37B54CB3-BD7E-40B0-8042-8E551ADA4A1D}" dt="2021-08-11T06:35:28.607" v="2106" actId="478"/>
          <ac:picMkLst>
            <pc:docMk/>
            <pc:sldMk cId="3784004545" sldId="1264"/>
            <ac:picMk id="22" creationId="{AF670703-D0F9-4E1E-B064-43C4D956DDEC}"/>
          </ac:picMkLst>
        </pc:picChg>
        <pc:picChg chg="del">
          <ac:chgData name="Marion Spizzo" userId="43054aff-b319-44f0-be2a-97a1d91f7302" providerId="ADAL" clId="{37B54CB3-BD7E-40B0-8042-8E551ADA4A1D}" dt="2021-08-11T06:40:26.198" v="2123" actId="478"/>
          <ac:picMkLst>
            <pc:docMk/>
            <pc:sldMk cId="3784004545" sldId="1264"/>
            <ac:picMk id="24" creationId="{7C4EE3BA-276F-4591-8E5A-6C07F7577674}"/>
          </ac:picMkLst>
        </pc:picChg>
        <pc:picChg chg="del mod">
          <ac:chgData name="Marion Spizzo" userId="43054aff-b319-44f0-be2a-97a1d91f7302" providerId="ADAL" clId="{37B54CB3-BD7E-40B0-8042-8E551ADA4A1D}" dt="2021-08-11T06:44:18.334" v="2185" actId="478"/>
          <ac:picMkLst>
            <pc:docMk/>
            <pc:sldMk cId="3784004545" sldId="1264"/>
            <ac:picMk id="29" creationId="{24E11EDD-F3A5-4DF5-9EE3-238625AE005B}"/>
          </ac:picMkLst>
        </pc:picChg>
        <pc:picChg chg="add del mod">
          <ac:chgData name="Marion Spizzo" userId="43054aff-b319-44f0-be2a-97a1d91f7302" providerId="ADAL" clId="{37B54CB3-BD7E-40B0-8042-8E551ADA4A1D}" dt="2021-08-11T06:29:55.153" v="2009" actId="478"/>
          <ac:picMkLst>
            <pc:docMk/>
            <pc:sldMk cId="3784004545" sldId="1264"/>
            <ac:picMk id="32" creationId="{BD4A4F94-9C78-43C9-94FB-47EA1BE4EF49}"/>
          </ac:picMkLst>
        </pc:picChg>
        <pc:picChg chg="add del mod">
          <ac:chgData name="Marion Spizzo" userId="43054aff-b319-44f0-be2a-97a1d91f7302" providerId="ADAL" clId="{37B54CB3-BD7E-40B0-8042-8E551ADA4A1D}" dt="2021-08-11T06:30:49.023" v="2026" actId="478"/>
          <ac:picMkLst>
            <pc:docMk/>
            <pc:sldMk cId="3784004545" sldId="1264"/>
            <ac:picMk id="34" creationId="{749E9C2F-04B1-4F67-BE84-E8C5BDAA3E5C}"/>
          </ac:picMkLst>
        </pc:picChg>
        <pc:picChg chg="add mod">
          <ac:chgData name="Marion Spizzo" userId="43054aff-b319-44f0-be2a-97a1d91f7302" providerId="ADAL" clId="{37B54CB3-BD7E-40B0-8042-8E551ADA4A1D}" dt="2021-08-11T06:32:27.213" v="2082" actId="2085"/>
          <ac:picMkLst>
            <pc:docMk/>
            <pc:sldMk cId="3784004545" sldId="1264"/>
            <ac:picMk id="36" creationId="{1287C34D-676E-4ADB-802E-3773377EF013}"/>
          </ac:picMkLst>
        </pc:picChg>
        <pc:picChg chg="add del mod">
          <ac:chgData name="Marion Spizzo" userId="43054aff-b319-44f0-be2a-97a1d91f7302" providerId="ADAL" clId="{37B54CB3-BD7E-40B0-8042-8E551ADA4A1D}" dt="2021-08-11T06:34:45.023" v="2090" actId="478"/>
          <ac:picMkLst>
            <pc:docMk/>
            <pc:sldMk cId="3784004545" sldId="1264"/>
            <ac:picMk id="38" creationId="{2B739858-6DFD-4BE6-BB4B-D43B9EB578EF}"/>
          </ac:picMkLst>
        </pc:picChg>
        <pc:picChg chg="add mod">
          <ac:chgData name="Marion Spizzo" userId="43054aff-b319-44f0-be2a-97a1d91f7302" providerId="ADAL" clId="{37B54CB3-BD7E-40B0-8042-8E551ADA4A1D}" dt="2021-08-11T06:35:12.553" v="2099" actId="1076"/>
          <ac:picMkLst>
            <pc:docMk/>
            <pc:sldMk cId="3784004545" sldId="1264"/>
            <ac:picMk id="40" creationId="{1953B5BD-82EB-4A12-81BC-DC38332F8F7E}"/>
          </ac:picMkLst>
        </pc:picChg>
        <pc:picChg chg="add mod">
          <ac:chgData name="Marion Spizzo" userId="43054aff-b319-44f0-be2a-97a1d91f7302" providerId="ADAL" clId="{37B54CB3-BD7E-40B0-8042-8E551ADA4A1D}" dt="2021-08-11T06:35:59.252" v="2114" actId="1076"/>
          <ac:picMkLst>
            <pc:docMk/>
            <pc:sldMk cId="3784004545" sldId="1264"/>
            <ac:picMk id="42" creationId="{1DBDDE15-5A0A-46B5-8146-47619D4C28EA}"/>
          </ac:picMkLst>
        </pc:picChg>
        <pc:picChg chg="add del mod">
          <ac:chgData name="Marion Spizzo" userId="43054aff-b319-44f0-be2a-97a1d91f7302" providerId="ADAL" clId="{37B54CB3-BD7E-40B0-8042-8E551ADA4A1D}" dt="2021-08-11T06:41:25.920" v="2134" actId="478"/>
          <ac:picMkLst>
            <pc:docMk/>
            <pc:sldMk cId="3784004545" sldId="1264"/>
            <ac:picMk id="44" creationId="{7EA10EAA-A1BD-491A-A085-45B1946233F0}"/>
          </ac:picMkLst>
        </pc:picChg>
        <pc:picChg chg="add mod">
          <ac:chgData name="Marion Spizzo" userId="43054aff-b319-44f0-be2a-97a1d91f7302" providerId="ADAL" clId="{37B54CB3-BD7E-40B0-8042-8E551ADA4A1D}" dt="2021-08-11T06:41:43.704" v="2142" actId="2085"/>
          <ac:picMkLst>
            <pc:docMk/>
            <pc:sldMk cId="3784004545" sldId="1264"/>
            <ac:picMk id="46" creationId="{DB37006B-2608-4948-B17E-8B940951100D}"/>
          </ac:picMkLst>
        </pc:picChg>
        <pc:picChg chg="add mod ord">
          <ac:chgData name="Marion Spizzo" userId="43054aff-b319-44f0-be2a-97a1d91f7302" providerId="ADAL" clId="{37B54CB3-BD7E-40B0-8042-8E551ADA4A1D}" dt="2021-08-11T06:43:36.240" v="2167" actId="1076"/>
          <ac:picMkLst>
            <pc:docMk/>
            <pc:sldMk cId="3784004545" sldId="1264"/>
            <ac:picMk id="48" creationId="{88DE0281-2530-41C8-80C3-D11163C060D9}"/>
          </ac:picMkLst>
        </pc:picChg>
        <pc:picChg chg="add mod">
          <ac:chgData name="Marion Spizzo" userId="43054aff-b319-44f0-be2a-97a1d91f7302" providerId="ADAL" clId="{37B54CB3-BD7E-40B0-8042-8E551ADA4A1D}" dt="2021-08-11T06:44:49.692" v="2193" actId="1076"/>
          <ac:picMkLst>
            <pc:docMk/>
            <pc:sldMk cId="3784004545" sldId="1264"/>
            <ac:picMk id="50" creationId="{4E7A13D9-6DAE-4545-A6A6-946A15BE6542}"/>
          </ac:picMkLst>
        </pc:picChg>
      </pc:sldChg>
      <pc:sldChg chg="addSp delSp modSp mod modAnim">
        <pc:chgData name="Marion Spizzo" userId="43054aff-b319-44f0-be2a-97a1d91f7302" providerId="ADAL" clId="{37B54CB3-BD7E-40B0-8042-8E551ADA4A1D}" dt="2021-08-11T06:56:01.834" v="2228" actId="1036"/>
        <pc:sldMkLst>
          <pc:docMk/>
          <pc:sldMk cId="3301526976" sldId="1265"/>
        </pc:sldMkLst>
        <pc:spChg chg="add del">
          <ac:chgData name="Marion Spizzo" userId="43054aff-b319-44f0-be2a-97a1d91f7302" providerId="ADAL" clId="{37B54CB3-BD7E-40B0-8042-8E551ADA4A1D}" dt="2021-08-09T09:55:35.024" v="973" actId="478"/>
          <ac:spMkLst>
            <pc:docMk/>
            <pc:sldMk cId="3301526976" sldId="1265"/>
            <ac:spMk id="2" creationId="{65112911-8316-469A-AC90-49142188C557}"/>
          </ac:spMkLst>
        </pc:spChg>
        <pc:spChg chg="mod">
          <ac:chgData name="Marion Spizzo" userId="43054aff-b319-44f0-be2a-97a1d91f7302" providerId="ADAL" clId="{37B54CB3-BD7E-40B0-8042-8E551ADA4A1D}" dt="2021-08-09T09:57:46.761" v="987" actId="207"/>
          <ac:spMkLst>
            <pc:docMk/>
            <pc:sldMk cId="3301526976" sldId="1265"/>
            <ac:spMk id="4" creationId="{76E46312-65A7-425B-A064-4B86D9BB1403}"/>
          </ac:spMkLst>
        </pc:spChg>
        <pc:spChg chg="mod">
          <ac:chgData name="Marion Spizzo" userId="43054aff-b319-44f0-be2a-97a1d91f7302" providerId="ADAL" clId="{37B54CB3-BD7E-40B0-8042-8E551ADA4A1D}" dt="2021-08-09T11:13:00.367" v="1068" actId="2711"/>
          <ac:spMkLst>
            <pc:docMk/>
            <pc:sldMk cId="3301526976" sldId="1265"/>
            <ac:spMk id="5" creationId="{CECAD65B-A87D-40F5-BAEA-81A65285748D}"/>
          </ac:spMkLst>
        </pc:spChg>
        <pc:spChg chg="mod">
          <ac:chgData name="Marion Spizzo" userId="43054aff-b319-44f0-be2a-97a1d91f7302" providerId="ADAL" clId="{37B54CB3-BD7E-40B0-8042-8E551ADA4A1D}" dt="2021-08-09T11:13:00.367" v="1068" actId="2711"/>
          <ac:spMkLst>
            <pc:docMk/>
            <pc:sldMk cId="3301526976" sldId="1265"/>
            <ac:spMk id="7" creationId="{767C7E67-D531-49ED-8A43-F98FCECB303B}"/>
          </ac:spMkLst>
        </pc:spChg>
        <pc:spChg chg="mod">
          <ac:chgData name="Marion Spizzo" userId="43054aff-b319-44f0-be2a-97a1d91f7302" providerId="ADAL" clId="{37B54CB3-BD7E-40B0-8042-8E551ADA4A1D}" dt="2021-08-09T11:13:00.367" v="1068" actId="2711"/>
          <ac:spMkLst>
            <pc:docMk/>
            <pc:sldMk cId="3301526976" sldId="1265"/>
            <ac:spMk id="9" creationId="{EE5BCEAC-1993-4E61-B666-0DC8AB870660}"/>
          </ac:spMkLst>
        </pc:spChg>
        <pc:spChg chg="del mod">
          <ac:chgData name="Marion Spizzo" userId="43054aff-b319-44f0-be2a-97a1d91f7302" providerId="ADAL" clId="{37B54CB3-BD7E-40B0-8042-8E551ADA4A1D}" dt="2021-08-11T06:55:39.284" v="2214" actId="478"/>
          <ac:spMkLst>
            <pc:docMk/>
            <pc:sldMk cId="3301526976" sldId="1265"/>
            <ac:spMk id="10" creationId="{0209F9F7-8D5C-46FC-B8C8-7D6189AAE9C5}"/>
          </ac:spMkLst>
        </pc:spChg>
        <pc:spChg chg="mod">
          <ac:chgData name="Marion Spizzo" userId="43054aff-b319-44f0-be2a-97a1d91f7302" providerId="ADAL" clId="{37B54CB3-BD7E-40B0-8042-8E551ADA4A1D}" dt="2021-08-09T11:13:00.367" v="1068" actId="2711"/>
          <ac:spMkLst>
            <pc:docMk/>
            <pc:sldMk cId="3301526976" sldId="1265"/>
            <ac:spMk id="11" creationId="{B8339206-BF6B-4361-9A8F-92191590435C}"/>
          </ac:spMkLst>
        </pc:spChg>
        <pc:spChg chg="mod">
          <ac:chgData name="Marion Spizzo" userId="43054aff-b319-44f0-be2a-97a1d91f7302" providerId="ADAL" clId="{37B54CB3-BD7E-40B0-8042-8E551ADA4A1D}" dt="2021-08-09T09:59:11.679" v="993" actId="207"/>
          <ac:spMkLst>
            <pc:docMk/>
            <pc:sldMk cId="3301526976" sldId="1265"/>
            <ac:spMk id="12" creationId="{24204041-51D7-4DD1-B6CC-2BB0894A37AA}"/>
          </ac:spMkLst>
        </pc:spChg>
        <pc:spChg chg="mod">
          <ac:chgData name="Marion Spizzo" userId="43054aff-b319-44f0-be2a-97a1d91f7302" providerId="ADAL" clId="{37B54CB3-BD7E-40B0-8042-8E551ADA4A1D}" dt="2021-08-09T09:58:33.771" v="989" actId="208"/>
          <ac:spMkLst>
            <pc:docMk/>
            <pc:sldMk cId="3301526976" sldId="1265"/>
            <ac:spMk id="13" creationId="{80A9C668-B80C-4078-AF55-BD32B345947C}"/>
          </ac:spMkLst>
        </pc:spChg>
        <pc:spChg chg="mod">
          <ac:chgData name="Marion Spizzo" userId="43054aff-b319-44f0-be2a-97a1d91f7302" providerId="ADAL" clId="{37B54CB3-BD7E-40B0-8042-8E551ADA4A1D}" dt="2021-08-09T09:58:33.771" v="989" actId="208"/>
          <ac:spMkLst>
            <pc:docMk/>
            <pc:sldMk cId="3301526976" sldId="1265"/>
            <ac:spMk id="14" creationId="{0237BF3A-F90E-4919-8D5A-9012CE32AED7}"/>
          </ac:spMkLst>
        </pc:spChg>
        <pc:spChg chg="mod">
          <ac:chgData name="Marion Spizzo" userId="43054aff-b319-44f0-be2a-97a1d91f7302" providerId="ADAL" clId="{37B54CB3-BD7E-40B0-8042-8E551ADA4A1D}" dt="2021-08-09T11:13:00.367" v="1068" actId="2711"/>
          <ac:spMkLst>
            <pc:docMk/>
            <pc:sldMk cId="3301526976" sldId="1265"/>
            <ac:spMk id="15" creationId="{19D191A9-A5B4-4C41-9BDD-42C843080739}"/>
          </ac:spMkLst>
        </pc:spChg>
        <pc:spChg chg="mod">
          <ac:chgData name="Marion Spizzo" userId="43054aff-b319-44f0-be2a-97a1d91f7302" providerId="ADAL" clId="{37B54CB3-BD7E-40B0-8042-8E551ADA4A1D}" dt="2021-08-09T09:58:33.771" v="989" actId="208"/>
          <ac:spMkLst>
            <pc:docMk/>
            <pc:sldMk cId="3301526976" sldId="1265"/>
            <ac:spMk id="16" creationId="{FDDA6F99-A49A-4036-B8E8-4EAE74D6A4BA}"/>
          </ac:spMkLst>
        </pc:spChg>
        <pc:spChg chg="mod">
          <ac:chgData name="Marion Spizzo" userId="43054aff-b319-44f0-be2a-97a1d91f7302" providerId="ADAL" clId="{37B54CB3-BD7E-40B0-8042-8E551ADA4A1D}" dt="2021-08-09T09:58:33.771" v="989" actId="208"/>
          <ac:spMkLst>
            <pc:docMk/>
            <pc:sldMk cId="3301526976" sldId="1265"/>
            <ac:spMk id="17" creationId="{6D7325D2-ACC5-4CAA-A50C-15A7930908B6}"/>
          </ac:spMkLst>
        </pc:spChg>
        <pc:spChg chg="mod">
          <ac:chgData name="Marion Spizzo" userId="43054aff-b319-44f0-be2a-97a1d91f7302" providerId="ADAL" clId="{37B54CB3-BD7E-40B0-8042-8E551ADA4A1D}" dt="2021-08-09T09:58:33.771" v="989" actId="208"/>
          <ac:spMkLst>
            <pc:docMk/>
            <pc:sldMk cId="3301526976" sldId="1265"/>
            <ac:spMk id="18" creationId="{267F9382-0561-4724-9547-62774AB471AD}"/>
          </ac:spMkLst>
        </pc:spChg>
        <pc:spChg chg="mod">
          <ac:chgData name="Marion Spizzo" userId="43054aff-b319-44f0-be2a-97a1d91f7302" providerId="ADAL" clId="{37B54CB3-BD7E-40B0-8042-8E551ADA4A1D}" dt="2021-08-09T11:18:40.490" v="1126" actId="1076"/>
          <ac:spMkLst>
            <pc:docMk/>
            <pc:sldMk cId="3301526976" sldId="1265"/>
            <ac:spMk id="19" creationId="{BD62C548-CB9C-46F9-B13F-C4D1DCEE7C11}"/>
          </ac:spMkLst>
        </pc:spChg>
        <pc:spChg chg="mod">
          <ac:chgData name="Marion Spizzo" userId="43054aff-b319-44f0-be2a-97a1d91f7302" providerId="ADAL" clId="{37B54CB3-BD7E-40B0-8042-8E551ADA4A1D}" dt="2021-08-09T09:49:42.132" v="951" actId="1076"/>
          <ac:spMkLst>
            <pc:docMk/>
            <pc:sldMk cId="3301526976" sldId="1265"/>
            <ac:spMk id="21" creationId="{A2BB358D-BDDF-4090-9501-334CF807D50B}"/>
          </ac:spMkLst>
        </pc:spChg>
        <pc:spChg chg="add mod">
          <ac:chgData name="Marion Spizzo" userId="43054aff-b319-44f0-be2a-97a1d91f7302" providerId="ADAL" clId="{37B54CB3-BD7E-40B0-8042-8E551ADA4A1D}" dt="2021-08-11T06:56:01.834" v="2228" actId="1036"/>
          <ac:spMkLst>
            <pc:docMk/>
            <pc:sldMk cId="3301526976" sldId="1265"/>
            <ac:spMk id="27" creationId="{76BAF44F-3BFF-4CD6-B289-4471287818C8}"/>
          </ac:spMkLst>
        </pc:spChg>
        <pc:picChg chg="del mod">
          <ac:chgData name="Marion Spizzo" userId="43054aff-b319-44f0-be2a-97a1d91f7302" providerId="ADAL" clId="{37B54CB3-BD7E-40B0-8042-8E551ADA4A1D}" dt="2021-08-11T06:55:38.527" v="2213" actId="478"/>
          <ac:picMkLst>
            <pc:docMk/>
            <pc:sldMk cId="3301526976" sldId="1265"/>
            <ac:picMk id="8" creationId="{85EF02B7-BB4E-4BF5-9352-049DC3C9EEB1}"/>
          </ac:picMkLst>
        </pc:picChg>
        <pc:picChg chg="mod">
          <ac:chgData name="Marion Spizzo" userId="43054aff-b319-44f0-be2a-97a1d91f7302" providerId="ADAL" clId="{37B54CB3-BD7E-40B0-8042-8E551ADA4A1D}" dt="2021-08-09T11:18:43.099" v="1127" actId="1076"/>
          <ac:picMkLst>
            <pc:docMk/>
            <pc:sldMk cId="3301526976" sldId="1265"/>
            <ac:picMk id="20" creationId="{9F34F351-65D9-4815-A81D-F05450359B5D}"/>
          </ac:picMkLst>
        </pc:picChg>
        <pc:picChg chg="mod">
          <ac:chgData name="Marion Spizzo" userId="43054aff-b319-44f0-be2a-97a1d91f7302" providerId="ADAL" clId="{37B54CB3-BD7E-40B0-8042-8E551ADA4A1D}" dt="2021-08-09T09:49:55.231" v="954" actId="1076"/>
          <ac:picMkLst>
            <pc:docMk/>
            <pc:sldMk cId="3301526976" sldId="1265"/>
            <ac:picMk id="22" creationId="{03C2BFA0-B0D3-4BC7-BE49-4AFCE1512D9A}"/>
          </ac:picMkLst>
        </pc:picChg>
        <pc:picChg chg="mod">
          <ac:chgData name="Marion Spizzo" userId="43054aff-b319-44f0-be2a-97a1d91f7302" providerId="ADAL" clId="{37B54CB3-BD7E-40B0-8042-8E551ADA4A1D}" dt="2021-08-09T09:49:57.686" v="955" actId="1076"/>
          <ac:picMkLst>
            <pc:docMk/>
            <pc:sldMk cId="3301526976" sldId="1265"/>
            <ac:picMk id="23" creationId="{96CDECA8-E6DC-4848-AC8D-23FDCD23E6F0}"/>
          </ac:picMkLst>
        </pc:picChg>
        <pc:picChg chg="mod">
          <ac:chgData name="Marion Spizzo" userId="43054aff-b319-44f0-be2a-97a1d91f7302" providerId="ADAL" clId="{37B54CB3-BD7E-40B0-8042-8E551ADA4A1D}" dt="2021-08-09T09:50:00.058" v="956" actId="1076"/>
          <ac:picMkLst>
            <pc:docMk/>
            <pc:sldMk cId="3301526976" sldId="1265"/>
            <ac:picMk id="24" creationId="{952992B4-386F-4A50-900F-738B545535CC}"/>
          </ac:picMkLst>
        </pc:picChg>
        <pc:picChg chg="mod">
          <ac:chgData name="Marion Spizzo" userId="43054aff-b319-44f0-be2a-97a1d91f7302" providerId="ADAL" clId="{37B54CB3-BD7E-40B0-8042-8E551ADA4A1D}" dt="2021-08-09T09:50:09.620" v="957" actId="1076"/>
          <ac:picMkLst>
            <pc:docMk/>
            <pc:sldMk cId="3301526976" sldId="1265"/>
            <ac:picMk id="25" creationId="{99FBB0D7-8B42-4A3A-86E6-A169E27D17AD}"/>
          </ac:picMkLst>
        </pc:picChg>
        <pc:picChg chg="add mod">
          <ac:chgData name="Marion Spizzo" userId="43054aff-b319-44f0-be2a-97a1d91f7302" providerId="ADAL" clId="{37B54CB3-BD7E-40B0-8042-8E551ADA4A1D}" dt="2021-08-11T06:55:54.209" v="2222" actId="1076"/>
          <ac:picMkLst>
            <pc:docMk/>
            <pc:sldMk cId="3301526976" sldId="1265"/>
            <ac:picMk id="26" creationId="{1657DE1B-FC17-431F-AC61-C94DB865B549}"/>
          </ac:picMkLst>
        </pc:picChg>
      </pc:sldChg>
      <pc:sldChg chg="modSp mod">
        <pc:chgData name="Marion Spizzo" userId="43054aff-b319-44f0-be2a-97a1d91f7302" providerId="ADAL" clId="{37B54CB3-BD7E-40B0-8042-8E551ADA4A1D}" dt="2021-08-10T14:59:47.879" v="1775" actId="1076"/>
        <pc:sldMkLst>
          <pc:docMk/>
          <pc:sldMk cId="926567963" sldId="1266"/>
        </pc:sldMkLst>
        <pc:spChg chg="mod">
          <ac:chgData name="Marion Spizzo" userId="43054aff-b319-44f0-be2a-97a1d91f7302" providerId="ADAL" clId="{37B54CB3-BD7E-40B0-8042-8E551ADA4A1D}" dt="2021-08-10T14:59:47.879" v="1775" actId="1076"/>
          <ac:spMkLst>
            <pc:docMk/>
            <pc:sldMk cId="926567963" sldId="1266"/>
            <ac:spMk id="27" creationId="{82C1FBD4-E916-4C3E-BE64-6D5AB2E4B4DD}"/>
          </ac:spMkLst>
        </pc:spChg>
      </pc:sldChg>
      <pc:sldChg chg="addSp delSp modSp mod modAnim">
        <pc:chgData name="Marion Spizzo" userId="43054aff-b319-44f0-be2a-97a1d91f7302" providerId="ADAL" clId="{37B54CB3-BD7E-40B0-8042-8E551ADA4A1D}" dt="2021-08-11T06:57:25.524" v="2256" actId="14100"/>
        <pc:sldMkLst>
          <pc:docMk/>
          <pc:sldMk cId="3655601750" sldId="1270"/>
        </pc:sldMkLst>
        <pc:spChg chg="mod">
          <ac:chgData name="Marion Spizzo" userId="43054aff-b319-44f0-be2a-97a1d91f7302" providerId="ADAL" clId="{37B54CB3-BD7E-40B0-8042-8E551ADA4A1D}" dt="2021-08-09T11:13:13.808" v="1069" actId="2711"/>
          <ac:spMkLst>
            <pc:docMk/>
            <pc:sldMk cId="3655601750" sldId="1270"/>
            <ac:spMk id="23" creationId="{68431A46-294E-4004-9457-5DB9E469C778}"/>
          </ac:spMkLst>
        </pc:spChg>
        <pc:spChg chg="add mod">
          <ac:chgData name="Marion Spizzo" userId="43054aff-b319-44f0-be2a-97a1d91f7302" providerId="ADAL" clId="{37B54CB3-BD7E-40B0-8042-8E551ADA4A1D}" dt="2021-08-09T11:13:13.808" v="1069" actId="2711"/>
          <ac:spMkLst>
            <pc:docMk/>
            <pc:sldMk cId="3655601750" sldId="1270"/>
            <ac:spMk id="24" creationId="{ABE7559C-E786-4260-9A1E-E10744B7425B}"/>
          </ac:spMkLst>
        </pc:spChg>
        <pc:spChg chg="add mod">
          <ac:chgData name="Marion Spizzo" userId="43054aff-b319-44f0-be2a-97a1d91f7302" providerId="ADAL" clId="{37B54CB3-BD7E-40B0-8042-8E551ADA4A1D}" dt="2021-08-09T11:13:13.808" v="1069" actId="2711"/>
          <ac:spMkLst>
            <pc:docMk/>
            <pc:sldMk cId="3655601750" sldId="1270"/>
            <ac:spMk id="25" creationId="{27840079-BC70-43E1-B13E-AC1D959A1CFE}"/>
          </ac:spMkLst>
        </pc:spChg>
        <pc:spChg chg="add mod">
          <ac:chgData name="Marion Spizzo" userId="43054aff-b319-44f0-be2a-97a1d91f7302" providerId="ADAL" clId="{37B54CB3-BD7E-40B0-8042-8E551ADA4A1D}" dt="2021-08-09T10:01:17.343" v="1015" actId="1076"/>
          <ac:spMkLst>
            <pc:docMk/>
            <pc:sldMk cId="3655601750" sldId="1270"/>
            <ac:spMk id="26" creationId="{B1D423DC-B2DE-40DC-8044-7BF9ED1BA936}"/>
          </ac:spMkLst>
        </pc:spChg>
        <pc:spChg chg="mod">
          <ac:chgData name="Marion Spizzo" userId="43054aff-b319-44f0-be2a-97a1d91f7302" providerId="ADAL" clId="{37B54CB3-BD7E-40B0-8042-8E551ADA4A1D}" dt="2021-08-09T10:00:40.313" v="1007" actId="14100"/>
          <ac:spMkLst>
            <pc:docMk/>
            <pc:sldMk cId="3655601750" sldId="1270"/>
            <ac:spMk id="64" creationId="{43B3A7CD-034A-484D-8135-75E57851235D}"/>
          </ac:spMkLst>
        </pc:spChg>
        <pc:spChg chg="mod">
          <ac:chgData name="Marion Spizzo" userId="43054aff-b319-44f0-be2a-97a1d91f7302" providerId="ADAL" clId="{37B54CB3-BD7E-40B0-8042-8E551ADA4A1D}" dt="2021-08-09T11:13:13.808" v="1069" actId="2711"/>
          <ac:spMkLst>
            <pc:docMk/>
            <pc:sldMk cId="3655601750" sldId="1270"/>
            <ac:spMk id="65" creationId="{167C8E0C-3FA1-43A5-A237-319C6E17B7FE}"/>
          </ac:spMkLst>
        </pc:spChg>
        <pc:spChg chg="mod">
          <ac:chgData name="Marion Spizzo" userId="43054aff-b319-44f0-be2a-97a1d91f7302" providerId="ADAL" clId="{37B54CB3-BD7E-40B0-8042-8E551ADA4A1D}" dt="2021-08-09T11:13:18.868" v="1070" actId="14100"/>
          <ac:spMkLst>
            <pc:docMk/>
            <pc:sldMk cId="3655601750" sldId="1270"/>
            <ac:spMk id="66" creationId="{62443C34-2F63-4BA2-BD47-61015E31769C}"/>
          </ac:spMkLst>
        </pc:spChg>
        <pc:spChg chg="del">
          <ac:chgData name="Marion Spizzo" userId="43054aff-b319-44f0-be2a-97a1d91f7302" providerId="ADAL" clId="{37B54CB3-BD7E-40B0-8042-8E551ADA4A1D}" dt="2021-08-09T09:59:38.679" v="995" actId="478"/>
          <ac:spMkLst>
            <pc:docMk/>
            <pc:sldMk cId="3655601750" sldId="1270"/>
            <ac:spMk id="68" creationId="{62CB17AA-AA7C-41AC-8AAC-DCAB86257CF2}"/>
          </ac:spMkLst>
        </pc:spChg>
        <pc:spChg chg="mod ord">
          <ac:chgData name="Marion Spizzo" userId="43054aff-b319-44f0-be2a-97a1d91f7302" providerId="ADAL" clId="{37B54CB3-BD7E-40B0-8042-8E551ADA4A1D}" dt="2021-08-11T06:56:40.362" v="2242" actId="1036"/>
          <ac:spMkLst>
            <pc:docMk/>
            <pc:sldMk cId="3655601750" sldId="1270"/>
            <ac:spMk id="69" creationId="{CA9F602D-5F15-4814-90B1-40EFE3104D19}"/>
          </ac:spMkLst>
        </pc:spChg>
        <pc:spChg chg="del">
          <ac:chgData name="Marion Spizzo" userId="43054aff-b319-44f0-be2a-97a1d91f7302" providerId="ADAL" clId="{37B54CB3-BD7E-40B0-8042-8E551ADA4A1D}" dt="2021-08-09T09:59:45.331" v="997" actId="478"/>
          <ac:spMkLst>
            <pc:docMk/>
            <pc:sldMk cId="3655601750" sldId="1270"/>
            <ac:spMk id="70" creationId="{C598C000-6A42-475E-BE79-EE349B48EC28}"/>
          </ac:spMkLst>
        </pc:spChg>
        <pc:spChg chg="del">
          <ac:chgData name="Marion Spizzo" userId="43054aff-b319-44f0-be2a-97a1d91f7302" providerId="ADAL" clId="{37B54CB3-BD7E-40B0-8042-8E551ADA4A1D}" dt="2021-08-09T09:59:44.490" v="996" actId="478"/>
          <ac:spMkLst>
            <pc:docMk/>
            <pc:sldMk cId="3655601750" sldId="1270"/>
            <ac:spMk id="71" creationId="{AA7CA6B6-420C-44C7-9333-6788921F59B7}"/>
          </ac:spMkLst>
        </pc:spChg>
        <pc:spChg chg="mod">
          <ac:chgData name="Marion Spizzo" userId="43054aff-b319-44f0-be2a-97a1d91f7302" providerId="ADAL" clId="{37B54CB3-BD7E-40B0-8042-8E551ADA4A1D}" dt="2021-08-09T11:19:04.432" v="1129" actId="1076"/>
          <ac:spMkLst>
            <pc:docMk/>
            <pc:sldMk cId="3655601750" sldId="1270"/>
            <ac:spMk id="73" creationId="{AC18D74D-4E0C-482E-BBB7-425B84DA2662}"/>
          </ac:spMkLst>
        </pc:spChg>
        <pc:spChg chg="mod ord">
          <ac:chgData name="Marion Spizzo" userId="43054aff-b319-44f0-be2a-97a1d91f7302" providerId="ADAL" clId="{37B54CB3-BD7E-40B0-8042-8E551ADA4A1D}" dt="2021-08-09T11:18:18.215" v="1122" actId="2085"/>
          <ac:spMkLst>
            <pc:docMk/>
            <pc:sldMk cId="3655601750" sldId="1270"/>
            <ac:spMk id="78" creationId="{975FC97E-9D9F-48E8-8D3C-27E9413ABFC8}"/>
          </ac:spMkLst>
        </pc:spChg>
        <pc:spChg chg="mod">
          <ac:chgData name="Marion Spizzo" userId="43054aff-b319-44f0-be2a-97a1d91f7302" providerId="ADAL" clId="{37B54CB3-BD7E-40B0-8042-8E551ADA4A1D}" dt="2021-08-09T11:13:13.808" v="1069" actId="2711"/>
          <ac:spMkLst>
            <pc:docMk/>
            <pc:sldMk cId="3655601750" sldId="1270"/>
            <ac:spMk id="79" creationId="{2753DE5A-D165-4E10-9906-CFC5EECD244C}"/>
          </ac:spMkLst>
        </pc:spChg>
        <pc:spChg chg="mod ord">
          <ac:chgData name="Marion Spizzo" userId="43054aff-b319-44f0-be2a-97a1d91f7302" providerId="ADAL" clId="{37B54CB3-BD7E-40B0-8042-8E551ADA4A1D}" dt="2021-08-11T06:57:25.524" v="2256" actId="14100"/>
          <ac:spMkLst>
            <pc:docMk/>
            <pc:sldMk cId="3655601750" sldId="1270"/>
            <ac:spMk id="82" creationId="{36E95910-F2D2-47B0-B00C-9E4EE4FCD180}"/>
          </ac:spMkLst>
        </pc:spChg>
        <pc:picChg chg="add mod ord">
          <ac:chgData name="Marion Spizzo" userId="43054aff-b319-44f0-be2a-97a1d91f7302" providerId="ADAL" clId="{37B54CB3-BD7E-40B0-8042-8E551ADA4A1D}" dt="2021-08-11T06:57:21.092" v="2254" actId="1076"/>
          <ac:picMkLst>
            <pc:docMk/>
            <pc:sldMk cId="3655601750" sldId="1270"/>
            <ac:picMk id="4" creationId="{E6A9F56D-13B7-4B37-A670-6C5D9052658F}"/>
          </ac:picMkLst>
        </pc:picChg>
        <pc:picChg chg="add mod">
          <ac:chgData name="Marion Spizzo" userId="43054aff-b319-44f0-be2a-97a1d91f7302" providerId="ADAL" clId="{37B54CB3-BD7E-40B0-8042-8E551ADA4A1D}" dt="2021-08-11T06:56:26.450" v="2233" actId="1076"/>
          <ac:picMkLst>
            <pc:docMk/>
            <pc:sldMk cId="3655601750" sldId="1270"/>
            <ac:picMk id="27" creationId="{EBDE41A6-640D-45D5-93EB-7291ADB9A073}"/>
          </ac:picMkLst>
        </pc:picChg>
        <pc:picChg chg="del mod">
          <ac:chgData name="Marion Spizzo" userId="43054aff-b319-44f0-be2a-97a1d91f7302" providerId="ADAL" clId="{37B54CB3-BD7E-40B0-8042-8E551ADA4A1D}" dt="2021-08-11T06:56:20.184" v="2231" actId="478"/>
          <ac:picMkLst>
            <pc:docMk/>
            <pc:sldMk cId="3655601750" sldId="1270"/>
            <ac:picMk id="67" creationId="{908BEA31-2AC7-40F6-A260-B431DB0742C9}"/>
          </ac:picMkLst>
        </pc:picChg>
        <pc:picChg chg="mod">
          <ac:chgData name="Marion Spizzo" userId="43054aff-b319-44f0-be2a-97a1d91f7302" providerId="ADAL" clId="{37B54CB3-BD7E-40B0-8042-8E551ADA4A1D}" dt="2021-08-09T10:01:53.435" v="1023" actId="1076"/>
          <ac:picMkLst>
            <pc:docMk/>
            <pc:sldMk cId="3655601750" sldId="1270"/>
            <ac:picMk id="74" creationId="{ED2B98DF-B5CD-4024-A85C-AF7B35F07E82}"/>
          </ac:picMkLst>
        </pc:picChg>
        <pc:picChg chg="mod">
          <ac:chgData name="Marion Spizzo" userId="43054aff-b319-44f0-be2a-97a1d91f7302" providerId="ADAL" clId="{37B54CB3-BD7E-40B0-8042-8E551ADA4A1D}" dt="2021-08-09T10:01:53.435" v="1023" actId="1076"/>
          <ac:picMkLst>
            <pc:docMk/>
            <pc:sldMk cId="3655601750" sldId="1270"/>
            <ac:picMk id="75" creationId="{91C27EEB-1F6D-4CC3-9BF9-626403C115E4}"/>
          </ac:picMkLst>
        </pc:picChg>
        <pc:picChg chg="mod">
          <ac:chgData name="Marion Spizzo" userId="43054aff-b319-44f0-be2a-97a1d91f7302" providerId="ADAL" clId="{37B54CB3-BD7E-40B0-8042-8E551ADA4A1D}" dt="2021-08-09T10:01:53.435" v="1023" actId="1076"/>
          <ac:picMkLst>
            <pc:docMk/>
            <pc:sldMk cId="3655601750" sldId="1270"/>
            <ac:picMk id="76" creationId="{16F62885-6663-4290-AAE9-51E9E93363F2}"/>
          </ac:picMkLst>
        </pc:picChg>
        <pc:picChg chg="mod">
          <ac:chgData name="Marion Spizzo" userId="43054aff-b319-44f0-be2a-97a1d91f7302" providerId="ADAL" clId="{37B54CB3-BD7E-40B0-8042-8E551ADA4A1D}" dt="2021-08-09T10:01:53.435" v="1023" actId="1076"/>
          <ac:picMkLst>
            <pc:docMk/>
            <pc:sldMk cId="3655601750" sldId="1270"/>
            <ac:picMk id="77" creationId="{B6669832-41E3-49D5-B506-8E97687E23B8}"/>
          </ac:picMkLst>
        </pc:picChg>
        <pc:picChg chg="mod">
          <ac:chgData name="Marion Spizzo" userId="43054aff-b319-44f0-be2a-97a1d91f7302" providerId="ADAL" clId="{37B54CB3-BD7E-40B0-8042-8E551ADA4A1D}" dt="2021-08-09T10:02:43.236" v="1035" actId="1076"/>
          <ac:picMkLst>
            <pc:docMk/>
            <pc:sldMk cId="3655601750" sldId="1270"/>
            <ac:picMk id="80" creationId="{CB16DFD9-3460-4798-A5FB-8C845F745040}"/>
          </ac:picMkLst>
        </pc:picChg>
        <pc:picChg chg="del mod">
          <ac:chgData name="Marion Spizzo" userId="43054aff-b319-44f0-be2a-97a1d91f7302" providerId="ADAL" clId="{37B54CB3-BD7E-40B0-8042-8E551ADA4A1D}" dt="2021-08-11T06:57:00.668" v="2243" actId="478"/>
          <ac:picMkLst>
            <pc:docMk/>
            <pc:sldMk cId="3655601750" sldId="1270"/>
            <ac:picMk id="81" creationId="{4C84362C-FFB6-4C82-A802-4E1F33B7511E}"/>
          </ac:picMkLst>
        </pc:picChg>
      </pc:sldChg>
      <pc:sldChg chg="modSp mod">
        <pc:chgData name="Marion Spizzo" userId="43054aff-b319-44f0-be2a-97a1d91f7302" providerId="ADAL" clId="{37B54CB3-BD7E-40B0-8042-8E551ADA4A1D}" dt="2021-08-09T08:11:38.689" v="119" actId="12"/>
        <pc:sldMkLst>
          <pc:docMk/>
          <pc:sldMk cId="649153855" sldId="1273"/>
        </pc:sldMkLst>
        <pc:spChg chg="mod">
          <ac:chgData name="Marion Spizzo" userId="43054aff-b319-44f0-be2a-97a1d91f7302" providerId="ADAL" clId="{37B54CB3-BD7E-40B0-8042-8E551ADA4A1D}" dt="2021-08-09T08:11:28.621" v="118" actId="113"/>
          <ac:spMkLst>
            <pc:docMk/>
            <pc:sldMk cId="649153855" sldId="1273"/>
            <ac:spMk id="35" creationId="{2F00C498-6C91-4802-B79A-B21A351086B1}"/>
          </ac:spMkLst>
        </pc:spChg>
        <pc:spChg chg="mod">
          <ac:chgData name="Marion Spizzo" userId="43054aff-b319-44f0-be2a-97a1d91f7302" providerId="ADAL" clId="{37B54CB3-BD7E-40B0-8042-8E551ADA4A1D}" dt="2021-08-09T08:11:38.689" v="119" actId="12"/>
          <ac:spMkLst>
            <pc:docMk/>
            <pc:sldMk cId="649153855" sldId="1273"/>
            <ac:spMk id="37" creationId="{C4BE9CCD-C203-414F-B252-20F9929F8E62}"/>
          </ac:spMkLst>
        </pc:spChg>
      </pc:sldChg>
      <pc:sldChg chg="modSp mod">
        <pc:chgData name="Marion Spizzo" userId="43054aff-b319-44f0-be2a-97a1d91f7302" providerId="ADAL" clId="{37B54CB3-BD7E-40B0-8042-8E551ADA4A1D}" dt="2021-08-09T11:21:10.594" v="1148" actId="12"/>
        <pc:sldMkLst>
          <pc:docMk/>
          <pc:sldMk cId="2439780910" sldId="1274"/>
        </pc:sldMkLst>
        <pc:spChg chg="mod">
          <ac:chgData name="Marion Spizzo" userId="43054aff-b319-44f0-be2a-97a1d91f7302" providerId="ADAL" clId="{37B54CB3-BD7E-40B0-8042-8E551ADA4A1D}" dt="2021-08-09T08:20:47.317" v="218" actId="2085"/>
          <ac:spMkLst>
            <pc:docMk/>
            <pc:sldMk cId="2439780910" sldId="1274"/>
            <ac:spMk id="36" creationId="{D66D3841-4BE4-4211-9A3B-E6FBAB054984}"/>
          </ac:spMkLst>
        </pc:spChg>
        <pc:spChg chg="mod">
          <ac:chgData name="Marion Spizzo" userId="43054aff-b319-44f0-be2a-97a1d91f7302" providerId="ADAL" clId="{37B54CB3-BD7E-40B0-8042-8E551ADA4A1D}" dt="2021-08-09T11:21:10.594" v="1148" actId="12"/>
          <ac:spMkLst>
            <pc:docMk/>
            <pc:sldMk cId="2439780910" sldId="1274"/>
            <ac:spMk id="37" creationId="{C4BE9CCD-C203-414F-B252-20F9929F8E62}"/>
          </ac:spMkLst>
        </pc:spChg>
      </pc:sldChg>
      <pc:sldChg chg="modSp mod">
        <pc:chgData name="Marion Spizzo" userId="43054aff-b319-44f0-be2a-97a1d91f7302" providerId="ADAL" clId="{37B54CB3-BD7E-40B0-8042-8E551ADA4A1D}" dt="2021-08-09T08:40:50.969" v="340" actId="12"/>
        <pc:sldMkLst>
          <pc:docMk/>
          <pc:sldMk cId="1309742216" sldId="1275"/>
        </pc:sldMkLst>
        <pc:spChg chg="mod">
          <ac:chgData name="Marion Spizzo" userId="43054aff-b319-44f0-be2a-97a1d91f7302" providerId="ADAL" clId="{37B54CB3-BD7E-40B0-8042-8E551ADA4A1D}" dt="2021-08-09T08:40:50.969" v="340" actId="12"/>
          <ac:spMkLst>
            <pc:docMk/>
            <pc:sldMk cId="1309742216" sldId="1275"/>
            <ac:spMk id="37" creationId="{C4BE9CCD-C203-414F-B252-20F9929F8E62}"/>
          </ac:spMkLst>
        </pc:spChg>
      </pc:sldChg>
      <pc:sldChg chg="modSp mod">
        <pc:chgData name="Marion Spizzo" userId="43054aff-b319-44f0-be2a-97a1d91f7302" providerId="ADAL" clId="{37B54CB3-BD7E-40B0-8042-8E551ADA4A1D}" dt="2021-08-09T11:21:41.538" v="1153" actId="12"/>
        <pc:sldMkLst>
          <pc:docMk/>
          <pc:sldMk cId="782947647" sldId="1276"/>
        </pc:sldMkLst>
        <pc:spChg chg="mod">
          <ac:chgData name="Marion Spizzo" userId="43054aff-b319-44f0-be2a-97a1d91f7302" providerId="ADAL" clId="{37B54CB3-BD7E-40B0-8042-8E551ADA4A1D}" dt="2021-08-09T11:21:41.538" v="1153" actId="12"/>
          <ac:spMkLst>
            <pc:docMk/>
            <pc:sldMk cId="782947647" sldId="1276"/>
            <ac:spMk id="37" creationId="{C4BE9CCD-C203-414F-B252-20F9929F8E62}"/>
          </ac:spMkLst>
        </pc:spChg>
        <pc:spChg chg="mod">
          <ac:chgData name="Marion Spizzo" userId="43054aff-b319-44f0-be2a-97a1d91f7302" providerId="ADAL" clId="{37B54CB3-BD7E-40B0-8042-8E551ADA4A1D}" dt="2021-08-09T08:56:34.480" v="526" actId="113"/>
          <ac:spMkLst>
            <pc:docMk/>
            <pc:sldMk cId="782947647" sldId="1276"/>
            <ac:spMk id="38" creationId="{ED09656B-C0AC-4936-AD21-246475444A6A}"/>
          </ac:spMkLst>
        </pc:spChg>
      </pc:sldChg>
      <pc:sldChg chg="modSp mod">
        <pc:chgData name="Marion Spizzo" userId="43054aff-b319-44f0-be2a-97a1d91f7302" providerId="ADAL" clId="{37B54CB3-BD7E-40B0-8042-8E551ADA4A1D}" dt="2021-08-09T11:22:10.367" v="1162" actId="12"/>
        <pc:sldMkLst>
          <pc:docMk/>
          <pc:sldMk cId="3332168581" sldId="1277"/>
        </pc:sldMkLst>
        <pc:spChg chg="mod">
          <ac:chgData name="Marion Spizzo" userId="43054aff-b319-44f0-be2a-97a1d91f7302" providerId="ADAL" clId="{37B54CB3-BD7E-40B0-8042-8E551ADA4A1D}" dt="2021-08-09T11:22:10.367" v="1162" actId="12"/>
          <ac:spMkLst>
            <pc:docMk/>
            <pc:sldMk cId="3332168581" sldId="1277"/>
            <ac:spMk id="37" creationId="{C4BE9CCD-C203-414F-B252-20F9929F8E62}"/>
          </ac:spMkLst>
        </pc:spChg>
        <pc:spChg chg="mod">
          <ac:chgData name="Marion Spizzo" userId="43054aff-b319-44f0-be2a-97a1d91f7302" providerId="ADAL" clId="{37B54CB3-BD7E-40B0-8042-8E551ADA4A1D}" dt="2021-08-09T09:14:12.282" v="662" actId="113"/>
          <ac:spMkLst>
            <pc:docMk/>
            <pc:sldMk cId="3332168581" sldId="1277"/>
            <ac:spMk id="39" creationId="{9A5867D7-3747-4F74-80A8-1B5AF417EA49}"/>
          </ac:spMkLst>
        </pc:spChg>
      </pc:sldChg>
      <pc:sldChg chg="modSp mod">
        <pc:chgData name="Marion Spizzo" userId="43054aff-b319-44f0-be2a-97a1d91f7302" providerId="ADAL" clId="{37B54CB3-BD7E-40B0-8042-8E551ADA4A1D}" dt="2021-08-09T11:21:57.915" v="1161" actId="12"/>
        <pc:sldMkLst>
          <pc:docMk/>
          <pc:sldMk cId="2268086466" sldId="1278"/>
        </pc:sldMkLst>
        <pc:spChg chg="mod">
          <ac:chgData name="Marion Spizzo" userId="43054aff-b319-44f0-be2a-97a1d91f7302" providerId="ADAL" clId="{37B54CB3-BD7E-40B0-8042-8E551ADA4A1D}" dt="2021-08-09T11:21:57.915" v="1161" actId="12"/>
          <ac:spMkLst>
            <pc:docMk/>
            <pc:sldMk cId="2268086466" sldId="1278"/>
            <ac:spMk id="37" creationId="{C4BE9CCD-C203-414F-B252-20F9929F8E62}"/>
          </ac:spMkLst>
        </pc:spChg>
        <pc:spChg chg="mod">
          <ac:chgData name="Marion Spizzo" userId="43054aff-b319-44f0-be2a-97a1d91f7302" providerId="ADAL" clId="{37B54CB3-BD7E-40B0-8042-8E551ADA4A1D}" dt="2021-08-09T09:06:05.289" v="620" actId="113"/>
          <ac:spMkLst>
            <pc:docMk/>
            <pc:sldMk cId="2268086466" sldId="1278"/>
            <ac:spMk id="41" creationId="{8E2A35B4-08DC-4C68-80B1-B6FA91906473}"/>
          </ac:spMkLst>
        </pc:spChg>
      </pc:sldChg>
      <pc:sldChg chg="addSp delSp modSp mod delAnim modAnim">
        <pc:chgData name="Marion Spizzo" userId="43054aff-b319-44f0-be2a-97a1d91f7302" providerId="ADAL" clId="{37B54CB3-BD7E-40B0-8042-8E551ADA4A1D}" dt="2021-08-10T14:52:10.251" v="1759"/>
        <pc:sldMkLst>
          <pc:docMk/>
          <pc:sldMk cId="3010360863" sldId="1280"/>
        </pc:sldMkLst>
        <pc:spChg chg="mod">
          <ac:chgData name="Marion Spizzo" userId="43054aff-b319-44f0-be2a-97a1d91f7302" providerId="ADAL" clId="{37B54CB3-BD7E-40B0-8042-8E551ADA4A1D}" dt="2021-08-10T14:42:31.985" v="1638" actId="1076"/>
          <ac:spMkLst>
            <pc:docMk/>
            <pc:sldMk cId="3010360863" sldId="1280"/>
            <ac:spMk id="4" creationId="{C481A0CD-49C9-4BF9-B570-4A41BC1B88B5}"/>
          </ac:spMkLst>
        </pc:spChg>
        <pc:spChg chg="add mod">
          <ac:chgData name="Marion Spizzo" userId="43054aff-b319-44f0-be2a-97a1d91f7302" providerId="ADAL" clId="{37B54CB3-BD7E-40B0-8042-8E551ADA4A1D}" dt="2021-08-10T14:43:07.300" v="1646" actId="1582"/>
          <ac:spMkLst>
            <pc:docMk/>
            <pc:sldMk cId="3010360863" sldId="1280"/>
            <ac:spMk id="11" creationId="{32B448A4-8E2C-47D0-96D3-A1B2D34F367A}"/>
          </ac:spMkLst>
        </pc:spChg>
        <pc:spChg chg="add mod">
          <ac:chgData name="Marion Spizzo" userId="43054aff-b319-44f0-be2a-97a1d91f7302" providerId="ADAL" clId="{37B54CB3-BD7E-40B0-8042-8E551ADA4A1D}" dt="2021-08-10T14:43:25.040" v="1654" actId="14100"/>
          <ac:spMkLst>
            <pc:docMk/>
            <pc:sldMk cId="3010360863" sldId="1280"/>
            <ac:spMk id="30" creationId="{F3C736AA-0E69-43F9-8D3E-00926B9238C3}"/>
          </ac:spMkLst>
        </pc:spChg>
        <pc:spChg chg="add mod">
          <ac:chgData name="Marion Spizzo" userId="43054aff-b319-44f0-be2a-97a1d91f7302" providerId="ADAL" clId="{37B54CB3-BD7E-40B0-8042-8E551ADA4A1D}" dt="2021-08-10T14:43:16.886" v="1652" actId="1035"/>
          <ac:spMkLst>
            <pc:docMk/>
            <pc:sldMk cId="3010360863" sldId="1280"/>
            <ac:spMk id="31" creationId="{D0D24BE8-1787-4E93-8AD1-AD002E38052C}"/>
          </ac:spMkLst>
        </pc:spChg>
        <pc:spChg chg="add mod">
          <ac:chgData name="Marion Spizzo" userId="43054aff-b319-44f0-be2a-97a1d91f7302" providerId="ADAL" clId="{37B54CB3-BD7E-40B0-8042-8E551ADA4A1D}" dt="2021-08-10T14:51:22.747" v="1746" actId="1076"/>
          <ac:spMkLst>
            <pc:docMk/>
            <pc:sldMk cId="3010360863" sldId="1280"/>
            <ac:spMk id="32" creationId="{8790CD13-0C7D-4E99-8B3B-49C4470C2C25}"/>
          </ac:spMkLst>
        </pc:spChg>
        <pc:spChg chg="add mod ord">
          <ac:chgData name="Marion Spizzo" userId="43054aff-b319-44f0-be2a-97a1d91f7302" providerId="ADAL" clId="{37B54CB3-BD7E-40B0-8042-8E551ADA4A1D}" dt="2021-08-10T14:51:47.059" v="1753" actId="14100"/>
          <ac:spMkLst>
            <pc:docMk/>
            <pc:sldMk cId="3010360863" sldId="1280"/>
            <ac:spMk id="35" creationId="{B9E6DE20-326B-4A24-948E-A3A260C66625}"/>
          </ac:spMkLst>
        </pc:spChg>
        <pc:spChg chg="add mod ord">
          <ac:chgData name="Marion Spizzo" userId="43054aff-b319-44f0-be2a-97a1d91f7302" providerId="ADAL" clId="{37B54CB3-BD7E-40B0-8042-8E551ADA4A1D}" dt="2021-08-10T14:52:05.892" v="1758" actId="1076"/>
          <ac:spMkLst>
            <pc:docMk/>
            <pc:sldMk cId="3010360863" sldId="1280"/>
            <ac:spMk id="36" creationId="{E93857F5-AD5F-4FE7-A3A5-D3B221139DC5}"/>
          </ac:spMkLst>
        </pc:spChg>
        <pc:spChg chg="mod">
          <ac:chgData name="Marion Spizzo" userId="43054aff-b319-44f0-be2a-97a1d91f7302" providerId="ADAL" clId="{37B54CB3-BD7E-40B0-8042-8E551ADA4A1D}" dt="2021-08-09T09:28:22.106" v="748" actId="14100"/>
          <ac:spMkLst>
            <pc:docMk/>
            <pc:sldMk cId="3010360863" sldId="1280"/>
            <ac:spMk id="48" creationId="{AE5FBF18-5AD3-421E-800B-8AF0BB90B76E}"/>
          </ac:spMkLst>
        </pc:spChg>
        <pc:spChg chg="mod">
          <ac:chgData name="Marion Spizzo" userId="43054aff-b319-44f0-be2a-97a1d91f7302" providerId="ADAL" clId="{37B54CB3-BD7E-40B0-8042-8E551ADA4A1D}" dt="2021-08-09T09:28:02.661" v="744" actId="1076"/>
          <ac:spMkLst>
            <pc:docMk/>
            <pc:sldMk cId="3010360863" sldId="1280"/>
            <ac:spMk id="49" creationId="{E924BAEA-BCFF-4F4B-B659-CBF14325CFC2}"/>
          </ac:spMkLst>
        </pc:spChg>
        <pc:grpChg chg="del mod">
          <ac:chgData name="Marion Spizzo" userId="43054aff-b319-44f0-be2a-97a1d91f7302" providerId="ADAL" clId="{37B54CB3-BD7E-40B0-8042-8E551ADA4A1D}" dt="2021-08-10T14:41:07.930" v="1620" actId="478"/>
          <ac:grpSpMkLst>
            <pc:docMk/>
            <pc:sldMk cId="3010360863" sldId="1280"/>
            <ac:grpSpMk id="7" creationId="{105AF618-3111-4C20-BCF9-C3A5356F1AC0}"/>
          </ac:grpSpMkLst>
        </pc:grpChg>
        <pc:grpChg chg="del mod">
          <ac:chgData name="Marion Spizzo" userId="43054aff-b319-44f0-be2a-97a1d91f7302" providerId="ADAL" clId="{37B54CB3-BD7E-40B0-8042-8E551ADA4A1D}" dt="2021-08-10T14:42:17.556" v="1634" actId="478"/>
          <ac:grpSpMkLst>
            <pc:docMk/>
            <pc:sldMk cId="3010360863" sldId="1280"/>
            <ac:grpSpMk id="8" creationId="{D74D5327-93DA-4293-855D-EBCA3DC658F9}"/>
          </ac:grpSpMkLst>
        </pc:grpChg>
        <pc:grpChg chg="del mod">
          <ac:chgData name="Marion Spizzo" userId="43054aff-b319-44f0-be2a-97a1d91f7302" providerId="ADAL" clId="{37B54CB3-BD7E-40B0-8042-8E551ADA4A1D}" dt="2021-08-10T14:42:10.107" v="1631" actId="478"/>
          <ac:grpSpMkLst>
            <pc:docMk/>
            <pc:sldMk cId="3010360863" sldId="1280"/>
            <ac:grpSpMk id="23" creationId="{EEC1755F-E85D-4D9D-8F8D-D0FEC0B3BD25}"/>
          </ac:grpSpMkLst>
        </pc:grpChg>
        <pc:grpChg chg="del mod">
          <ac:chgData name="Marion Spizzo" userId="43054aff-b319-44f0-be2a-97a1d91f7302" providerId="ADAL" clId="{37B54CB3-BD7E-40B0-8042-8E551ADA4A1D}" dt="2021-08-10T14:41:51.396" v="1629" actId="478"/>
          <ac:grpSpMkLst>
            <pc:docMk/>
            <pc:sldMk cId="3010360863" sldId="1280"/>
            <ac:grpSpMk id="26" creationId="{3037AB24-016A-47F8-9D3B-C6A0D86BD5EE}"/>
          </ac:grpSpMkLst>
        </pc:grpChg>
        <pc:picChg chg="mod">
          <ac:chgData name="Marion Spizzo" userId="43054aff-b319-44f0-be2a-97a1d91f7302" providerId="ADAL" clId="{37B54CB3-BD7E-40B0-8042-8E551ADA4A1D}" dt="2021-08-09T09:27:00.583" v="734" actId="108"/>
          <ac:picMkLst>
            <pc:docMk/>
            <pc:sldMk cId="3010360863" sldId="1280"/>
            <ac:picMk id="5" creationId="{7F643449-7732-430B-8369-CCE2124BBB44}"/>
          </ac:picMkLst>
        </pc:picChg>
        <pc:picChg chg="add del mod ord">
          <ac:chgData name="Marion Spizzo" userId="43054aff-b319-44f0-be2a-97a1d91f7302" providerId="ADAL" clId="{37B54CB3-BD7E-40B0-8042-8E551ADA4A1D}" dt="2021-08-10T14:45:33.367" v="1674" actId="478"/>
          <ac:picMkLst>
            <pc:docMk/>
            <pc:sldMk cId="3010360863" sldId="1280"/>
            <ac:picMk id="6" creationId="{25279779-7AC6-41D5-80C9-E81328529E93}"/>
          </ac:picMkLst>
        </pc:picChg>
        <pc:picChg chg="add mod">
          <ac:chgData name="Marion Spizzo" userId="43054aff-b319-44f0-be2a-97a1d91f7302" providerId="ADAL" clId="{37B54CB3-BD7E-40B0-8042-8E551ADA4A1D}" dt="2021-08-10T14:42:41.874" v="1642" actId="1076"/>
          <ac:picMkLst>
            <pc:docMk/>
            <pc:sldMk cId="3010360863" sldId="1280"/>
            <ac:picMk id="10" creationId="{719F8B1A-C1D0-4EAE-94F4-B8513E6E6087}"/>
          </ac:picMkLst>
        </pc:picChg>
        <pc:picChg chg="add mod">
          <ac:chgData name="Marion Spizzo" userId="43054aff-b319-44f0-be2a-97a1d91f7302" providerId="ADAL" clId="{37B54CB3-BD7E-40B0-8042-8E551ADA4A1D}" dt="2021-08-10T14:51:19.509" v="1745" actId="1076"/>
          <ac:picMkLst>
            <pc:docMk/>
            <pc:sldMk cId="3010360863" sldId="1280"/>
            <ac:picMk id="13" creationId="{3AF98898-F82A-4BCD-8AA8-F9E8FA053B5A}"/>
          </ac:picMkLst>
        </pc:picChg>
        <pc:picChg chg="add del mod">
          <ac:chgData name="Marion Spizzo" userId="43054aff-b319-44f0-be2a-97a1d91f7302" providerId="ADAL" clId="{37B54CB3-BD7E-40B0-8042-8E551ADA4A1D}" dt="2021-08-10T14:47:58.659" v="1705" actId="478"/>
          <ac:picMkLst>
            <pc:docMk/>
            <pc:sldMk cId="3010360863" sldId="1280"/>
            <ac:picMk id="15" creationId="{E22F0710-4D64-4AC4-9266-D89DA5E62065}"/>
          </ac:picMkLst>
        </pc:picChg>
        <pc:picChg chg="add del mod">
          <ac:chgData name="Marion Spizzo" userId="43054aff-b319-44f0-be2a-97a1d91f7302" providerId="ADAL" clId="{37B54CB3-BD7E-40B0-8042-8E551ADA4A1D}" dt="2021-08-10T14:47:51.060" v="1701" actId="478"/>
          <ac:picMkLst>
            <pc:docMk/>
            <pc:sldMk cId="3010360863" sldId="1280"/>
            <ac:picMk id="17" creationId="{6C847943-1645-4FA2-8216-70B415C4669E}"/>
          </ac:picMkLst>
        </pc:picChg>
        <pc:picChg chg="add mod">
          <ac:chgData name="Marion Spizzo" userId="43054aff-b319-44f0-be2a-97a1d91f7302" providerId="ADAL" clId="{37B54CB3-BD7E-40B0-8042-8E551ADA4A1D}" dt="2021-08-10T14:51:39.916" v="1751" actId="14100"/>
          <ac:picMkLst>
            <pc:docMk/>
            <pc:sldMk cId="3010360863" sldId="1280"/>
            <ac:picMk id="19" creationId="{FAAAFA4F-2CF7-427E-93E5-5A2E6E7BC704}"/>
          </ac:picMkLst>
        </pc:picChg>
        <pc:picChg chg="del mod">
          <ac:chgData name="Marion Spizzo" userId="43054aff-b319-44f0-be2a-97a1d91f7302" providerId="ADAL" clId="{37B54CB3-BD7E-40B0-8042-8E551ADA4A1D}" dt="2021-08-10T14:42:07.563" v="1630" actId="478"/>
          <ac:picMkLst>
            <pc:docMk/>
            <pc:sldMk cId="3010360863" sldId="1280"/>
            <ac:picMk id="20" creationId="{525AE1BE-9601-48BB-B760-79D3EC3EA2B7}"/>
          </ac:picMkLst>
        </pc:picChg>
        <pc:picChg chg="add mod">
          <ac:chgData name="Marion Spizzo" userId="43054aff-b319-44f0-be2a-97a1d91f7302" providerId="ADAL" clId="{37B54CB3-BD7E-40B0-8042-8E551ADA4A1D}" dt="2021-08-10T14:52:01.606" v="1757" actId="1076"/>
          <ac:picMkLst>
            <pc:docMk/>
            <pc:sldMk cId="3010360863" sldId="1280"/>
            <ac:picMk id="22" creationId="{7849251A-7E77-488E-A228-D24EFDAB41F8}"/>
          </ac:picMkLst>
        </pc:picChg>
      </pc:sldChg>
      <pc:sldChg chg="modSp mod">
        <pc:chgData name="Marion Spizzo" userId="43054aff-b319-44f0-be2a-97a1d91f7302" providerId="ADAL" clId="{37B54CB3-BD7E-40B0-8042-8E551ADA4A1D}" dt="2021-08-09T11:20:48.736" v="1147" actId="12"/>
        <pc:sldMkLst>
          <pc:docMk/>
          <pc:sldMk cId="3486765988" sldId="1281"/>
        </pc:sldMkLst>
        <pc:spChg chg="mod">
          <ac:chgData name="Marion Spizzo" userId="43054aff-b319-44f0-be2a-97a1d91f7302" providerId="ADAL" clId="{37B54CB3-BD7E-40B0-8042-8E551ADA4A1D}" dt="2021-08-09T11:20:48.736" v="1147" actId="12"/>
          <ac:spMkLst>
            <pc:docMk/>
            <pc:sldMk cId="3486765988" sldId="1281"/>
            <ac:spMk id="37" creationId="{C4BE9CCD-C203-414F-B252-20F9929F8E62}"/>
          </ac:spMkLst>
        </pc:spChg>
        <pc:spChg chg="mod">
          <ac:chgData name="Marion Spizzo" userId="43054aff-b319-44f0-be2a-97a1d91f7302" providerId="ADAL" clId="{37B54CB3-BD7E-40B0-8042-8E551ADA4A1D}" dt="2021-08-09T09:28:37.511" v="750" actId="113"/>
          <ac:spMkLst>
            <pc:docMk/>
            <pc:sldMk cId="3486765988" sldId="1281"/>
            <ac:spMk id="44" creationId="{87B16B71-40C1-4B47-96E8-5F15754C1997}"/>
          </ac:spMkLst>
        </pc:spChg>
        <pc:spChg chg="mod">
          <ac:chgData name="Marion Spizzo" userId="43054aff-b319-44f0-be2a-97a1d91f7302" providerId="ADAL" clId="{37B54CB3-BD7E-40B0-8042-8E551ADA4A1D}" dt="2021-08-09T09:28:37.511" v="750" actId="113"/>
          <ac:spMkLst>
            <pc:docMk/>
            <pc:sldMk cId="3486765988" sldId="1281"/>
            <ac:spMk id="53" creationId="{DC1BB485-83A3-4556-8949-E18D80FCAA63}"/>
          </ac:spMkLst>
        </pc:spChg>
      </pc:sldChg>
      <pc:sldChg chg="modSp mod">
        <pc:chgData name="Marion Spizzo" userId="43054aff-b319-44f0-be2a-97a1d91f7302" providerId="ADAL" clId="{37B54CB3-BD7E-40B0-8042-8E551ADA4A1D}" dt="2021-08-09T11:22:28.302" v="1163" actId="12"/>
        <pc:sldMkLst>
          <pc:docMk/>
          <pc:sldMk cId="822394876" sldId="1282"/>
        </pc:sldMkLst>
        <pc:spChg chg="mod">
          <ac:chgData name="Marion Spizzo" userId="43054aff-b319-44f0-be2a-97a1d91f7302" providerId="ADAL" clId="{37B54CB3-BD7E-40B0-8042-8E551ADA4A1D}" dt="2021-08-09T11:22:28.302" v="1163" actId="12"/>
          <ac:spMkLst>
            <pc:docMk/>
            <pc:sldMk cId="822394876" sldId="1282"/>
            <ac:spMk id="37" creationId="{C4BE9CCD-C203-414F-B252-20F9929F8E62}"/>
          </ac:spMkLst>
        </pc:spChg>
        <pc:spChg chg="mod">
          <ac:chgData name="Marion Spizzo" userId="43054aff-b319-44f0-be2a-97a1d91f7302" providerId="ADAL" clId="{37B54CB3-BD7E-40B0-8042-8E551ADA4A1D}" dt="2021-08-09T09:30:39.993" v="775" actId="113"/>
          <ac:spMkLst>
            <pc:docMk/>
            <pc:sldMk cId="822394876" sldId="1282"/>
            <ac:spMk id="40" creationId="{1F9F01A8-FA07-42C7-AF3A-103F301FB65B}"/>
          </ac:spMkLst>
        </pc:spChg>
        <pc:spChg chg="mod">
          <ac:chgData name="Marion Spizzo" userId="43054aff-b319-44f0-be2a-97a1d91f7302" providerId="ADAL" clId="{37B54CB3-BD7E-40B0-8042-8E551ADA4A1D}" dt="2021-08-09T09:30:39.993" v="775" actId="113"/>
          <ac:spMkLst>
            <pc:docMk/>
            <pc:sldMk cId="822394876" sldId="1282"/>
            <ac:spMk id="48" creationId="{E166C7F1-E948-4DCE-95F4-24D33AEBBFBE}"/>
          </ac:spMkLst>
        </pc:spChg>
      </pc:sldChg>
      <pc:sldChg chg="modSp mod">
        <pc:chgData name="Marion Spizzo" userId="43054aff-b319-44f0-be2a-97a1d91f7302" providerId="ADAL" clId="{37B54CB3-BD7E-40B0-8042-8E551ADA4A1D}" dt="2021-08-09T11:22:37.781" v="1164" actId="12"/>
        <pc:sldMkLst>
          <pc:docMk/>
          <pc:sldMk cId="2092146857" sldId="1283"/>
        </pc:sldMkLst>
        <pc:spChg chg="mod">
          <ac:chgData name="Marion Spizzo" userId="43054aff-b319-44f0-be2a-97a1d91f7302" providerId="ADAL" clId="{37B54CB3-BD7E-40B0-8042-8E551ADA4A1D}" dt="2021-08-09T11:22:37.781" v="1164" actId="12"/>
          <ac:spMkLst>
            <pc:docMk/>
            <pc:sldMk cId="2092146857" sldId="1283"/>
            <ac:spMk id="37" creationId="{C4BE9CCD-C203-414F-B252-20F9929F8E62}"/>
          </ac:spMkLst>
        </pc:spChg>
        <pc:spChg chg="mod">
          <ac:chgData name="Marion Spizzo" userId="43054aff-b319-44f0-be2a-97a1d91f7302" providerId="ADAL" clId="{37B54CB3-BD7E-40B0-8042-8E551ADA4A1D}" dt="2021-08-09T09:34:53.496" v="832" actId="2085"/>
          <ac:spMkLst>
            <pc:docMk/>
            <pc:sldMk cId="2092146857" sldId="1283"/>
            <ac:spMk id="45" creationId="{646486A8-D8A3-4FA5-875E-0F3F80A7D1A8}"/>
          </ac:spMkLst>
        </pc:spChg>
        <pc:spChg chg="mod">
          <ac:chgData name="Marion Spizzo" userId="43054aff-b319-44f0-be2a-97a1d91f7302" providerId="ADAL" clId="{37B54CB3-BD7E-40B0-8042-8E551ADA4A1D}" dt="2021-08-09T09:35:21.195" v="837" actId="1076"/>
          <ac:spMkLst>
            <pc:docMk/>
            <pc:sldMk cId="2092146857" sldId="1283"/>
            <ac:spMk id="46" creationId="{55F6C6E1-DD30-43DE-BD84-8F53864D115C}"/>
          </ac:spMkLst>
        </pc:spChg>
        <pc:spChg chg="mod">
          <ac:chgData name="Marion Spizzo" userId="43054aff-b319-44f0-be2a-97a1d91f7302" providerId="ADAL" clId="{37B54CB3-BD7E-40B0-8042-8E551ADA4A1D}" dt="2021-08-09T09:35:26.754" v="838" actId="1076"/>
          <ac:spMkLst>
            <pc:docMk/>
            <pc:sldMk cId="2092146857" sldId="1283"/>
            <ac:spMk id="86" creationId="{BE02670F-8114-4463-936A-9D2672146D41}"/>
          </ac:spMkLst>
        </pc:spChg>
      </pc:sldChg>
      <pc:sldChg chg="modSp mod">
        <pc:chgData name="Marion Spizzo" userId="43054aff-b319-44f0-be2a-97a1d91f7302" providerId="ADAL" clId="{37B54CB3-BD7E-40B0-8042-8E551ADA4A1D}" dt="2021-08-09T08:38:11.817" v="309" actId="1076"/>
        <pc:sldMkLst>
          <pc:docMk/>
          <pc:sldMk cId="4010631327" sldId="1284"/>
        </pc:sldMkLst>
        <pc:picChg chg="mod">
          <ac:chgData name="Marion Spizzo" userId="43054aff-b319-44f0-be2a-97a1d91f7302" providerId="ADAL" clId="{37B54CB3-BD7E-40B0-8042-8E551ADA4A1D}" dt="2021-08-09T08:38:11.817" v="309" actId="1076"/>
          <ac:picMkLst>
            <pc:docMk/>
            <pc:sldMk cId="4010631327" sldId="1284"/>
            <ac:picMk id="3" creationId="{3C77731F-620E-4B85-91BD-EBBE3ACAD315}"/>
          </ac:picMkLst>
        </pc:picChg>
      </pc:sldChg>
      <pc:sldChg chg="addSp delSp modSp mod addCm modCm">
        <pc:chgData name="Marion Spizzo" userId="43054aff-b319-44f0-be2a-97a1d91f7302" providerId="ADAL" clId="{37B54CB3-BD7E-40B0-8042-8E551ADA4A1D}" dt="2021-08-10T13:24:54.835" v="1500"/>
        <pc:sldMkLst>
          <pc:docMk/>
          <pc:sldMk cId="4185054735" sldId="1285"/>
        </pc:sldMkLst>
        <pc:spChg chg="mod">
          <ac:chgData name="Marion Spizzo" userId="43054aff-b319-44f0-be2a-97a1d91f7302" providerId="ADAL" clId="{37B54CB3-BD7E-40B0-8042-8E551ADA4A1D}" dt="2021-08-10T13:24:37.769" v="1498" actId="113"/>
          <ac:spMkLst>
            <pc:docMk/>
            <pc:sldMk cId="4185054735" sldId="1285"/>
            <ac:spMk id="9" creationId="{0C2B2AB8-6896-40D7-929E-45176AC0F18E}"/>
          </ac:spMkLst>
        </pc:spChg>
        <pc:spChg chg="mod ord">
          <ac:chgData name="Marion Spizzo" userId="43054aff-b319-44f0-be2a-97a1d91f7302" providerId="ADAL" clId="{37B54CB3-BD7E-40B0-8042-8E551ADA4A1D}" dt="2021-08-10T13:24:28.014" v="1495" actId="1076"/>
          <ac:spMkLst>
            <pc:docMk/>
            <pc:sldMk cId="4185054735" sldId="1285"/>
            <ac:spMk id="10" creationId="{4ABA9E16-29FF-4F2C-A65A-AE9FF5E0F948}"/>
          </ac:spMkLst>
        </pc:spChg>
        <pc:spChg chg="add mod">
          <ac:chgData name="Marion Spizzo" userId="43054aff-b319-44f0-be2a-97a1d91f7302" providerId="ADAL" clId="{37B54CB3-BD7E-40B0-8042-8E551ADA4A1D}" dt="2021-08-10T13:24:24.531" v="1494" actId="1038"/>
          <ac:spMkLst>
            <pc:docMk/>
            <pc:sldMk cId="4185054735" sldId="1285"/>
            <ac:spMk id="12" creationId="{C2D546A4-89C7-47B5-B100-D237EB6009CC}"/>
          </ac:spMkLst>
        </pc:spChg>
        <pc:spChg chg="mod">
          <ac:chgData name="Marion Spizzo" userId="43054aff-b319-44f0-be2a-97a1d91f7302" providerId="ADAL" clId="{37B54CB3-BD7E-40B0-8042-8E551ADA4A1D}" dt="2021-08-09T08:20:21.537" v="215" actId="14100"/>
          <ac:spMkLst>
            <pc:docMk/>
            <pc:sldMk cId="4185054735" sldId="1285"/>
            <ac:spMk id="14" creationId="{E9F8D798-F5FA-4DBC-BE64-BC9059455EF3}"/>
          </ac:spMkLst>
        </pc:spChg>
        <pc:spChg chg="mod">
          <ac:chgData name="Marion Spizzo" userId="43054aff-b319-44f0-be2a-97a1d91f7302" providerId="ADAL" clId="{37B54CB3-BD7E-40B0-8042-8E551ADA4A1D}" dt="2021-08-09T08:20:11.971" v="213" actId="1582"/>
          <ac:spMkLst>
            <pc:docMk/>
            <pc:sldMk cId="4185054735" sldId="1285"/>
            <ac:spMk id="15" creationId="{95DA076A-9B06-4DE7-9139-A0C7920B8F4E}"/>
          </ac:spMkLst>
        </pc:spChg>
        <pc:spChg chg="mod">
          <ac:chgData name="Marion Spizzo" userId="43054aff-b319-44f0-be2a-97a1d91f7302" providerId="ADAL" clId="{37B54CB3-BD7E-40B0-8042-8E551ADA4A1D}" dt="2021-08-09T08:20:23.739" v="216" actId="1076"/>
          <ac:spMkLst>
            <pc:docMk/>
            <pc:sldMk cId="4185054735" sldId="1285"/>
            <ac:spMk id="17" creationId="{443D7FE0-F18F-4418-AF5A-0E4E4953DF76}"/>
          </ac:spMkLst>
        </pc:spChg>
        <pc:grpChg chg="del mod">
          <ac:chgData name="Marion Spizzo" userId="43054aff-b319-44f0-be2a-97a1d91f7302" providerId="ADAL" clId="{37B54CB3-BD7E-40B0-8042-8E551ADA4A1D}" dt="2021-08-10T13:24:06.851" v="1483" actId="478"/>
          <ac:grpSpMkLst>
            <pc:docMk/>
            <pc:sldMk cId="4185054735" sldId="1285"/>
            <ac:grpSpMk id="2" creationId="{F5277544-B57C-453C-8E7B-8E4E23EDF3F6}"/>
          </ac:grpSpMkLst>
        </pc:grpChg>
        <pc:picChg chg="add mod">
          <ac:chgData name="Marion Spizzo" userId="43054aff-b319-44f0-be2a-97a1d91f7302" providerId="ADAL" clId="{37B54CB3-BD7E-40B0-8042-8E551ADA4A1D}" dt="2021-08-10T13:24:15.426" v="1487" actId="1076"/>
          <ac:picMkLst>
            <pc:docMk/>
            <pc:sldMk cId="4185054735" sldId="1285"/>
            <ac:picMk id="4" creationId="{E5E40A4B-9E81-4AA8-91F3-3596A40C58E6}"/>
          </ac:picMkLst>
        </pc:picChg>
        <pc:picChg chg="mod">
          <ac:chgData name="Marion Spizzo" userId="43054aff-b319-44f0-be2a-97a1d91f7302" providerId="ADAL" clId="{37B54CB3-BD7E-40B0-8042-8E551ADA4A1D}" dt="2021-08-09T08:20:11.971" v="213" actId="1582"/>
          <ac:picMkLst>
            <pc:docMk/>
            <pc:sldMk cId="4185054735" sldId="1285"/>
            <ac:picMk id="8" creationId="{4D23648F-9894-4F7E-9BFC-4F0B0DBAB8B8}"/>
          </ac:picMkLst>
        </pc:picChg>
      </pc:sldChg>
      <pc:sldChg chg="addSp delSp modSp mod">
        <pc:chgData name="Marion Spizzo" userId="43054aff-b319-44f0-be2a-97a1d91f7302" providerId="ADAL" clId="{37B54CB3-BD7E-40B0-8042-8E551ADA4A1D}" dt="2021-08-10T13:45:51.330" v="1573" actId="1076"/>
        <pc:sldMkLst>
          <pc:docMk/>
          <pc:sldMk cId="1181025130" sldId="1286"/>
        </pc:sldMkLst>
        <pc:spChg chg="mod">
          <ac:chgData name="Marion Spizzo" userId="43054aff-b319-44f0-be2a-97a1d91f7302" providerId="ADAL" clId="{37B54CB3-BD7E-40B0-8042-8E551ADA4A1D}" dt="2021-08-09T09:02:30.395" v="568" actId="5793"/>
          <ac:spMkLst>
            <pc:docMk/>
            <pc:sldMk cId="1181025130" sldId="1286"/>
            <ac:spMk id="9" creationId="{6EA210E0-48B9-4A31-9991-2A0879C7CF5A}"/>
          </ac:spMkLst>
        </pc:spChg>
        <pc:picChg chg="add del mod">
          <ac:chgData name="Marion Spizzo" userId="43054aff-b319-44f0-be2a-97a1d91f7302" providerId="ADAL" clId="{37B54CB3-BD7E-40B0-8042-8E551ADA4A1D}" dt="2021-08-10T13:44:30.489" v="1557" actId="478"/>
          <ac:picMkLst>
            <pc:docMk/>
            <pc:sldMk cId="1181025130" sldId="1286"/>
            <ac:picMk id="3" creationId="{82950D07-483B-404B-A97C-756E0B11F2DA}"/>
          </ac:picMkLst>
        </pc:picChg>
        <pc:picChg chg="add del mod">
          <ac:chgData name="Marion Spizzo" userId="43054aff-b319-44f0-be2a-97a1d91f7302" providerId="ADAL" clId="{37B54CB3-BD7E-40B0-8042-8E551ADA4A1D}" dt="2021-08-10T13:43:08.166" v="1552" actId="478"/>
          <ac:picMkLst>
            <pc:docMk/>
            <pc:sldMk cId="1181025130" sldId="1286"/>
            <ac:picMk id="5" creationId="{5E85155D-DD28-4B9A-8C81-BA341DB49ADE}"/>
          </ac:picMkLst>
        </pc:picChg>
        <pc:picChg chg="del mod">
          <ac:chgData name="Marion Spizzo" userId="43054aff-b319-44f0-be2a-97a1d91f7302" providerId="ADAL" clId="{37B54CB3-BD7E-40B0-8042-8E551ADA4A1D}" dt="2021-08-10T13:40:50.193" v="1538" actId="478"/>
          <ac:picMkLst>
            <pc:docMk/>
            <pc:sldMk cId="1181025130" sldId="1286"/>
            <ac:picMk id="7" creationId="{632B343B-131F-43E5-B8BF-A4156597B354}"/>
          </ac:picMkLst>
        </pc:picChg>
        <pc:picChg chg="del mod">
          <ac:chgData name="Marion Spizzo" userId="43054aff-b319-44f0-be2a-97a1d91f7302" providerId="ADAL" clId="{37B54CB3-BD7E-40B0-8042-8E551ADA4A1D}" dt="2021-08-10T13:43:07.487" v="1551" actId="478"/>
          <ac:picMkLst>
            <pc:docMk/>
            <pc:sldMk cId="1181025130" sldId="1286"/>
            <ac:picMk id="8" creationId="{66867F5F-1A8C-4BF5-91F3-DFC9328FA0DD}"/>
          </ac:picMkLst>
        </pc:picChg>
        <pc:picChg chg="add mod">
          <ac:chgData name="Marion Spizzo" userId="43054aff-b319-44f0-be2a-97a1d91f7302" providerId="ADAL" clId="{37B54CB3-BD7E-40B0-8042-8E551ADA4A1D}" dt="2021-08-10T13:45:39.180" v="1571" actId="14100"/>
          <ac:picMkLst>
            <pc:docMk/>
            <pc:sldMk cId="1181025130" sldId="1286"/>
            <ac:picMk id="10" creationId="{0CFA3C0E-8E37-4D9D-A7DA-9D5703F7CF8F}"/>
          </ac:picMkLst>
        </pc:picChg>
        <pc:picChg chg="add mod">
          <ac:chgData name="Marion Spizzo" userId="43054aff-b319-44f0-be2a-97a1d91f7302" providerId="ADAL" clId="{37B54CB3-BD7E-40B0-8042-8E551ADA4A1D}" dt="2021-08-10T13:45:51.330" v="1573" actId="1076"/>
          <ac:picMkLst>
            <pc:docMk/>
            <pc:sldMk cId="1181025130" sldId="1286"/>
            <ac:picMk id="12" creationId="{75D60B28-9757-4B47-9CAC-AE1F5F4637B6}"/>
          </ac:picMkLst>
        </pc:picChg>
      </pc:sldChg>
      <pc:sldChg chg="addSp delSp modSp mod modAnim addCm delCm modCm">
        <pc:chgData name="Marion Spizzo" userId="43054aff-b319-44f0-be2a-97a1d91f7302" providerId="ADAL" clId="{37B54CB3-BD7E-40B0-8042-8E551ADA4A1D}" dt="2021-08-18T07:53:23.989" v="3849"/>
        <pc:sldMkLst>
          <pc:docMk/>
          <pc:sldMk cId="1593946341" sldId="1287"/>
        </pc:sldMkLst>
        <pc:spChg chg="mod">
          <ac:chgData name="Marion Spizzo" userId="43054aff-b319-44f0-be2a-97a1d91f7302" providerId="ADAL" clId="{37B54CB3-BD7E-40B0-8042-8E551ADA4A1D}" dt="2021-08-09T08:36:39.139" v="291" actId="12"/>
          <ac:spMkLst>
            <pc:docMk/>
            <pc:sldMk cId="1593946341" sldId="1287"/>
            <ac:spMk id="11" creationId="{C619EA10-47CE-4B1A-BAA4-797664F8BA40}"/>
          </ac:spMkLst>
        </pc:spChg>
        <pc:spChg chg="mod ord topLvl">
          <ac:chgData name="Marion Spizzo" userId="43054aff-b319-44f0-be2a-97a1d91f7302" providerId="ADAL" clId="{37B54CB3-BD7E-40B0-8042-8E551ADA4A1D}" dt="2021-08-18T07:51:35.075" v="3811" actId="14100"/>
          <ac:spMkLst>
            <pc:docMk/>
            <pc:sldMk cId="1593946341" sldId="1287"/>
            <ac:spMk id="21" creationId="{6EF2C1FF-DABD-455D-AD7D-CFE34D23AEB9}"/>
          </ac:spMkLst>
        </pc:spChg>
        <pc:spChg chg="mod ord topLvl">
          <ac:chgData name="Marion Spizzo" userId="43054aff-b319-44f0-be2a-97a1d91f7302" providerId="ADAL" clId="{37B54CB3-BD7E-40B0-8042-8E551ADA4A1D}" dt="2021-08-18T07:51:41.128" v="3813" actId="1076"/>
          <ac:spMkLst>
            <pc:docMk/>
            <pc:sldMk cId="1593946341" sldId="1287"/>
            <ac:spMk id="36" creationId="{44D3489F-2B54-4080-A4F6-18230F3B7081}"/>
          </ac:spMkLst>
        </pc:spChg>
        <pc:spChg chg="mod ord topLvl">
          <ac:chgData name="Marion Spizzo" userId="43054aff-b319-44f0-be2a-97a1d91f7302" providerId="ADAL" clId="{37B54CB3-BD7E-40B0-8042-8E551ADA4A1D}" dt="2021-08-18T07:52:55.726" v="3837" actId="1076"/>
          <ac:spMkLst>
            <pc:docMk/>
            <pc:sldMk cId="1593946341" sldId="1287"/>
            <ac:spMk id="38" creationId="{683AB757-9064-4D13-8D12-E8240260DE31}"/>
          </ac:spMkLst>
        </pc:spChg>
        <pc:spChg chg="mod ord topLvl">
          <ac:chgData name="Marion Spizzo" userId="43054aff-b319-44f0-be2a-97a1d91f7302" providerId="ADAL" clId="{37B54CB3-BD7E-40B0-8042-8E551ADA4A1D}" dt="2021-08-18T07:52:51.498" v="3836" actId="1036"/>
          <ac:spMkLst>
            <pc:docMk/>
            <pc:sldMk cId="1593946341" sldId="1287"/>
            <ac:spMk id="43" creationId="{921CCF4E-975F-4CB3-9D7E-0444EA0CDFA8}"/>
          </ac:spMkLst>
        </pc:spChg>
        <pc:grpChg chg="del mod">
          <ac:chgData name="Marion Spizzo" userId="43054aff-b319-44f0-be2a-97a1d91f7302" providerId="ADAL" clId="{37B54CB3-BD7E-40B0-8042-8E551ADA4A1D}" dt="2021-08-09T15:01:58.634" v="1192" actId="165"/>
          <ac:grpSpMkLst>
            <pc:docMk/>
            <pc:sldMk cId="1593946341" sldId="1287"/>
            <ac:grpSpMk id="4" creationId="{2FEA1BE9-6A2C-40C1-92D5-429483F6A0AC}"/>
          </ac:grpSpMkLst>
        </pc:grpChg>
        <pc:picChg chg="add mod ord">
          <ac:chgData name="Marion Spizzo" userId="43054aff-b319-44f0-be2a-97a1d91f7302" providerId="ADAL" clId="{37B54CB3-BD7E-40B0-8042-8E551ADA4A1D}" dt="2021-08-18T07:53:10.621" v="3843" actId="1076"/>
          <ac:picMkLst>
            <pc:docMk/>
            <pc:sldMk cId="1593946341" sldId="1287"/>
            <ac:picMk id="3" creationId="{627AFC50-AB67-4F49-BF2D-8AD266B8891D}"/>
          </ac:picMkLst>
        </pc:picChg>
        <pc:picChg chg="add del mod">
          <ac:chgData name="Marion Spizzo" userId="43054aff-b319-44f0-be2a-97a1d91f7302" providerId="ADAL" clId="{37B54CB3-BD7E-40B0-8042-8E551ADA4A1D}" dt="2021-08-18T07:48:57.446" v="3773" actId="478"/>
          <ac:picMkLst>
            <pc:docMk/>
            <pc:sldMk cId="1593946341" sldId="1287"/>
            <ac:picMk id="4" creationId="{201A6BFD-79CB-4411-8822-D7C68CFDAB12}"/>
          </ac:picMkLst>
        </pc:picChg>
        <pc:picChg chg="add del mod ord">
          <ac:chgData name="Marion Spizzo" userId="43054aff-b319-44f0-be2a-97a1d91f7302" providerId="ADAL" clId="{37B54CB3-BD7E-40B0-8042-8E551ADA4A1D}" dt="2021-08-18T07:50:47.864" v="3797" actId="478"/>
          <ac:picMkLst>
            <pc:docMk/>
            <pc:sldMk cId="1593946341" sldId="1287"/>
            <ac:picMk id="5" creationId="{CC87999A-6CF6-4A0F-AA85-F957DC6E6611}"/>
          </ac:picMkLst>
        </pc:picChg>
        <pc:picChg chg="add del mod">
          <ac:chgData name="Marion Spizzo" userId="43054aff-b319-44f0-be2a-97a1d91f7302" providerId="ADAL" clId="{37B54CB3-BD7E-40B0-8042-8E551ADA4A1D}" dt="2021-08-18T07:48:56.713" v="3772" actId="478"/>
          <ac:picMkLst>
            <pc:docMk/>
            <pc:sldMk cId="1593946341" sldId="1287"/>
            <ac:picMk id="7" creationId="{575C48A7-F944-4266-B442-B042AC0E6CFA}"/>
          </ac:picMkLst>
        </pc:picChg>
        <pc:picChg chg="add mod">
          <ac:chgData name="Marion Spizzo" userId="43054aff-b319-44f0-be2a-97a1d91f7302" providerId="ADAL" clId="{37B54CB3-BD7E-40B0-8042-8E551ADA4A1D}" dt="2021-08-18T07:51:02.698" v="3805" actId="1076"/>
          <ac:picMkLst>
            <pc:docMk/>
            <pc:sldMk cId="1593946341" sldId="1287"/>
            <ac:picMk id="9" creationId="{A0AC256D-9057-4AD8-B284-A33C26009E9B}"/>
          </ac:picMkLst>
        </pc:picChg>
        <pc:picChg chg="add mod ord">
          <ac:chgData name="Marion Spizzo" userId="43054aff-b319-44f0-be2a-97a1d91f7302" providerId="ADAL" clId="{37B54CB3-BD7E-40B0-8042-8E551ADA4A1D}" dt="2021-08-18T07:52:10.346" v="3821" actId="166"/>
          <ac:picMkLst>
            <pc:docMk/>
            <pc:sldMk cId="1593946341" sldId="1287"/>
            <ac:picMk id="12" creationId="{8BEAAEA5-3AB1-42BA-908F-24867E2266EF}"/>
          </ac:picMkLst>
        </pc:picChg>
        <pc:picChg chg="add mod ord">
          <ac:chgData name="Marion Spizzo" userId="43054aff-b319-44f0-be2a-97a1d91f7302" providerId="ADAL" clId="{37B54CB3-BD7E-40B0-8042-8E551ADA4A1D}" dt="2021-08-18T07:53:22.231" v="3848" actId="1076"/>
          <ac:picMkLst>
            <pc:docMk/>
            <pc:sldMk cId="1593946341" sldId="1287"/>
            <ac:picMk id="14" creationId="{63F8B999-0E45-4ED9-911C-28AADA15CD50}"/>
          </ac:picMkLst>
        </pc:picChg>
        <pc:picChg chg="del mod topLvl">
          <ac:chgData name="Marion Spizzo" userId="43054aff-b319-44f0-be2a-97a1d91f7302" providerId="ADAL" clId="{37B54CB3-BD7E-40B0-8042-8E551ADA4A1D}" dt="2021-08-18T07:50:47.211" v="3796" actId="478"/>
          <ac:picMkLst>
            <pc:docMk/>
            <pc:sldMk cId="1593946341" sldId="1287"/>
            <ac:picMk id="42" creationId="{847E9438-3FF1-489E-A17F-FA5729D7449D}"/>
          </ac:picMkLst>
        </pc:picChg>
      </pc:sldChg>
      <pc:sldChg chg="delSp modSp mod modAnim">
        <pc:chgData name="Marion Spizzo" userId="43054aff-b319-44f0-be2a-97a1d91f7302" providerId="ADAL" clId="{37B54CB3-BD7E-40B0-8042-8E551ADA4A1D}" dt="2021-08-10T06:00:58.757" v="1240"/>
        <pc:sldMkLst>
          <pc:docMk/>
          <pc:sldMk cId="2039230434" sldId="1289"/>
        </pc:sldMkLst>
        <pc:spChg chg="mod">
          <ac:chgData name="Marion Spizzo" userId="43054aff-b319-44f0-be2a-97a1d91f7302" providerId="ADAL" clId="{37B54CB3-BD7E-40B0-8042-8E551ADA4A1D}" dt="2021-08-09T09:13:19.014" v="655" actId="20577"/>
          <ac:spMkLst>
            <pc:docMk/>
            <pc:sldMk cId="2039230434" sldId="1289"/>
            <ac:spMk id="19" creationId="{7372B78E-EAEA-4433-8E1E-460979286880}"/>
          </ac:spMkLst>
        </pc:spChg>
        <pc:spChg chg="mod topLvl">
          <ac:chgData name="Marion Spizzo" userId="43054aff-b319-44f0-be2a-97a1d91f7302" providerId="ADAL" clId="{37B54CB3-BD7E-40B0-8042-8E551ADA4A1D}" dt="2021-08-10T05:58:41.727" v="1218" actId="165"/>
          <ac:spMkLst>
            <pc:docMk/>
            <pc:sldMk cId="2039230434" sldId="1289"/>
            <ac:spMk id="20" creationId="{2B4987A6-EB73-40DD-AB1B-50594ABD093F}"/>
          </ac:spMkLst>
        </pc:spChg>
        <pc:spChg chg="mod topLvl">
          <ac:chgData name="Marion Spizzo" userId="43054aff-b319-44f0-be2a-97a1d91f7302" providerId="ADAL" clId="{37B54CB3-BD7E-40B0-8042-8E551ADA4A1D}" dt="2021-08-10T05:58:41.727" v="1218" actId="165"/>
          <ac:spMkLst>
            <pc:docMk/>
            <pc:sldMk cId="2039230434" sldId="1289"/>
            <ac:spMk id="24" creationId="{D82C32C0-1A6B-499A-B69B-72C38ECD43D8}"/>
          </ac:spMkLst>
        </pc:spChg>
        <pc:spChg chg="mod">
          <ac:chgData name="Marion Spizzo" userId="43054aff-b319-44f0-be2a-97a1d91f7302" providerId="ADAL" clId="{37B54CB3-BD7E-40B0-8042-8E551ADA4A1D}" dt="2021-08-09T09:08:36.422" v="647" actId="14100"/>
          <ac:spMkLst>
            <pc:docMk/>
            <pc:sldMk cId="2039230434" sldId="1289"/>
            <ac:spMk id="25" creationId="{B76B0BC4-83D4-4470-A3AB-B77EB1C76594}"/>
          </ac:spMkLst>
        </pc:spChg>
        <pc:spChg chg="mod">
          <ac:chgData name="Marion Spizzo" userId="43054aff-b319-44f0-be2a-97a1d91f7302" providerId="ADAL" clId="{37B54CB3-BD7E-40B0-8042-8E551ADA4A1D}" dt="2021-08-09T09:08:16.815" v="642" actId="14100"/>
          <ac:spMkLst>
            <pc:docMk/>
            <pc:sldMk cId="2039230434" sldId="1289"/>
            <ac:spMk id="26" creationId="{C61EEEE5-F9D1-4646-B356-170B7258D732}"/>
          </ac:spMkLst>
        </pc:spChg>
        <pc:spChg chg="mod">
          <ac:chgData name="Marion Spizzo" userId="43054aff-b319-44f0-be2a-97a1d91f7302" providerId="ADAL" clId="{37B54CB3-BD7E-40B0-8042-8E551ADA4A1D}" dt="2021-08-09T09:13:50.728" v="656" actId="1076"/>
          <ac:spMkLst>
            <pc:docMk/>
            <pc:sldMk cId="2039230434" sldId="1289"/>
            <ac:spMk id="28" creationId="{6998445A-DD4A-4433-AE4C-A2C871F9BEE2}"/>
          </ac:spMkLst>
        </pc:spChg>
        <pc:spChg chg="mod">
          <ac:chgData name="Marion Spizzo" userId="43054aff-b319-44f0-be2a-97a1d91f7302" providerId="ADAL" clId="{37B54CB3-BD7E-40B0-8042-8E551ADA4A1D}" dt="2021-08-09T09:13:56.063" v="658" actId="1076"/>
          <ac:spMkLst>
            <pc:docMk/>
            <pc:sldMk cId="2039230434" sldId="1289"/>
            <ac:spMk id="29" creationId="{285E283C-D320-475D-B87A-E102E8F4122A}"/>
          </ac:spMkLst>
        </pc:spChg>
        <pc:spChg chg="mod">
          <ac:chgData name="Marion Spizzo" userId="43054aff-b319-44f0-be2a-97a1d91f7302" providerId="ADAL" clId="{37B54CB3-BD7E-40B0-8042-8E551ADA4A1D}" dt="2021-08-09T09:13:53.485" v="657" actId="1076"/>
          <ac:spMkLst>
            <pc:docMk/>
            <pc:sldMk cId="2039230434" sldId="1289"/>
            <ac:spMk id="30" creationId="{B4450B7F-605B-438E-BBAD-15ED2CDB4C34}"/>
          </ac:spMkLst>
        </pc:spChg>
        <pc:spChg chg="mod">
          <ac:chgData name="Marion Spizzo" userId="43054aff-b319-44f0-be2a-97a1d91f7302" providerId="ADAL" clId="{37B54CB3-BD7E-40B0-8042-8E551ADA4A1D}" dt="2021-08-09T09:13:59.231" v="660" actId="1076"/>
          <ac:spMkLst>
            <pc:docMk/>
            <pc:sldMk cId="2039230434" sldId="1289"/>
            <ac:spMk id="31" creationId="{373466C1-7D29-445B-B09E-87778E6A6BBD}"/>
          </ac:spMkLst>
        </pc:spChg>
        <pc:grpChg chg="del">
          <ac:chgData name="Marion Spizzo" userId="43054aff-b319-44f0-be2a-97a1d91f7302" providerId="ADAL" clId="{37B54CB3-BD7E-40B0-8042-8E551ADA4A1D}" dt="2021-08-10T05:58:41.727" v="1218" actId="165"/>
          <ac:grpSpMkLst>
            <pc:docMk/>
            <pc:sldMk cId="2039230434" sldId="1289"/>
            <ac:grpSpMk id="2" creationId="{8F72F641-5683-4960-8D2C-0EF756438476}"/>
          </ac:grpSpMkLst>
        </pc:grpChg>
        <pc:picChg chg="mod topLvl">
          <ac:chgData name="Marion Spizzo" userId="43054aff-b319-44f0-be2a-97a1d91f7302" providerId="ADAL" clId="{37B54CB3-BD7E-40B0-8042-8E551ADA4A1D}" dt="2021-08-10T05:58:41.727" v="1218" actId="165"/>
          <ac:picMkLst>
            <pc:docMk/>
            <pc:sldMk cId="2039230434" sldId="1289"/>
            <ac:picMk id="3" creationId="{29BEE9CE-8634-4D1A-B6BA-BBAD193482EA}"/>
          </ac:picMkLst>
        </pc:picChg>
      </pc:sldChg>
      <pc:sldChg chg="modSp mod">
        <pc:chgData name="Marion Spizzo" userId="43054aff-b319-44f0-be2a-97a1d91f7302" providerId="ADAL" clId="{37B54CB3-BD7E-40B0-8042-8E551ADA4A1D}" dt="2021-08-09T08:01:20.735" v="31" actId="1076"/>
        <pc:sldMkLst>
          <pc:docMk/>
          <pc:sldMk cId="6323355" sldId="1290"/>
        </pc:sldMkLst>
        <pc:spChg chg="mod">
          <ac:chgData name="Marion Spizzo" userId="43054aff-b319-44f0-be2a-97a1d91f7302" providerId="ADAL" clId="{37B54CB3-BD7E-40B0-8042-8E551ADA4A1D}" dt="2021-08-09T08:01:20.735" v="31" actId="1076"/>
          <ac:spMkLst>
            <pc:docMk/>
            <pc:sldMk cId="6323355" sldId="1290"/>
            <ac:spMk id="3" creationId="{3F5685DE-5CDA-48CF-8110-2F734E749111}"/>
          </ac:spMkLst>
        </pc:spChg>
      </pc:sldChg>
      <pc:sldChg chg="modSp mod">
        <pc:chgData name="Marion Spizzo" userId="43054aff-b319-44f0-be2a-97a1d91f7302" providerId="ADAL" clId="{37B54CB3-BD7E-40B0-8042-8E551ADA4A1D}" dt="2021-08-10T14:59:39.036" v="1772" actId="1076"/>
        <pc:sldMkLst>
          <pc:docMk/>
          <pc:sldMk cId="683684442" sldId="1292"/>
        </pc:sldMkLst>
        <pc:spChg chg="mod">
          <ac:chgData name="Marion Spizzo" userId="43054aff-b319-44f0-be2a-97a1d91f7302" providerId="ADAL" clId="{37B54CB3-BD7E-40B0-8042-8E551ADA4A1D}" dt="2021-08-10T14:59:39.036" v="1772" actId="1076"/>
          <ac:spMkLst>
            <pc:docMk/>
            <pc:sldMk cId="683684442" sldId="1292"/>
            <ac:spMk id="27" creationId="{82C1FBD4-E916-4C3E-BE64-6D5AB2E4B4DD}"/>
          </ac:spMkLst>
        </pc:spChg>
      </pc:sldChg>
      <pc:sldChg chg="modSp mod">
        <pc:chgData name="Marion Spizzo" userId="43054aff-b319-44f0-be2a-97a1d91f7302" providerId="ADAL" clId="{37B54CB3-BD7E-40B0-8042-8E551ADA4A1D}" dt="2021-08-09T09:45:53.654" v="905" actId="20577"/>
        <pc:sldMkLst>
          <pc:docMk/>
          <pc:sldMk cId="785397179" sldId="1293"/>
        </pc:sldMkLst>
        <pc:spChg chg="mod">
          <ac:chgData name="Marion Spizzo" userId="43054aff-b319-44f0-be2a-97a1d91f7302" providerId="ADAL" clId="{37B54CB3-BD7E-40B0-8042-8E551ADA4A1D}" dt="2021-08-09T09:45:53.654" v="905" actId="20577"/>
          <ac:spMkLst>
            <pc:docMk/>
            <pc:sldMk cId="785397179" sldId="1293"/>
            <ac:spMk id="27" creationId="{82C1FBD4-E916-4C3E-BE64-6D5AB2E4B4DD}"/>
          </ac:spMkLst>
        </pc:spChg>
      </pc:sldChg>
      <pc:sldChg chg="modSp modAnim">
        <pc:chgData name="Marion Spizzo" userId="43054aff-b319-44f0-be2a-97a1d91f7302" providerId="ADAL" clId="{37B54CB3-BD7E-40B0-8042-8E551ADA4A1D}" dt="2021-08-10T11:35:10.515" v="1325"/>
        <pc:sldMkLst>
          <pc:docMk/>
          <pc:sldMk cId="2696813582" sldId="1296"/>
        </pc:sldMkLst>
        <pc:spChg chg="mod">
          <ac:chgData name="Marion Spizzo" userId="43054aff-b319-44f0-be2a-97a1d91f7302" providerId="ADAL" clId="{37B54CB3-BD7E-40B0-8042-8E551ADA4A1D}" dt="2021-08-10T11:34:21.827" v="1320" actId="5793"/>
          <ac:spMkLst>
            <pc:docMk/>
            <pc:sldMk cId="2696813582" sldId="1296"/>
            <ac:spMk id="25" creationId="{EC67DA6D-AB9F-4E6B-A33D-D67A42DB9C97}"/>
          </ac:spMkLst>
        </pc:spChg>
        <pc:spChg chg="mod">
          <ac:chgData name="Marion Spizzo" userId="43054aff-b319-44f0-be2a-97a1d91f7302" providerId="ADAL" clId="{37B54CB3-BD7E-40B0-8042-8E551ADA4A1D}" dt="2021-08-10T11:34:17.884" v="1315" actId="20577"/>
          <ac:spMkLst>
            <pc:docMk/>
            <pc:sldMk cId="2696813582" sldId="1296"/>
            <ac:spMk id="26" creationId="{A0F915BD-F1A1-473B-9515-FFDAF00DD942}"/>
          </ac:spMkLst>
        </pc:spChg>
        <pc:spChg chg="mod">
          <ac:chgData name="Marion Spizzo" userId="43054aff-b319-44f0-be2a-97a1d91f7302" providerId="ADAL" clId="{37B54CB3-BD7E-40B0-8042-8E551ADA4A1D}" dt="2021-08-10T11:34:14.384" v="1309" actId="20577"/>
          <ac:spMkLst>
            <pc:docMk/>
            <pc:sldMk cId="2696813582" sldId="1296"/>
            <ac:spMk id="28" creationId="{976D2326-704B-49D2-B395-D7F16ECFE2B8}"/>
          </ac:spMkLst>
        </pc:spChg>
        <pc:spChg chg="mod">
          <ac:chgData name="Marion Spizzo" userId="43054aff-b319-44f0-be2a-97a1d91f7302" providerId="ADAL" clId="{37B54CB3-BD7E-40B0-8042-8E551ADA4A1D}" dt="2021-08-10T11:34:05.543" v="1304" actId="20577"/>
          <ac:spMkLst>
            <pc:docMk/>
            <pc:sldMk cId="2696813582" sldId="1296"/>
            <ac:spMk id="29" creationId="{F095CAD6-4EA8-41A8-A4FC-93A60BBFEEDD}"/>
          </ac:spMkLst>
        </pc:spChg>
      </pc:sldChg>
      <pc:sldChg chg="del">
        <pc:chgData name="Marion Spizzo" userId="43054aff-b319-44f0-be2a-97a1d91f7302" providerId="ADAL" clId="{37B54CB3-BD7E-40B0-8042-8E551ADA4A1D}" dt="2021-08-10T05:56:01.525" v="1211" actId="2696"/>
        <pc:sldMkLst>
          <pc:docMk/>
          <pc:sldMk cId="2995492355" sldId="1296"/>
        </pc:sldMkLst>
      </pc:sldChg>
      <pc:sldChg chg="addSp delSp modSp mod">
        <pc:chgData name="Marion Spizzo" userId="43054aff-b319-44f0-be2a-97a1d91f7302" providerId="ADAL" clId="{37B54CB3-BD7E-40B0-8042-8E551ADA4A1D}" dt="2021-08-11T06:49:39.154" v="2211" actId="478"/>
        <pc:sldMkLst>
          <pc:docMk/>
          <pc:sldMk cId="2174108700" sldId="1299"/>
        </pc:sldMkLst>
        <pc:picChg chg="add del mod">
          <ac:chgData name="Marion Spizzo" userId="43054aff-b319-44f0-be2a-97a1d91f7302" providerId="ADAL" clId="{37B54CB3-BD7E-40B0-8042-8E551ADA4A1D}" dt="2021-08-11T06:49:12.175" v="2206" actId="478"/>
          <ac:picMkLst>
            <pc:docMk/>
            <pc:sldMk cId="2174108700" sldId="1299"/>
            <ac:picMk id="4" creationId="{6AD18737-5649-421C-968B-EE06636CFF48}"/>
          </ac:picMkLst>
        </pc:picChg>
        <pc:picChg chg="add del mod">
          <ac:chgData name="Marion Spizzo" userId="43054aff-b319-44f0-be2a-97a1d91f7302" providerId="ADAL" clId="{37B54CB3-BD7E-40B0-8042-8E551ADA4A1D}" dt="2021-08-11T06:49:39.154" v="2211" actId="478"/>
          <ac:picMkLst>
            <pc:docMk/>
            <pc:sldMk cId="2174108700" sldId="1299"/>
            <ac:picMk id="8" creationId="{4B0508E3-368C-44A7-B32B-F7237416B8D6}"/>
          </ac:picMkLst>
        </pc:picChg>
      </pc:sldChg>
      <pc:sldChg chg="addSp modSp mod modAnim">
        <pc:chgData name="Marion Spizzo" userId="43054aff-b319-44f0-be2a-97a1d91f7302" providerId="ADAL" clId="{37B54CB3-BD7E-40B0-8042-8E551ADA4A1D}" dt="2021-09-01T13:56:35.956" v="4021" actId="208"/>
        <pc:sldMkLst>
          <pc:docMk/>
          <pc:sldMk cId="2557956988" sldId="1300"/>
        </pc:sldMkLst>
        <pc:spChg chg="add mod">
          <ac:chgData name="Marion Spizzo" userId="43054aff-b319-44f0-be2a-97a1d91f7302" providerId="ADAL" clId="{37B54CB3-BD7E-40B0-8042-8E551ADA4A1D}" dt="2021-08-10T11:40:09.846" v="1394" actId="1076"/>
          <ac:spMkLst>
            <pc:docMk/>
            <pc:sldMk cId="2557956988" sldId="1300"/>
            <ac:spMk id="2" creationId="{C3535710-5BB9-4932-85F6-68F5FE66BDA7}"/>
          </ac:spMkLst>
        </pc:spChg>
        <pc:spChg chg="add mod">
          <ac:chgData name="Marion Spizzo" userId="43054aff-b319-44f0-be2a-97a1d91f7302" providerId="ADAL" clId="{37B54CB3-BD7E-40B0-8042-8E551ADA4A1D}" dt="2021-08-10T11:40:12.907" v="1395" actId="1076"/>
          <ac:spMkLst>
            <pc:docMk/>
            <pc:sldMk cId="2557956988" sldId="1300"/>
            <ac:spMk id="8" creationId="{F8319F06-E22E-441F-8F1F-81815469842B}"/>
          </ac:spMkLst>
        </pc:spChg>
        <pc:spChg chg="add mod">
          <ac:chgData name="Marion Spizzo" userId="43054aff-b319-44f0-be2a-97a1d91f7302" providerId="ADAL" clId="{37B54CB3-BD7E-40B0-8042-8E551ADA4A1D}" dt="2021-08-10T11:40:16.844" v="1396" actId="1076"/>
          <ac:spMkLst>
            <pc:docMk/>
            <pc:sldMk cId="2557956988" sldId="1300"/>
            <ac:spMk id="9" creationId="{5C0F2C15-0F3C-4678-9211-4F607E6ED5CF}"/>
          </ac:spMkLst>
        </pc:spChg>
        <pc:spChg chg="mod">
          <ac:chgData name="Marion Spizzo" userId="43054aff-b319-44f0-be2a-97a1d91f7302" providerId="ADAL" clId="{37B54CB3-BD7E-40B0-8042-8E551ADA4A1D}" dt="2021-09-01T13:56:28.249" v="4018" actId="1076"/>
          <ac:spMkLst>
            <pc:docMk/>
            <pc:sldMk cId="2557956988" sldId="1300"/>
            <ac:spMk id="10" creationId="{D0E64E4F-FF81-4412-83AC-BCAB289F8FA9}"/>
          </ac:spMkLst>
        </pc:spChg>
        <pc:spChg chg="add mod">
          <ac:chgData name="Marion Spizzo" userId="43054aff-b319-44f0-be2a-97a1d91f7302" providerId="ADAL" clId="{37B54CB3-BD7E-40B0-8042-8E551ADA4A1D}" dt="2021-08-10T11:40:27.376" v="1398" actId="1076"/>
          <ac:spMkLst>
            <pc:docMk/>
            <pc:sldMk cId="2557956988" sldId="1300"/>
            <ac:spMk id="11" creationId="{6662B5C3-871E-4A76-B6DC-FB3496E89B0A}"/>
          </ac:spMkLst>
        </pc:spChg>
        <pc:spChg chg="mod">
          <ac:chgData name="Marion Spizzo" userId="43054aff-b319-44f0-be2a-97a1d91f7302" providerId="ADAL" clId="{37B54CB3-BD7E-40B0-8042-8E551ADA4A1D}" dt="2021-09-01T13:56:27.875" v="4017" actId="1076"/>
          <ac:spMkLst>
            <pc:docMk/>
            <pc:sldMk cId="2557956988" sldId="1300"/>
            <ac:spMk id="13" creationId="{96B7432B-EB0C-4118-8F26-10165C9A935D}"/>
          </ac:spMkLst>
        </pc:spChg>
        <pc:spChg chg="mod">
          <ac:chgData name="Marion Spizzo" userId="43054aff-b319-44f0-be2a-97a1d91f7302" providerId="ADAL" clId="{37B54CB3-BD7E-40B0-8042-8E551ADA4A1D}" dt="2021-09-01T13:56:28.684" v="4019" actId="1076"/>
          <ac:spMkLst>
            <pc:docMk/>
            <pc:sldMk cId="2557956988" sldId="1300"/>
            <ac:spMk id="14" creationId="{2F661CE2-3925-4DFE-83AE-247F5177E52F}"/>
          </ac:spMkLst>
        </pc:spChg>
        <pc:spChg chg="mod">
          <ac:chgData name="Marion Spizzo" userId="43054aff-b319-44f0-be2a-97a1d91f7302" providerId="ADAL" clId="{37B54CB3-BD7E-40B0-8042-8E551ADA4A1D}" dt="2021-09-01T13:56:29.158" v="4020" actId="1076"/>
          <ac:spMkLst>
            <pc:docMk/>
            <pc:sldMk cId="2557956988" sldId="1300"/>
            <ac:spMk id="16" creationId="{B8F674EC-5DCC-4BB5-956B-96B57E5D4DF3}"/>
          </ac:spMkLst>
        </pc:spChg>
        <pc:spChg chg="mod">
          <ac:chgData name="Marion Spizzo" userId="43054aff-b319-44f0-be2a-97a1d91f7302" providerId="ADAL" clId="{37B54CB3-BD7E-40B0-8042-8E551ADA4A1D}" dt="2021-09-01T13:56:27.482" v="4016" actId="1076"/>
          <ac:spMkLst>
            <pc:docMk/>
            <pc:sldMk cId="2557956988" sldId="1300"/>
            <ac:spMk id="17" creationId="{75A1CDB7-882D-4766-A164-F6FC41D39D93}"/>
          </ac:spMkLst>
        </pc:spChg>
        <pc:spChg chg="mod">
          <ac:chgData name="Marion Spizzo" userId="43054aff-b319-44f0-be2a-97a1d91f7302" providerId="ADAL" clId="{37B54CB3-BD7E-40B0-8042-8E551ADA4A1D}" dt="2021-08-10T11:39:21.804" v="1379" actId="27636"/>
          <ac:spMkLst>
            <pc:docMk/>
            <pc:sldMk cId="2557956988" sldId="1300"/>
            <ac:spMk id="27" creationId="{82C1FBD4-E916-4C3E-BE64-6D5AB2E4B4DD}"/>
          </ac:spMkLst>
        </pc:spChg>
        <pc:picChg chg="mod">
          <ac:chgData name="Marion Spizzo" userId="43054aff-b319-44f0-be2a-97a1d91f7302" providerId="ADAL" clId="{37B54CB3-BD7E-40B0-8042-8E551ADA4A1D}" dt="2021-09-01T13:56:35.956" v="4021" actId="208"/>
          <ac:picMkLst>
            <pc:docMk/>
            <pc:sldMk cId="2557956988" sldId="1300"/>
            <ac:picMk id="5" creationId="{F570B64F-2D30-4084-B630-D10B53CABE8D}"/>
          </ac:picMkLst>
        </pc:picChg>
      </pc:sldChg>
      <pc:sldChg chg="addSp delSp modSp mod">
        <pc:chgData name="Marion Spizzo" userId="43054aff-b319-44f0-be2a-97a1d91f7302" providerId="ADAL" clId="{37B54CB3-BD7E-40B0-8042-8E551ADA4A1D}" dt="2021-08-11T11:39:18.429" v="3714" actId="1076"/>
        <pc:sldMkLst>
          <pc:docMk/>
          <pc:sldMk cId="3643150018" sldId="1302"/>
        </pc:sldMkLst>
        <pc:spChg chg="add del">
          <ac:chgData name="Marion Spizzo" userId="43054aff-b319-44f0-be2a-97a1d91f7302" providerId="ADAL" clId="{37B54CB3-BD7E-40B0-8042-8E551ADA4A1D}" dt="2021-08-11T10:01:53.030" v="2829" actId="478"/>
          <ac:spMkLst>
            <pc:docMk/>
            <pc:sldMk cId="3643150018" sldId="1302"/>
            <ac:spMk id="2" creationId="{6C75AFDA-876D-4709-8179-608FE633D442}"/>
          </ac:spMkLst>
        </pc:spChg>
        <pc:spChg chg="mod">
          <ac:chgData name="Marion Spizzo" userId="43054aff-b319-44f0-be2a-97a1d91f7302" providerId="ADAL" clId="{37B54CB3-BD7E-40B0-8042-8E551ADA4A1D}" dt="2021-08-11T11:33:58.996" v="3526" actId="14100"/>
          <ac:spMkLst>
            <pc:docMk/>
            <pc:sldMk cId="3643150018" sldId="1302"/>
            <ac:spMk id="6" creationId="{A19744FE-0122-4458-A703-1ED9355A7C5F}"/>
          </ac:spMkLst>
        </pc:spChg>
        <pc:spChg chg="mod">
          <ac:chgData name="Marion Spizzo" userId="43054aff-b319-44f0-be2a-97a1d91f7302" providerId="ADAL" clId="{37B54CB3-BD7E-40B0-8042-8E551ADA4A1D}" dt="2021-08-11T11:37:46.901" v="3581" actId="2085"/>
          <ac:spMkLst>
            <pc:docMk/>
            <pc:sldMk cId="3643150018" sldId="1302"/>
            <ac:spMk id="8" creationId="{0B99FBE0-26FA-49A4-9CEF-1339024C2F7A}"/>
          </ac:spMkLst>
        </pc:spChg>
        <pc:spChg chg="mod">
          <ac:chgData name="Marion Spizzo" userId="43054aff-b319-44f0-be2a-97a1d91f7302" providerId="ADAL" clId="{37B54CB3-BD7E-40B0-8042-8E551ADA4A1D}" dt="2021-08-11T11:36:10.727" v="3568" actId="1076"/>
          <ac:spMkLst>
            <pc:docMk/>
            <pc:sldMk cId="3643150018" sldId="1302"/>
            <ac:spMk id="9" creationId="{AD8A2925-BF12-4C3F-A74B-8C2367A8E60A}"/>
          </ac:spMkLst>
        </pc:spChg>
        <pc:spChg chg="del">
          <ac:chgData name="Marion Spizzo" userId="43054aff-b319-44f0-be2a-97a1d91f7302" providerId="ADAL" clId="{37B54CB3-BD7E-40B0-8042-8E551ADA4A1D}" dt="2021-08-11T11:20:22.345" v="3329" actId="478"/>
          <ac:spMkLst>
            <pc:docMk/>
            <pc:sldMk cId="3643150018" sldId="1302"/>
            <ac:spMk id="10" creationId="{46252018-71BE-46B9-A320-0E17CAB90630}"/>
          </ac:spMkLst>
        </pc:spChg>
        <pc:spChg chg="add mod">
          <ac:chgData name="Marion Spizzo" userId="43054aff-b319-44f0-be2a-97a1d91f7302" providerId="ADAL" clId="{37B54CB3-BD7E-40B0-8042-8E551ADA4A1D}" dt="2021-08-11T11:36:23.003" v="3571" actId="403"/>
          <ac:spMkLst>
            <pc:docMk/>
            <pc:sldMk cId="3643150018" sldId="1302"/>
            <ac:spMk id="11" creationId="{445889AB-4FAE-4A11-A432-238E4D425409}"/>
          </ac:spMkLst>
        </pc:spChg>
        <pc:spChg chg="add mod">
          <ac:chgData name="Marion Spizzo" userId="43054aff-b319-44f0-be2a-97a1d91f7302" providerId="ADAL" clId="{37B54CB3-BD7E-40B0-8042-8E551ADA4A1D}" dt="2021-08-11T11:36:32.896" v="3573" actId="14100"/>
          <ac:spMkLst>
            <pc:docMk/>
            <pc:sldMk cId="3643150018" sldId="1302"/>
            <ac:spMk id="12" creationId="{4154A83D-08F5-4978-B5BC-324BCD19DC84}"/>
          </ac:spMkLst>
        </pc:spChg>
        <pc:spChg chg="add mod">
          <ac:chgData name="Marion Spizzo" userId="43054aff-b319-44f0-be2a-97a1d91f7302" providerId="ADAL" clId="{37B54CB3-BD7E-40B0-8042-8E551ADA4A1D}" dt="2021-08-11T11:37:46.901" v="3581" actId="2085"/>
          <ac:spMkLst>
            <pc:docMk/>
            <pc:sldMk cId="3643150018" sldId="1302"/>
            <ac:spMk id="13" creationId="{FE0FEF1E-2798-46D1-ACFD-AAB211479A00}"/>
          </ac:spMkLst>
        </pc:spChg>
        <pc:spChg chg="add mod">
          <ac:chgData name="Marion Spizzo" userId="43054aff-b319-44f0-be2a-97a1d91f7302" providerId="ADAL" clId="{37B54CB3-BD7E-40B0-8042-8E551ADA4A1D}" dt="2021-08-11T11:35:21.394" v="3556" actId="1076"/>
          <ac:spMkLst>
            <pc:docMk/>
            <pc:sldMk cId="3643150018" sldId="1302"/>
            <ac:spMk id="14" creationId="{2C237937-D3B2-4E38-8356-71E22A9DDA56}"/>
          </ac:spMkLst>
        </pc:spChg>
        <pc:spChg chg="add mod">
          <ac:chgData name="Marion Spizzo" userId="43054aff-b319-44f0-be2a-97a1d91f7302" providerId="ADAL" clId="{37B54CB3-BD7E-40B0-8042-8E551ADA4A1D}" dt="2021-08-11T11:37:46.901" v="3581" actId="2085"/>
          <ac:spMkLst>
            <pc:docMk/>
            <pc:sldMk cId="3643150018" sldId="1302"/>
            <ac:spMk id="15" creationId="{AFD4F5CE-572B-42A7-BEAF-522BAFC205D0}"/>
          </ac:spMkLst>
        </pc:spChg>
        <pc:spChg chg="add del mod">
          <ac:chgData name="Marion Spizzo" userId="43054aff-b319-44f0-be2a-97a1d91f7302" providerId="ADAL" clId="{37B54CB3-BD7E-40B0-8042-8E551ADA4A1D}" dt="2021-08-11T10:06:49.642" v="3128" actId="478"/>
          <ac:spMkLst>
            <pc:docMk/>
            <pc:sldMk cId="3643150018" sldId="1302"/>
            <ac:spMk id="16" creationId="{74DE2D35-1E71-498D-984D-8F23BC7E3E7F}"/>
          </ac:spMkLst>
        </pc:spChg>
        <pc:spChg chg="add mod">
          <ac:chgData name="Marion Spizzo" userId="43054aff-b319-44f0-be2a-97a1d91f7302" providerId="ADAL" clId="{37B54CB3-BD7E-40B0-8042-8E551ADA4A1D}" dt="2021-08-11T11:37:46.901" v="3581" actId="2085"/>
          <ac:spMkLst>
            <pc:docMk/>
            <pc:sldMk cId="3643150018" sldId="1302"/>
            <ac:spMk id="17" creationId="{E58E9486-F851-4C70-A99E-F83BCCDA50DD}"/>
          </ac:spMkLst>
        </pc:spChg>
        <pc:spChg chg="add mod">
          <ac:chgData name="Marion Spizzo" userId="43054aff-b319-44f0-be2a-97a1d91f7302" providerId="ADAL" clId="{37B54CB3-BD7E-40B0-8042-8E551ADA4A1D}" dt="2021-08-11T11:37:46.901" v="3581" actId="2085"/>
          <ac:spMkLst>
            <pc:docMk/>
            <pc:sldMk cId="3643150018" sldId="1302"/>
            <ac:spMk id="18" creationId="{2E782CF3-1A14-48F1-AAD2-7C26FEA5C1D2}"/>
          </ac:spMkLst>
        </pc:spChg>
        <pc:spChg chg="add mod">
          <ac:chgData name="Marion Spizzo" userId="43054aff-b319-44f0-be2a-97a1d91f7302" providerId="ADAL" clId="{37B54CB3-BD7E-40B0-8042-8E551ADA4A1D}" dt="2021-08-11T11:37:46.901" v="3581" actId="2085"/>
          <ac:spMkLst>
            <pc:docMk/>
            <pc:sldMk cId="3643150018" sldId="1302"/>
            <ac:spMk id="19" creationId="{9FCF82FF-20D3-4072-AAA6-F17F935C2AF6}"/>
          </ac:spMkLst>
        </pc:spChg>
        <pc:spChg chg="add mod">
          <ac:chgData name="Marion Spizzo" userId="43054aff-b319-44f0-be2a-97a1d91f7302" providerId="ADAL" clId="{37B54CB3-BD7E-40B0-8042-8E551ADA4A1D}" dt="2021-08-11T11:35:56.013" v="3566" actId="1076"/>
          <ac:spMkLst>
            <pc:docMk/>
            <pc:sldMk cId="3643150018" sldId="1302"/>
            <ac:spMk id="20" creationId="{E26BD8D3-7C14-40C7-9BF5-8F39A856012F}"/>
          </ac:spMkLst>
        </pc:spChg>
        <pc:spChg chg="add mod">
          <ac:chgData name="Marion Spizzo" userId="43054aff-b319-44f0-be2a-97a1d91f7302" providerId="ADAL" clId="{37B54CB3-BD7E-40B0-8042-8E551ADA4A1D}" dt="2021-08-11T11:37:46.901" v="3581" actId="2085"/>
          <ac:spMkLst>
            <pc:docMk/>
            <pc:sldMk cId="3643150018" sldId="1302"/>
            <ac:spMk id="21" creationId="{8F79E85F-B54C-49DF-A034-7ACC49C8F0ED}"/>
          </ac:spMkLst>
        </pc:spChg>
        <pc:spChg chg="add mod">
          <ac:chgData name="Marion Spizzo" userId="43054aff-b319-44f0-be2a-97a1d91f7302" providerId="ADAL" clId="{37B54CB3-BD7E-40B0-8042-8E551ADA4A1D}" dt="2021-08-11T11:30:58.678" v="3419" actId="1076"/>
          <ac:spMkLst>
            <pc:docMk/>
            <pc:sldMk cId="3643150018" sldId="1302"/>
            <ac:spMk id="34" creationId="{C3F3B519-0675-40AC-83EB-CD7FC361B062}"/>
          </ac:spMkLst>
        </pc:spChg>
        <pc:spChg chg="add mod">
          <ac:chgData name="Marion Spizzo" userId="43054aff-b319-44f0-be2a-97a1d91f7302" providerId="ADAL" clId="{37B54CB3-BD7E-40B0-8042-8E551ADA4A1D}" dt="2021-08-11T11:37:46.901" v="3581" actId="2085"/>
          <ac:spMkLst>
            <pc:docMk/>
            <pc:sldMk cId="3643150018" sldId="1302"/>
            <ac:spMk id="70" creationId="{C14BF1F3-A38F-4047-B361-8973DBF9770A}"/>
          </ac:spMkLst>
        </pc:spChg>
        <pc:spChg chg="add mod">
          <ac:chgData name="Marion Spizzo" userId="43054aff-b319-44f0-be2a-97a1d91f7302" providerId="ADAL" clId="{37B54CB3-BD7E-40B0-8042-8E551ADA4A1D}" dt="2021-08-11T11:37:46.901" v="3581" actId="2085"/>
          <ac:spMkLst>
            <pc:docMk/>
            <pc:sldMk cId="3643150018" sldId="1302"/>
            <ac:spMk id="71" creationId="{B8C705F8-D9F5-4CD3-BBC2-3BE85E39DC64}"/>
          </ac:spMkLst>
        </pc:spChg>
        <pc:spChg chg="add mod">
          <ac:chgData name="Marion Spizzo" userId="43054aff-b319-44f0-be2a-97a1d91f7302" providerId="ADAL" clId="{37B54CB3-BD7E-40B0-8042-8E551ADA4A1D}" dt="2021-08-11T11:37:46.901" v="3581" actId="2085"/>
          <ac:spMkLst>
            <pc:docMk/>
            <pc:sldMk cId="3643150018" sldId="1302"/>
            <ac:spMk id="72" creationId="{3E26D264-9999-414F-891F-B158C75C790B}"/>
          </ac:spMkLst>
        </pc:spChg>
        <pc:spChg chg="add mod">
          <ac:chgData name="Marion Spizzo" userId="43054aff-b319-44f0-be2a-97a1d91f7302" providerId="ADAL" clId="{37B54CB3-BD7E-40B0-8042-8E551ADA4A1D}" dt="2021-08-11T11:38:18.281" v="3611" actId="20577"/>
          <ac:spMkLst>
            <pc:docMk/>
            <pc:sldMk cId="3643150018" sldId="1302"/>
            <ac:spMk id="73" creationId="{C412592D-6848-4B37-806D-D870ACD68E5C}"/>
          </ac:spMkLst>
        </pc:spChg>
        <pc:spChg chg="add mod">
          <ac:chgData name="Marion Spizzo" userId="43054aff-b319-44f0-be2a-97a1d91f7302" providerId="ADAL" clId="{37B54CB3-BD7E-40B0-8042-8E551ADA4A1D}" dt="2021-08-11T11:36:04.220" v="3567" actId="1076"/>
          <ac:spMkLst>
            <pc:docMk/>
            <pc:sldMk cId="3643150018" sldId="1302"/>
            <ac:spMk id="74" creationId="{D9A2743F-536E-4F12-B82A-7C42157CD0A3}"/>
          </ac:spMkLst>
        </pc:spChg>
        <pc:spChg chg="add mod">
          <ac:chgData name="Marion Spizzo" userId="43054aff-b319-44f0-be2a-97a1d91f7302" providerId="ADAL" clId="{37B54CB3-BD7E-40B0-8042-8E551ADA4A1D}" dt="2021-08-11T11:39:18.429" v="3714" actId="1076"/>
          <ac:spMkLst>
            <pc:docMk/>
            <pc:sldMk cId="3643150018" sldId="1302"/>
            <ac:spMk id="75" creationId="{9F7EE9AA-6D46-4BB3-A1B5-9379A03D9F79}"/>
          </ac:spMkLst>
        </pc:spChg>
        <pc:spChg chg="add mod">
          <ac:chgData name="Marion Spizzo" userId="43054aff-b319-44f0-be2a-97a1d91f7302" providerId="ADAL" clId="{37B54CB3-BD7E-40B0-8042-8E551ADA4A1D}" dt="2021-08-11T11:39:07.569" v="3713" actId="1076"/>
          <ac:spMkLst>
            <pc:docMk/>
            <pc:sldMk cId="3643150018" sldId="1302"/>
            <ac:spMk id="76" creationId="{5969D2B2-9098-4B55-B495-2795ED9F69C3}"/>
          </ac:spMkLst>
        </pc:spChg>
        <pc:spChg chg="add mod">
          <ac:chgData name="Marion Spizzo" userId="43054aff-b319-44f0-be2a-97a1d91f7302" providerId="ADAL" clId="{37B54CB3-BD7E-40B0-8042-8E551ADA4A1D}" dt="2021-08-11T11:36:16.850" v="3569" actId="1076"/>
          <ac:spMkLst>
            <pc:docMk/>
            <pc:sldMk cId="3643150018" sldId="1302"/>
            <ac:spMk id="78" creationId="{276700BC-F945-477F-BFCC-5592F1F7A051}"/>
          </ac:spMkLst>
        </pc:spChg>
        <pc:spChg chg="add mod">
          <ac:chgData name="Marion Spizzo" userId="43054aff-b319-44f0-be2a-97a1d91f7302" providerId="ADAL" clId="{37B54CB3-BD7E-40B0-8042-8E551ADA4A1D}" dt="2021-08-11T11:36:20.284" v="3570" actId="1076"/>
          <ac:spMkLst>
            <pc:docMk/>
            <pc:sldMk cId="3643150018" sldId="1302"/>
            <ac:spMk id="79" creationId="{83286329-C253-4FB0-AC38-25253DE53117}"/>
          </ac:spMkLst>
        </pc:spChg>
        <pc:spChg chg="add mod">
          <ac:chgData name="Marion Spizzo" userId="43054aff-b319-44f0-be2a-97a1d91f7302" providerId="ADAL" clId="{37B54CB3-BD7E-40B0-8042-8E551ADA4A1D}" dt="2021-08-11T11:37:57.223" v="3582" actId="1076"/>
          <ac:spMkLst>
            <pc:docMk/>
            <pc:sldMk cId="3643150018" sldId="1302"/>
            <ac:spMk id="80" creationId="{9C70924D-8053-43F5-AA6A-1A3381AA49C7}"/>
          </ac:spMkLst>
        </pc:spChg>
        <pc:spChg chg="add mod">
          <ac:chgData name="Marion Spizzo" userId="43054aff-b319-44f0-be2a-97a1d91f7302" providerId="ADAL" clId="{37B54CB3-BD7E-40B0-8042-8E551ADA4A1D}" dt="2021-08-11T11:37:01.641" v="3579" actId="1076"/>
          <ac:spMkLst>
            <pc:docMk/>
            <pc:sldMk cId="3643150018" sldId="1302"/>
            <ac:spMk id="194" creationId="{A5D2FEA7-8DA4-458A-B18E-E2081FB5C2B8}"/>
          </ac:spMkLst>
        </pc:spChg>
        <pc:cxnChg chg="add mod">
          <ac:chgData name="Marion Spizzo" userId="43054aff-b319-44f0-be2a-97a1d91f7302" providerId="ADAL" clId="{37B54CB3-BD7E-40B0-8042-8E551ADA4A1D}" dt="2021-08-11T11:36:10.727" v="3568" actId="1076"/>
          <ac:cxnSpMkLst>
            <pc:docMk/>
            <pc:sldMk cId="3643150018" sldId="1302"/>
            <ac:cxnSpMk id="5" creationId="{93497915-CEF0-4B15-BE39-962E6551E48D}"/>
          </ac:cxnSpMkLst>
        </pc:cxnChg>
        <pc:cxnChg chg="add mod">
          <ac:chgData name="Marion Spizzo" userId="43054aff-b319-44f0-be2a-97a1d91f7302" providerId="ADAL" clId="{37B54CB3-BD7E-40B0-8042-8E551ADA4A1D}" dt="2021-08-11T11:35:19.054" v="3555" actId="14100"/>
          <ac:cxnSpMkLst>
            <pc:docMk/>
            <pc:sldMk cId="3643150018" sldId="1302"/>
            <ac:cxnSpMk id="22" creationId="{5C4E7732-081A-413D-8080-6B0A130C1AB1}"/>
          </ac:cxnSpMkLst>
        </pc:cxnChg>
        <pc:cxnChg chg="add mod">
          <ac:chgData name="Marion Spizzo" userId="43054aff-b319-44f0-be2a-97a1d91f7302" providerId="ADAL" clId="{37B54CB3-BD7E-40B0-8042-8E551ADA4A1D}" dt="2021-08-11T11:35:24.613" v="3557" actId="1076"/>
          <ac:cxnSpMkLst>
            <pc:docMk/>
            <pc:sldMk cId="3643150018" sldId="1302"/>
            <ac:cxnSpMk id="25" creationId="{E94B2208-76CD-42BE-BD4C-ABD4692319C5}"/>
          </ac:cxnSpMkLst>
        </pc:cxnChg>
        <pc:cxnChg chg="add mod">
          <ac:chgData name="Marion Spizzo" userId="43054aff-b319-44f0-be2a-97a1d91f7302" providerId="ADAL" clId="{37B54CB3-BD7E-40B0-8042-8E551ADA4A1D}" dt="2021-08-11T11:35:21.394" v="3556" actId="1076"/>
          <ac:cxnSpMkLst>
            <pc:docMk/>
            <pc:sldMk cId="3643150018" sldId="1302"/>
            <ac:cxnSpMk id="26" creationId="{2DB85002-5EBA-4459-9634-CE1BB90871FF}"/>
          </ac:cxnSpMkLst>
        </pc:cxnChg>
        <pc:cxnChg chg="add del mod">
          <ac:chgData name="Marion Spizzo" userId="43054aff-b319-44f0-be2a-97a1d91f7302" providerId="ADAL" clId="{37B54CB3-BD7E-40B0-8042-8E551ADA4A1D}" dt="2021-08-11T10:09:30.695" v="3172" actId="478"/>
          <ac:cxnSpMkLst>
            <pc:docMk/>
            <pc:sldMk cId="3643150018" sldId="1302"/>
            <ac:cxnSpMk id="36" creationId="{7F9C1707-959A-4C5D-A414-A517EA4F8CED}"/>
          </ac:cxnSpMkLst>
        </pc:cxnChg>
        <pc:cxnChg chg="add mod">
          <ac:chgData name="Marion Spizzo" userId="43054aff-b319-44f0-be2a-97a1d91f7302" providerId="ADAL" clId="{37B54CB3-BD7E-40B0-8042-8E551ADA4A1D}" dt="2021-08-11T11:35:30.735" v="3559" actId="14100"/>
          <ac:cxnSpMkLst>
            <pc:docMk/>
            <pc:sldMk cId="3643150018" sldId="1302"/>
            <ac:cxnSpMk id="37" creationId="{8F0183E4-B10B-493F-852B-9997EFFFD8B7}"/>
          </ac:cxnSpMkLst>
        </pc:cxnChg>
        <pc:cxnChg chg="add mod">
          <ac:chgData name="Marion Spizzo" userId="43054aff-b319-44f0-be2a-97a1d91f7302" providerId="ADAL" clId="{37B54CB3-BD7E-40B0-8042-8E551ADA4A1D}" dt="2021-08-11T11:35:45.402" v="3564" actId="14100"/>
          <ac:cxnSpMkLst>
            <pc:docMk/>
            <pc:sldMk cId="3643150018" sldId="1302"/>
            <ac:cxnSpMk id="40" creationId="{B46E2F07-A98E-4BAC-8CA2-EBEC3C169DF4}"/>
          </ac:cxnSpMkLst>
        </pc:cxnChg>
        <pc:cxnChg chg="add mod">
          <ac:chgData name="Marion Spizzo" userId="43054aff-b319-44f0-be2a-97a1d91f7302" providerId="ADAL" clId="{37B54CB3-BD7E-40B0-8042-8E551ADA4A1D}" dt="2021-08-11T11:35:35.739" v="3561" actId="14100"/>
          <ac:cxnSpMkLst>
            <pc:docMk/>
            <pc:sldMk cId="3643150018" sldId="1302"/>
            <ac:cxnSpMk id="41" creationId="{52D9D6A5-DE5E-48AD-92AA-E075A22A5378}"/>
          </ac:cxnSpMkLst>
        </pc:cxnChg>
        <pc:cxnChg chg="add mod">
          <ac:chgData name="Marion Spizzo" userId="43054aff-b319-44f0-be2a-97a1d91f7302" providerId="ADAL" clId="{37B54CB3-BD7E-40B0-8042-8E551ADA4A1D}" dt="2021-08-11T11:35:48.536" v="3565" actId="14100"/>
          <ac:cxnSpMkLst>
            <pc:docMk/>
            <pc:sldMk cId="3643150018" sldId="1302"/>
            <ac:cxnSpMk id="46" creationId="{A70D9D72-4FDD-4274-862E-6928BEDB93E3}"/>
          </ac:cxnSpMkLst>
        </pc:cxnChg>
        <pc:cxnChg chg="add mod">
          <ac:chgData name="Marion Spizzo" userId="43054aff-b319-44f0-be2a-97a1d91f7302" providerId="ADAL" clId="{37B54CB3-BD7E-40B0-8042-8E551ADA4A1D}" dt="2021-08-11T11:35:56.013" v="3566" actId="1076"/>
          <ac:cxnSpMkLst>
            <pc:docMk/>
            <pc:sldMk cId="3643150018" sldId="1302"/>
            <ac:cxnSpMk id="50" creationId="{C95CF4EC-21C5-4A30-92E3-3EADBB4C5840}"/>
          </ac:cxnSpMkLst>
        </pc:cxnChg>
        <pc:cxnChg chg="add mod">
          <ac:chgData name="Marion Spizzo" userId="43054aff-b319-44f0-be2a-97a1d91f7302" providerId="ADAL" clId="{37B54CB3-BD7E-40B0-8042-8E551ADA4A1D}" dt="2021-08-11T11:32:30.491" v="3478" actId="1076"/>
          <ac:cxnSpMkLst>
            <pc:docMk/>
            <pc:sldMk cId="3643150018" sldId="1302"/>
            <ac:cxnSpMk id="81" creationId="{46F962C5-5441-460B-82EB-51C4747D96E8}"/>
          </ac:cxnSpMkLst>
        </pc:cxnChg>
        <pc:cxnChg chg="add mod">
          <ac:chgData name="Marion Spizzo" userId="43054aff-b319-44f0-be2a-97a1d91f7302" providerId="ADAL" clId="{37B54CB3-BD7E-40B0-8042-8E551ADA4A1D}" dt="2021-08-11T11:33:23.923" v="3490" actId="14100"/>
          <ac:cxnSpMkLst>
            <pc:docMk/>
            <pc:sldMk cId="3643150018" sldId="1302"/>
            <ac:cxnSpMk id="84" creationId="{8FD29535-A610-4341-863A-1AEC21319252}"/>
          </ac:cxnSpMkLst>
        </pc:cxnChg>
        <pc:cxnChg chg="add mod">
          <ac:chgData name="Marion Spizzo" userId="43054aff-b319-44f0-be2a-97a1d91f7302" providerId="ADAL" clId="{37B54CB3-BD7E-40B0-8042-8E551ADA4A1D}" dt="2021-08-11T11:33:28.110" v="3492" actId="14100"/>
          <ac:cxnSpMkLst>
            <pc:docMk/>
            <pc:sldMk cId="3643150018" sldId="1302"/>
            <ac:cxnSpMk id="87" creationId="{FFC0DFD3-B9FE-47C7-AABA-C91E44EECECB}"/>
          </ac:cxnSpMkLst>
        </pc:cxnChg>
        <pc:cxnChg chg="add mod">
          <ac:chgData name="Marion Spizzo" userId="43054aff-b319-44f0-be2a-97a1d91f7302" providerId="ADAL" clId="{37B54CB3-BD7E-40B0-8042-8E551ADA4A1D}" dt="2021-08-11T11:37:15.208" v="3580" actId="1076"/>
          <ac:cxnSpMkLst>
            <pc:docMk/>
            <pc:sldMk cId="3643150018" sldId="1302"/>
            <ac:cxnSpMk id="90" creationId="{70F9DD06-5524-4C4A-B0C9-81BB5E33ADC2}"/>
          </ac:cxnSpMkLst>
        </pc:cxnChg>
        <pc:cxnChg chg="add mod">
          <ac:chgData name="Marion Spizzo" userId="43054aff-b319-44f0-be2a-97a1d91f7302" providerId="ADAL" clId="{37B54CB3-BD7E-40B0-8042-8E551ADA4A1D}" dt="2021-08-11T11:37:15.208" v="3580" actId="1076"/>
          <ac:cxnSpMkLst>
            <pc:docMk/>
            <pc:sldMk cId="3643150018" sldId="1302"/>
            <ac:cxnSpMk id="93" creationId="{B5B82215-9158-4F27-A92E-9FB1D3BA3090}"/>
          </ac:cxnSpMkLst>
        </pc:cxnChg>
        <pc:cxnChg chg="add mod">
          <ac:chgData name="Marion Spizzo" userId="43054aff-b319-44f0-be2a-97a1d91f7302" providerId="ADAL" clId="{37B54CB3-BD7E-40B0-8042-8E551ADA4A1D}" dt="2021-08-11T11:39:18.429" v="3714" actId="1076"/>
          <ac:cxnSpMkLst>
            <pc:docMk/>
            <pc:sldMk cId="3643150018" sldId="1302"/>
            <ac:cxnSpMk id="195" creationId="{ABC0EB58-A9CB-47B4-8E66-4E7543797FDE}"/>
          </ac:cxnSpMkLst>
        </pc:cxnChg>
        <pc:cxnChg chg="add mod">
          <ac:chgData name="Marion Spizzo" userId="43054aff-b319-44f0-be2a-97a1d91f7302" providerId="ADAL" clId="{37B54CB3-BD7E-40B0-8042-8E551ADA4A1D}" dt="2021-08-11T11:39:18.429" v="3714" actId="1076"/>
          <ac:cxnSpMkLst>
            <pc:docMk/>
            <pc:sldMk cId="3643150018" sldId="1302"/>
            <ac:cxnSpMk id="199" creationId="{B9B18DAB-BBD7-440B-ABAE-075C2E59F1B2}"/>
          </ac:cxnSpMkLst>
        </pc:cxnChg>
        <pc:cxnChg chg="add mod">
          <ac:chgData name="Marion Spizzo" userId="43054aff-b319-44f0-be2a-97a1d91f7302" providerId="ADAL" clId="{37B54CB3-BD7E-40B0-8042-8E551ADA4A1D}" dt="2021-08-11T11:39:07.569" v="3713" actId="1076"/>
          <ac:cxnSpMkLst>
            <pc:docMk/>
            <pc:sldMk cId="3643150018" sldId="1302"/>
            <ac:cxnSpMk id="202" creationId="{3D972400-1993-40E6-A0E2-546C086E6835}"/>
          </ac:cxnSpMkLst>
        </pc:cxnChg>
      </pc:sldChg>
      <pc:sldChg chg="addSp delSp modSp new del mod">
        <pc:chgData name="Marion Spizzo" userId="43054aff-b319-44f0-be2a-97a1d91f7302" providerId="ADAL" clId="{37B54CB3-BD7E-40B0-8042-8E551ADA4A1D}" dt="2021-08-10T14:39:04.227" v="1613" actId="2696"/>
        <pc:sldMkLst>
          <pc:docMk/>
          <pc:sldMk cId="1281491201" sldId="1308"/>
        </pc:sldMkLst>
        <pc:spChg chg="del">
          <ac:chgData name="Marion Spizzo" userId="43054aff-b319-44f0-be2a-97a1d91f7302" providerId="ADAL" clId="{37B54CB3-BD7E-40B0-8042-8E551ADA4A1D}" dt="2021-08-10T14:26:13.223" v="1601" actId="478"/>
          <ac:spMkLst>
            <pc:docMk/>
            <pc:sldMk cId="1281491201" sldId="1308"/>
            <ac:spMk id="3" creationId="{6D353041-4BF9-4DA2-8C95-D8F635310131}"/>
          </ac:spMkLst>
        </pc:spChg>
        <pc:picChg chg="add mod">
          <ac:chgData name="Marion Spizzo" userId="43054aff-b319-44f0-be2a-97a1d91f7302" providerId="ADAL" clId="{37B54CB3-BD7E-40B0-8042-8E551ADA4A1D}" dt="2021-08-10T14:38:58.774" v="1612" actId="1076"/>
          <ac:picMkLst>
            <pc:docMk/>
            <pc:sldMk cId="1281491201" sldId="1308"/>
            <ac:picMk id="6" creationId="{418FFDC5-530F-4E6E-B5E3-FF3CF5FE63C0}"/>
          </ac:picMkLst>
        </pc:picChg>
        <pc:picChg chg="add mod">
          <ac:chgData name="Marion Spizzo" userId="43054aff-b319-44f0-be2a-97a1d91f7302" providerId="ADAL" clId="{37B54CB3-BD7E-40B0-8042-8E551ADA4A1D}" dt="2021-08-10T14:38:57.255" v="1611" actId="1076"/>
          <ac:picMkLst>
            <pc:docMk/>
            <pc:sldMk cId="1281491201" sldId="1308"/>
            <ac:picMk id="8" creationId="{C2DE37C4-6EA8-4E52-849B-C23EA4F30247}"/>
          </ac:picMkLst>
        </pc:picChg>
      </pc:sldChg>
      <pc:sldChg chg="addSp delSp modSp new del mod modAnim">
        <pc:chgData name="Marion Spizzo" userId="43054aff-b319-44f0-be2a-97a1d91f7302" providerId="ADAL" clId="{37B54CB3-BD7E-40B0-8042-8E551ADA4A1D}" dt="2021-08-11T07:17:54.183" v="2386" actId="2696"/>
        <pc:sldMkLst>
          <pc:docMk/>
          <pc:sldMk cId="3999909318" sldId="1310"/>
        </pc:sldMkLst>
        <pc:spChg chg="del">
          <ac:chgData name="Marion Spizzo" userId="43054aff-b319-44f0-be2a-97a1d91f7302" providerId="ADAL" clId="{37B54CB3-BD7E-40B0-8042-8E551ADA4A1D}" dt="2021-08-11T07:12:55.318" v="2333" actId="478"/>
          <ac:spMkLst>
            <pc:docMk/>
            <pc:sldMk cId="3999909318" sldId="1310"/>
            <ac:spMk id="3" creationId="{28EAA9E6-8DCD-409D-9776-5634B0D29B9B}"/>
          </ac:spMkLst>
        </pc:spChg>
        <pc:spChg chg="mod">
          <ac:chgData name="Marion Spizzo" userId="43054aff-b319-44f0-be2a-97a1d91f7302" providerId="ADAL" clId="{37B54CB3-BD7E-40B0-8042-8E551ADA4A1D}" dt="2021-08-11T07:15:35.506" v="2353" actId="27636"/>
          <ac:spMkLst>
            <pc:docMk/>
            <pc:sldMk cId="3999909318" sldId="1310"/>
            <ac:spMk id="4" creationId="{DB96EBE1-E4C2-406D-8E38-A20FA57DF9F3}"/>
          </ac:spMkLst>
        </pc:spChg>
        <pc:spChg chg="add mod">
          <ac:chgData name="Marion Spizzo" userId="43054aff-b319-44f0-be2a-97a1d91f7302" providerId="ADAL" clId="{37B54CB3-BD7E-40B0-8042-8E551ADA4A1D}" dt="2021-08-11T07:16:58.485" v="2373" actId="164"/>
          <ac:spMkLst>
            <pc:docMk/>
            <pc:sldMk cId="3999909318" sldId="1310"/>
            <ac:spMk id="15" creationId="{6038CE7D-B7E9-40C8-9FD6-2F83B213E097}"/>
          </ac:spMkLst>
        </pc:spChg>
        <pc:spChg chg="add mod">
          <ac:chgData name="Marion Spizzo" userId="43054aff-b319-44f0-be2a-97a1d91f7302" providerId="ADAL" clId="{37B54CB3-BD7E-40B0-8042-8E551ADA4A1D}" dt="2021-08-11T07:16:58.485" v="2373" actId="164"/>
          <ac:spMkLst>
            <pc:docMk/>
            <pc:sldMk cId="3999909318" sldId="1310"/>
            <ac:spMk id="16" creationId="{00F4289B-14DF-46F4-BA51-4801757D6927}"/>
          </ac:spMkLst>
        </pc:spChg>
        <pc:grpChg chg="add mod">
          <ac:chgData name="Marion Spizzo" userId="43054aff-b319-44f0-be2a-97a1d91f7302" providerId="ADAL" clId="{37B54CB3-BD7E-40B0-8042-8E551ADA4A1D}" dt="2021-08-11T07:17:00.340" v="2374" actId="1076"/>
          <ac:grpSpMkLst>
            <pc:docMk/>
            <pc:sldMk cId="3999909318" sldId="1310"/>
            <ac:grpSpMk id="18" creationId="{4F0A40B8-F7E4-40FC-990C-AC20D35D6335}"/>
          </ac:grpSpMkLst>
        </pc:grpChg>
        <pc:picChg chg="add mod">
          <ac:chgData name="Marion Spizzo" userId="43054aff-b319-44f0-be2a-97a1d91f7302" providerId="ADAL" clId="{37B54CB3-BD7E-40B0-8042-8E551ADA4A1D}" dt="2021-08-11T07:16:58.485" v="2373" actId="164"/>
          <ac:picMkLst>
            <pc:docMk/>
            <pc:sldMk cId="3999909318" sldId="1310"/>
            <ac:picMk id="6" creationId="{D6E04A28-64E3-4127-84F6-4957837EAA86}"/>
          </ac:picMkLst>
        </pc:picChg>
        <pc:picChg chg="add mod">
          <ac:chgData name="Marion Spizzo" userId="43054aff-b319-44f0-be2a-97a1d91f7302" providerId="ADAL" clId="{37B54CB3-BD7E-40B0-8042-8E551ADA4A1D}" dt="2021-08-11T07:15:21.168" v="2349" actId="1076"/>
          <ac:picMkLst>
            <pc:docMk/>
            <pc:sldMk cId="3999909318" sldId="1310"/>
            <ac:picMk id="8" creationId="{7F127916-CFF4-4787-AA5A-9BD7CC7C5A8F}"/>
          </ac:picMkLst>
        </pc:picChg>
        <pc:picChg chg="add mod">
          <ac:chgData name="Marion Spizzo" userId="43054aff-b319-44f0-be2a-97a1d91f7302" providerId="ADAL" clId="{37B54CB3-BD7E-40B0-8042-8E551ADA4A1D}" dt="2021-08-11T07:15:20.490" v="2348" actId="1076"/>
          <ac:picMkLst>
            <pc:docMk/>
            <pc:sldMk cId="3999909318" sldId="1310"/>
            <ac:picMk id="10" creationId="{B0CF6130-FCDB-4856-94F9-5DC5C42C3AC7}"/>
          </ac:picMkLst>
        </pc:picChg>
        <pc:picChg chg="add mod">
          <ac:chgData name="Marion Spizzo" userId="43054aff-b319-44f0-be2a-97a1d91f7302" providerId="ADAL" clId="{37B54CB3-BD7E-40B0-8042-8E551ADA4A1D}" dt="2021-08-11T07:15:19.742" v="2347" actId="1076"/>
          <ac:picMkLst>
            <pc:docMk/>
            <pc:sldMk cId="3999909318" sldId="1310"/>
            <ac:picMk id="12" creationId="{C7FA157C-EF3F-4920-A16C-535EE3724ABA}"/>
          </ac:picMkLst>
        </pc:picChg>
        <pc:picChg chg="add mod">
          <ac:chgData name="Marion Spizzo" userId="43054aff-b319-44f0-be2a-97a1d91f7302" providerId="ADAL" clId="{37B54CB3-BD7E-40B0-8042-8E551ADA4A1D}" dt="2021-08-11T07:15:19.173" v="2346" actId="1076"/>
          <ac:picMkLst>
            <pc:docMk/>
            <pc:sldMk cId="3999909318" sldId="1310"/>
            <ac:picMk id="14" creationId="{399D5AB5-BCC0-4966-88B2-1376BEE4D60E}"/>
          </ac:picMkLst>
        </pc:picChg>
        <pc:cxnChg chg="add mod">
          <ac:chgData name="Marion Spizzo" userId="43054aff-b319-44f0-be2a-97a1d91f7302" providerId="ADAL" clId="{37B54CB3-BD7E-40B0-8042-8E551ADA4A1D}" dt="2021-08-11T07:16:58.485" v="2373" actId="164"/>
          <ac:cxnSpMkLst>
            <pc:docMk/>
            <pc:sldMk cId="3999909318" sldId="1310"/>
            <ac:cxnSpMk id="17" creationId="{0AEE1CA1-EA7D-4FF7-9507-DA9C8B421DAE}"/>
          </ac:cxnSpMkLst>
        </pc:cxnChg>
      </pc:sldChg>
      <pc:sldChg chg="addSp delSp modSp add del mod delAnim modAnim">
        <pc:chgData name="Marion Spizzo" userId="43054aff-b319-44f0-be2a-97a1d91f7302" providerId="ADAL" clId="{37B54CB3-BD7E-40B0-8042-8E551ADA4A1D}" dt="2021-08-11T07:36:57.532" v="2582" actId="2696"/>
        <pc:sldMkLst>
          <pc:docMk/>
          <pc:sldMk cId="255631792" sldId="1311"/>
        </pc:sldMkLst>
        <pc:spChg chg="mod topLvl">
          <ac:chgData name="Marion Spizzo" userId="43054aff-b319-44f0-be2a-97a1d91f7302" providerId="ADAL" clId="{37B54CB3-BD7E-40B0-8042-8E551ADA4A1D}" dt="2021-08-11T07:21:09.270" v="2437" actId="14100"/>
          <ac:spMkLst>
            <pc:docMk/>
            <pc:sldMk cId="255631792" sldId="1311"/>
            <ac:spMk id="19" creationId="{BE99E9AA-0965-4022-ABC9-17826C2DAC8B}"/>
          </ac:spMkLst>
        </pc:spChg>
        <pc:spChg chg="mod topLvl">
          <ac:chgData name="Marion Spizzo" userId="43054aff-b319-44f0-be2a-97a1d91f7302" providerId="ADAL" clId="{37B54CB3-BD7E-40B0-8042-8E551ADA4A1D}" dt="2021-08-11T07:21:03.719" v="2435" actId="14100"/>
          <ac:spMkLst>
            <pc:docMk/>
            <pc:sldMk cId="255631792" sldId="1311"/>
            <ac:spMk id="20" creationId="{4DFD344F-AC03-4E69-9480-0C6324070FCE}"/>
          </ac:spMkLst>
        </pc:spChg>
        <pc:spChg chg="del">
          <ac:chgData name="Marion Spizzo" userId="43054aff-b319-44f0-be2a-97a1d91f7302" providerId="ADAL" clId="{37B54CB3-BD7E-40B0-8042-8E551ADA4A1D}" dt="2021-08-11T07:17:45.038" v="2384" actId="478"/>
          <ac:spMkLst>
            <pc:docMk/>
            <pc:sldMk cId="255631792" sldId="1311"/>
            <ac:spMk id="26" creationId="{63A76643-A8A7-48A6-919F-A27C31F8FBD7}"/>
          </ac:spMkLst>
        </pc:spChg>
        <pc:spChg chg="del">
          <ac:chgData name="Marion Spizzo" userId="43054aff-b319-44f0-be2a-97a1d91f7302" providerId="ADAL" clId="{37B54CB3-BD7E-40B0-8042-8E551ADA4A1D}" dt="2021-08-11T07:17:41.012" v="2381" actId="478"/>
          <ac:spMkLst>
            <pc:docMk/>
            <pc:sldMk cId="255631792" sldId="1311"/>
            <ac:spMk id="27" creationId="{557B45A6-63CA-4C53-AAB7-FDAB73D55EFC}"/>
          </ac:spMkLst>
        </pc:spChg>
        <pc:spChg chg="del">
          <ac:chgData name="Marion Spizzo" userId="43054aff-b319-44f0-be2a-97a1d91f7302" providerId="ADAL" clId="{37B54CB3-BD7E-40B0-8042-8E551ADA4A1D}" dt="2021-08-11T07:17:42.181" v="2383" actId="478"/>
          <ac:spMkLst>
            <pc:docMk/>
            <pc:sldMk cId="255631792" sldId="1311"/>
            <ac:spMk id="30" creationId="{01759D49-D550-4254-8448-3A8E7C85A6AD}"/>
          </ac:spMkLst>
        </pc:spChg>
        <pc:spChg chg="del">
          <ac:chgData name="Marion Spizzo" userId="43054aff-b319-44f0-be2a-97a1d91f7302" providerId="ADAL" clId="{37B54CB3-BD7E-40B0-8042-8E551ADA4A1D}" dt="2021-08-11T07:17:41.797" v="2382" actId="478"/>
          <ac:spMkLst>
            <pc:docMk/>
            <pc:sldMk cId="255631792" sldId="1311"/>
            <ac:spMk id="33" creationId="{32CEC1CF-8157-4D51-AD42-43B535D6C23C}"/>
          </ac:spMkLst>
        </pc:spChg>
        <pc:spChg chg="mod">
          <ac:chgData name="Marion Spizzo" userId="43054aff-b319-44f0-be2a-97a1d91f7302" providerId="ADAL" clId="{37B54CB3-BD7E-40B0-8042-8E551ADA4A1D}" dt="2021-08-11T07:18:22.252" v="2394"/>
          <ac:spMkLst>
            <pc:docMk/>
            <pc:sldMk cId="255631792" sldId="1311"/>
            <ac:spMk id="39" creationId="{3F6A511C-6CF5-40C9-A43A-EE144FF2AD7D}"/>
          </ac:spMkLst>
        </pc:spChg>
        <pc:spChg chg="mod">
          <ac:chgData name="Marion Spizzo" userId="43054aff-b319-44f0-be2a-97a1d91f7302" providerId="ADAL" clId="{37B54CB3-BD7E-40B0-8042-8E551ADA4A1D}" dt="2021-08-11T07:18:22.252" v="2394"/>
          <ac:spMkLst>
            <pc:docMk/>
            <pc:sldMk cId="255631792" sldId="1311"/>
            <ac:spMk id="40" creationId="{EF7FAD2F-F2C0-4E81-9D21-A83819B279BE}"/>
          </ac:spMkLst>
        </pc:spChg>
        <pc:spChg chg="add mod topLvl">
          <ac:chgData name="Marion Spizzo" userId="43054aff-b319-44f0-be2a-97a1d91f7302" providerId="ADAL" clId="{37B54CB3-BD7E-40B0-8042-8E551ADA4A1D}" dt="2021-08-11T07:22:19.575" v="2459" actId="14100"/>
          <ac:spMkLst>
            <pc:docMk/>
            <pc:sldMk cId="255631792" sldId="1311"/>
            <ac:spMk id="42" creationId="{A4770149-5E05-4188-B3AE-8036B3B69A74}"/>
          </ac:spMkLst>
        </pc:spChg>
        <pc:spChg chg="add mod ord">
          <ac:chgData name="Marion Spizzo" userId="43054aff-b319-44f0-be2a-97a1d91f7302" providerId="ADAL" clId="{37B54CB3-BD7E-40B0-8042-8E551ADA4A1D}" dt="2021-08-11T07:23:21.335" v="2484" actId="1037"/>
          <ac:spMkLst>
            <pc:docMk/>
            <pc:sldMk cId="255631792" sldId="1311"/>
            <ac:spMk id="44" creationId="{74B61613-C481-4813-B90A-377B6103F6F7}"/>
          </ac:spMkLst>
        </pc:spChg>
        <pc:grpChg chg="add del mod">
          <ac:chgData name="Marion Spizzo" userId="43054aff-b319-44f0-be2a-97a1d91f7302" providerId="ADAL" clId="{37B54CB3-BD7E-40B0-8042-8E551ADA4A1D}" dt="2021-08-11T07:20:01.141" v="2412" actId="165"/>
          <ac:grpSpMkLst>
            <pc:docMk/>
            <pc:sldMk cId="255631792" sldId="1311"/>
            <ac:grpSpMk id="3" creationId="{C64C79DE-83A6-49E6-8E34-C30CF4FBE10D}"/>
          </ac:grpSpMkLst>
        </pc:grpChg>
        <pc:grpChg chg="add del mod ord">
          <ac:chgData name="Marion Spizzo" userId="43054aff-b319-44f0-be2a-97a1d91f7302" providerId="ADAL" clId="{37B54CB3-BD7E-40B0-8042-8E551ADA4A1D}" dt="2021-08-11T07:22:08.353" v="2456" actId="165"/>
          <ac:grpSpMkLst>
            <pc:docMk/>
            <pc:sldMk cId="255631792" sldId="1311"/>
            <ac:grpSpMk id="4" creationId="{B84DAB24-BE0E-483B-A35C-3B7881204B4F}"/>
          </ac:grpSpMkLst>
        </pc:grpChg>
        <pc:grpChg chg="add del mod">
          <ac:chgData name="Marion Spizzo" userId="43054aff-b319-44f0-be2a-97a1d91f7302" providerId="ADAL" clId="{37B54CB3-BD7E-40B0-8042-8E551ADA4A1D}" dt="2021-08-11T07:18:30.374" v="2396" actId="165"/>
          <ac:grpSpMkLst>
            <pc:docMk/>
            <pc:sldMk cId="255631792" sldId="1311"/>
            <ac:grpSpMk id="17" creationId="{4BD771F0-1B58-4FF8-BAF8-1F201FEE0600}"/>
          </ac:grpSpMkLst>
        </pc:grpChg>
        <pc:grpChg chg="add del mod">
          <ac:chgData name="Marion Spizzo" userId="43054aff-b319-44f0-be2a-97a1d91f7302" providerId="ADAL" clId="{37B54CB3-BD7E-40B0-8042-8E551ADA4A1D}" dt="2021-08-11T07:18:24.708" v="2395"/>
          <ac:grpSpMkLst>
            <pc:docMk/>
            <pc:sldMk cId="255631792" sldId="1311"/>
            <ac:grpSpMk id="37" creationId="{B671EBC1-18D7-4A0D-8396-8A42C374F1E6}"/>
          </ac:grpSpMkLst>
        </pc:grpChg>
        <pc:picChg chg="add mod ord">
          <ac:chgData name="Marion Spizzo" userId="43054aff-b319-44f0-be2a-97a1d91f7302" providerId="ADAL" clId="{37B54CB3-BD7E-40B0-8042-8E551ADA4A1D}" dt="2021-08-11T07:21:46.810" v="2447" actId="1076"/>
          <ac:picMkLst>
            <pc:docMk/>
            <pc:sldMk cId="255631792" sldId="1311"/>
            <ac:picMk id="13" creationId="{1F4F4DC7-5E10-458C-8C9F-25085130BCDE}"/>
          </ac:picMkLst>
        </pc:picChg>
        <pc:picChg chg="add mod ord topLvl">
          <ac:chgData name="Marion Spizzo" userId="43054aff-b319-44f0-be2a-97a1d91f7302" providerId="ADAL" clId="{37B54CB3-BD7E-40B0-8042-8E551ADA4A1D}" dt="2021-08-11T07:22:51.827" v="2469" actId="14100"/>
          <ac:picMkLst>
            <pc:docMk/>
            <pc:sldMk cId="255631792" sldId="1311"/>
            <ac:picMk id="14" creationId="{5EB3329F-8AD9-4A5D-94C2-496A5367A4F4}"/>
          </ac:picMkLst>
        </pc:picChg>
        <pc:picChg chg="add mod ord">
          <ac:chgData name="Marion Spizzo" userId="43054aff-b319-44f0-be2a-97a1d91f7302" providerId="ADAL" clId="{37B54CB3-BD7E-40B0-8042-8E551ADA4A1D}" dt="2021-08-11T07:35:15.632" v="2562" actId="1076"/>
          <ac:picMkLst>
            <pc:docMk/>
            <pc:sldMk cId="255631792" sldId="1311"/>
            <ac:picMk id="15" creationId="{8F226494-C388-48A7-B3AC-2D1663323A1A}"/>
          </ac:picMkLst>
        </pc:picChg>
        <pc:picChg chg="add mod">
          <ac:chgData name="Marion Spizzo" userId="43054aff-b319-44f0-be2a-97a1d91f7302" providerId="ADAL" clId="{37B54CB3-BD7E-40B0-8042-8E551ADA4A1D}" dt="2021-08-11T07:23:29.665" v="2486" actId="1076"/>
          <ac:picMkLst>
            <pc:docMk/>
            <pc:sldMk cId="255631792" sldId="1311"/>
            <ac:picMk id="16" creationId="{EC3EEA5B-1444-426B-9470-9423ED85C871}"/>
          </ac:picMkLst>
        </pc:picChg>
        <pc:picChg chg="mod topLvl">
          <ac:chgData name="Marion Spizzo" userId="43054aff-b319-44f0-be2a-97a1d91f7302" providerId="ADAL" clId="{37B54CB3-BD7E-40B0-8042-8E551ADA4A1D}" dt="2021-08-11T07:20:55.174" v="2433" actId="1076"/>
          <ac:picMkLst>
            <pc:docMk/>
            <pc:sldMk cId="255631792" sldId="1311"/>
            <ac:picMk id="18" creationId="{2F08D813-AA4A-4614-B758-4C2409F433EA}"/>
          </ac:picMkLst>
        </pc:picChg>
        <pc:picChg chg="add del mod">
          <ac:chgData name="Marion Spizzo" userId="43054aff-b319-44f0-be2a-97a1d91f7302" providerId="ADAL" clId="{37B54CB3-BD7E-40B0-8042-8E551ADA4A1D}" dt="2021-08-11T07:18:24.708" v="2395"/>
          <ac:picMkLst>
            <pc:docMk/>
            <pc:sldMk cId="255631792" sldId="1311"/>
            <ac:picMk id="23" creationId="{014CBAF8-0844-415C-B59A-C09CDB4C14CF}"/>
          </ac:picMkLst>
        </pc:picChg>
        <pc:picChg chg="del">
          <ac:chgData name="Marion Spizzo" userId="43054aff-b319-44f0-be2a-97a1d91f7302" providerId="ADAL" clId="{37B54CB3-BD7E-40B0-8042-8E551ADA4A1D}" dt="2021-08-11T07:17:38.716" v="2378" actId="478"/>
          <ac:picMkLst>
            <pc:docMk/>
            <pc:sldMk cId="255631792" sldId="1311"/>
            <ac:picMk id="25" creationId="{9097A156-4D41-4F44-8200-612CB1EBC963}"/>
          </ac:picMkLst>
        </pc:picChg>
        <pc:picChg chg="del">
          <ac:chgData name="Marion Spizzo" userId="43054aff-b319-44f0-be2a-97a1d91f7302" providerId="ADAL" clId="{37B54CB3-BD7E-40B0-8042-8E551ADA4A1D}" dt="2021-08-11T07:17:38.230" v="2377" actId="478"/>
          <ac:picMkLst>
            <pc:docMk/>
            <pc:sldMk cId="255631792" sldId="1311"/>
            <ac:picMk id="29" creationId="{098B6457-D031-4545-A4BE-91E9C6E0E8D2}"/>
          </ac:picMkLst>
        </pc:picChg>
        <pc:picChg chg="del">
          <ac:chgData name="Marion Spizzo" userId="43054aff-b319-44f0-be2a-97a1d91f7302" providerId="ADAL" clId="{37B54CB3-BD7E-40B0-8042-8E551ADA4A1D}" dt="2021-08-11T07:17:36.843" v="2376" actId="478"/>
          <ac:picMkLst>
            <pc:docMk/>
            <pc:sldMk cId="255631792" sldId="1311"/>
            <ac:picMk id="32" creationId="{9D27D8AC-84B8-43EA-B48D-BAF605C90DA4}"/>
          </ac:picMkLst>
        </pc:picChg>
        <pc:picChg chg="add del mod">
          <ac:chgData name="Marion Spizzo" userId="43054aff-b319-44f0-be2a-97a1d91f7302" providerId="ADAL" clId="{37B54CB3-BD7E-40B0-8042-8E551ADA4A1D}" dt="2021-08-11T07:18:24.708" v="2395"/>
          <ac:picMkLst>
            <pc:docMk/>
            <pc:sldMk cId="255631792" sldId="1311"/>
            <ac:picMk id="34" creationId="{EEAD4F84-703E-4A9D-81BB-961F38A98608}"/>
          </ac:picMkLst>
        </pc:picChg>
        <pc:picChg chg="add del mod">
          <ac:chgData name="Marion Spizzo" userId="43054aff-b319-44f0-be2a-97a1d91f7302" providerId="ADAL" clId="{37B54CB3-BD7E-40B0-8042-8E551ADA4A1D}" dt="2021-08-11T07:18:24.708" v="2395"/>
          <ac:picMkLst>
            <pc:docMk/>
            <pc:sldMk cId="255631792" sldId="1311"/>
            <ac:picMk id="35" creationId="{654E1A51-DD3D-482E-8D4C-6CD21EB2AD96}"/>
          </ac:picMkLst>
        </pc:picChg>
        <pc:picChg chg="add del mod">
          <ac:chgData name="Marion Spizzo" userId="43054aff-b319-44f0-be2a-97a1d91f7302" providerId="ADAL" clId="{37B54CB3-BD7E-40B0-8042-8E551ADA4A1D}" dt="2021-08-11T07:18:24.708" v="2395"/>
          <ac:picMkLst>
            <pc:docMk/>
            <pc:sldMk cId="255631792" sldId="1311"/>
            <ac:picMk id="36" creationId="{97A7002F-5A9D-4C75-A53B-036DA3B417F6}"/>
          </ac:picMkLst>
        </pc:picChg>
        <pc:picChg chg="mod">
          <ac:chgData name="Marion Spizzo" userId="43054aff-b319-44f0-be2a-97a1d91f7302" providerId="ADAL" clId="{37B54CB3-BD7E-40B0-8042-8E551ADA4A1D}" dt="2021-08-11T07:18:22.252" v="2394"/>
          <ac:picMkLst>
            <pc:docMk/>
            <pc:sldMk cId="255631792" sldId="1311"/>
            <ac:picMk id="38" creationId="{DE6C587F-F6BA-487E-891B-36764F3F5A98}"/>
          </ac:picMkLst>
        </pc:picChg>
        <pc:cxnChg chg="mod topLvl">
          <ac:chgData name="Marion Spizzo" userId="43054aff-b319-44f0-be2a-97a1d91f7302" providerId="ADAL" clId="{37B54CB3-BD7E-40B0-8042-8E551ADA4A1D}" dt="2021-08-11T07:21:14.214" v="2439" actId="14100"/>
          <ac:cxnSpMkLst>
            <pc:docMk/>
            <pc:sldMk cId="255631792" sldId="1311"/>
            <ac:cxnSpMk id="21" creationId="{F55D1427-952B-4D97-9C8D-843E07C189CB}"/>
          </ac:cxnSpMkLst>
        </pc:cxnChg>
        <pc:cxnChg chg="del">
          <ac:chgData name="Marion Spizzo" userId="43054aff-b319-44f0-be2a-97a1d91f7302" providerId="ADAL" clId="{37B54CB3-BD7E-40B0-8042-8E551ADA4A1D}" dt="2021-08-11T07:17:39.718" v="2379" actId="478"/>
          <ac:cxnSpMkLst>
            <pc:docMk/>
            <pc:sldMk cId="255631792" sldId="1311"/>
            <ac:cxnSpMk id="28" creationId="{DCBB9160-CB41-48CB-94B3-7184505F0997}"/>
          </ac:cxnSpMkLst>
        </pc:cxnChg>
        <pc:cxnChg chg="del">
          <ac:chgData name="Marion Spizzo" userId="43054aff-b319-44f0-be2a-97a1d91f7302" providerId="ADAL" clId="{37B54CB3-BD7E-40B0-8042-8E551ADA4A1D}" dt="2021-08-11T07:17:40.180" v="2380" actId="478"/>
          <ac:cxnSpMkLst>
            <pc:docMk/>
            <pc:sldMk cId="255631792" sldId="1311"/>
            <ac:cxnSpMk id="31" creationId="{98375BA5-2FC8-4F03-BCD2-CFCA633ACCB2}"/>
          </ac:cxnSpMkLst>
        </pc:cxnChg>
        <pc:cxnChg chg="mod">
          <ac:chgData name="Marion Spizzo" userId="43054aff-b319-44f0-be2a-97a1d91f7302" providerId="ADAL" clId="{37B54CB3-BD7E-40B0-8042-8E551ADA4A1D}" dt="2021-08-11T07:18:22.252" v="2394"/>
          <ac:cxnSpMkLst>
            <pc:docMk/>
            <pc:sldMk cId="255631792" sldId="1311"/>
            <ac:cxnSpMk id="41" creationId="{844BC58B-97AA-4EC3-917C-1B52DC736376}"/>
          </ac:cxnSpMkLst>
        </pc:cxnChg>
        <pc:cxnChg chg="add mod topLvl">
          <ac:chgData name="Marion Spizzo" userId="43054aff-b319-44f0-be2a-97a1d91f7302" providerId="ADAL" clId="{37B54CB3-BD7E-40B0-8042-8E551ADA4A1D}" dt="2021-08-11T07:22:23.779" v="2460" actId="1076"/>
          <ac:cxnSpMkLst>
            <pc:docMk/>
            <pc:sldMk cId="255631792" sldId="1311"/>
            <ac:cxnSpMk id="43" creationId="{B8EBD012-63F1-4B2D-BA9C-C851B72E85AD}"/>
          </ac:cxnSpMkLst>
        </pc:cxnChg>
      </pc:sldChg>
      <pc:sldChg chg="addSp delSp modSp add mod delAnim modAnim">
        <pc:chgData name="Marion Spizzo" userId="43054aff-b319-44f0-be2a-97a1d91f7302" providerId="ADAL" clId="{37B54CB3-BD7E-40B0-8042-8E551ADA4A1D}" dt="2021-08-11T07:36:16.234" v="2580"/>
        <pc:sldMkLst>
          <pc:docMk/>
          <pc:sldMk cId="3902203001" sldId="1312"/>
        </pc:sldMkLst>
        <pc:spChg chg="mod ord">
          <ac:chgData name="Marion Spizzo" userId="43054aff-b319-44f0-be2a-97a1d91f7302" providerId="ADAL" clId="{37B54CB3-BD7E-40B0-8042-8E551ADA4A1D}" dt="2021-08-11T07:33:57.580" v="2542" actId="1582"/>
          <ac:spMkLst>
            <pc:docMk/>
            <pc:sldMk cId="3902203001" sldId="1312"/>
            <ac:spMk id="26" creationId="{63A76643-A8A7-48A6-919F-A27C31F8FBD7}"/>
          </ac:spMkLst>
        </pc:spChg>
        <pc:spChg chg="mod ord">
          <ac:chgData name="Marion Spizzo" userId="43054aff-b319-44f0-be2a-97a1d91f7302" providerId="ADAL" clId="{37B54CB3-BD7E-40B0-8042-8E551ADA4A1D}" dt="2021-08-11T07:32:01.856" v="2517" actId="14100"/>
          <ac:spMkLst>
            <pc:docMk/>
            <pc:sldMk cId="3902203001" sldId="1312"/>
            <ac:spMk id="27" creationId="{557B45A6-63CA-4C53-AAB7-FDAB73D55EFC}"/>
          </ac:spMkLst>
        </pc:spChg>
        <pc:spChg chg="mod ord">
          <ac:chgData name="Marion Spizzo" userId="43054aff-b319-44f0-be2a-97a1d91f7302" providerId="ADAL" clId="{37B54CB3-BD7E-40B0-8042-8E551ADA4A1D}" dt="2021-08-11T07:35:56.472" v="2578" actId="1036"/>
          <ac:spMkLst>
            <pc:docMk/>
            <pc:sldMk cId="3902203001" sldId="1312"/>
            <ac:spMk id="30" creationId="{01759D49-D550-4254-8448-3A8E7C85A6AD}"/>
          </ac:spMkLst>
        </pc:spChg>
        <pc:spChg chg="mod ord">
          <ac:chgData name="Marion Spizzo" userId="43054aff-b319-44f0-be2a-97a1d91f7302" providerId="ADAL" clId="{37B54CB3-BD7E-40B0-8042-8E551ADA4A1D}" dt="2021-08-11T07:32:01.856" v="2517" actId="14100"/>
          <ac:spMkLst>
            <pc:docMk/>
            <pc:sldMk cId="3902203001" sldId="1312"/>
            <ac:spMk id="33" creationId="{32CEC1CF-8157-4D51-AD42-43B535D6C23C}"/>
          </ac:spMkLst>
        </pc:spChg>
        <pc:picChg chg="add mod">
          <ac:chgData name="Marion Spizzo" userId="43054aff-b319-44f0-be2a-97a1d91f7302" providerId="ADAL" clId="{37B54CB3-BD7E-40B0-8042-8E551ADA4A1D}" dt="2021-08-11T07:31:08.615" v="2495" actId="1076"/>
          <ac:picMkLst>
            <pc:docMk/>
            <pc:sldMk cId="3902203001" sldId="1312"/>
            <ac:picMk id="3" creationId="{837A56CB-091E-4E4C-B66C-6D0F6D8A691B}"/>
          </ac:picMkLst>
        </pc:picChg>
        <pc:picChg chg="add mod">
          <ac:chgData name="Marion Spizzo" userId="43054aff-b319-44f0-be2a-97a1d91f7302" providerId="ADAL" clId="{37B54CB3-BD7E-40B0-8042-8E551ADA4A1D}" dt="2021-08-11T07:33:42.073" v="2538" actId="1076"/>
          <ac:picMkLst>
            <pc:docMk/>
            <pc:sldMk cId="3902203001" sldId="1312"/>
            <ac:picMk id="6" creationId="{6D223CF1-7679-485E-9BBD-83CB3C345DC8}"/>
          </ac:picMkLst>
        </pc:picChg>
        <pc:picChg chg="add mod ord">
          <ac:chgData name="Marion Spizzo" userId="43054aff-b319-44f0-be2a-97a1d91f7302" providerId="ADAL" clId="{37B54CB3-BD7E-40B0-8042-8E551ADA4A1D}" dt="2021-08-11T07:35:38.489" v="2571" actId="1076"/>
          <ac:picMkLst>
            <pc:docMk/>
            <pc:sldMk cId="3902203001" sldId="1312"/>
            <ac:picMk id="8" creationId="{B8A928F7-D5ED-49A8-81DE-049BD1557075}"/>
          </ac:picMkLst>
        </pc:picChg>
        <pc:picChg chg="add mod">
          <ac:chgData name="Marion Spizzo" userId="43054aff-b319-44f0-be2a-97a1d91f7302" providerId="ADAL" clId="{37B54CB3-BD7E-40B0-8042-8E551ADA4A1D}" dt="2021-08-11T07:35:26.975" v="2566" actId="1076"/>
          <ac:picMkLst>
            <pc:docMk/>
            <pc:sldMk cId="3902203001" sldId="1312"/>
            <ac:picMk id="20" creationId="{546F14A7-E6F7-415D-A4AE-98E9E1FC3701}"/>
          </ac:picMkLst>
        </pc:picChg>
        <pc:picChg chg="del">
          <ac:chgData name="Marion Spizzo" userId="43054aff-b319-44f0-be2a-97a1d91f7302" providerId="ADAL" clId="{37B54CB3-BD7E-40B0-8042-8E551ADA4A1D}" dt="2021-08-11T07:30:56.053" v="2491" actId="478"/>
          <ac:picMkLst>
            <pc:docMk/>
            <pc:sldMk cId="3902203001" sldId="1312"/>
            <ac:picMk id="25" creationId="{9097A156-4D41-4F44-8200-612CB1EBC963}"/>
          </ac:picMkLst>
        </pc:picChg>
        <pc:picChg chg="del">
          <ac:chgData name="Marion Spizzo" userId="43054aff-b319-44f0-be2a-97a1d91f7302" providerId="ADAL" clId="{37B54CB3-BD7E-40B0-8042-8E551ADA4A1D}" dt="2021-08-11T07:30:55.336" v="2490" actId="478"/>
          <ac:picMkLst>
            <pc:docMk/>
            <pc:sldMk cId="3902203001" sldId="1312"/>
            <ac:picMk id="29" creationId="{098B6457-D031-4545-A4BE-91E9C6E0E8D2}"/>
          </ac:picMkLst>
        </pc:picChg>
        <pc:picChg chg="del">
          <ac:chgData name="Marion Spizzo" userId="43054aff-b319-44f0-be2a-97a1d91f7302" providerId="ADAL" clId="{37B54CB3-BD7E-40B0-8042-8E551ADA4A1D}" dt="2021-08-11T07:30:54.081" v="2489" actId="478"/>
          <ac:picMkLst>
            <pc:docMk/>
            <pc:sldMk cId="3902203001" sldId="1312"/>
            <ac:picMk id="32" creationId="{9D27D8AC-84B8-43EA-B48D-BAF605C90DA4}"/>
          </ac:picMkLst>
        </pc:picChg>
        <pc:cxnChg chg="mod ord">
          <ac:chgData name="Marion Spizzo" userId="43054aff-b319-44f0-be2a-97a1d91f7302" providerId="ADAL" clId="{37B54CB3-BD7E-40B0-8042-8E551ADA4A1D}" dt="2021-08-11T07:32:35.204" v="2524" actId="1076"/>
          <ac:cxnSpMkLst>
            <pc:docMk/>
            <pc:sldMk cId="3902203001" sldId="1312"/>
            <ac:cxnSpMk id="28" creationId="{DCBB9160-CB41-48CB-94B3-7184505F0997}"/>
          </ac:cxnSpMkLst>
        </pc:cxnChg>
        <pc:cxnChg chg="mod ord">
          <ac:chgData name="Marion Spizzo" userId="43054aff-b319-44f0-be2a-97a1d91f7302" providerId="ADAL" clId="{37B54CB3-BD7E-40B0-8042-8E551ADA4A1D}" dt="2021-08-11T07:34:11.168" v="2545" actId="1076"/>
          <ac:cxnSpMkLst>
            <pc:docMk/>
            <pc:sldMk cId="3902203001" sldId="1312"/>
            <ac:cxnSpMk id="31" creationId="{98375BA5-2FC8-4F03-BCD2-CFCA633ACCB2}"/>
          </ac:cxnSpMkLst>
        </pc:cxnChg>
      </pc:sldChg>
      <pc:sldChg chg="new del">
        <pc:chgData name="Marion Spizzo" userId="43054aff-b319-44f0-be2a-97a1d91f7302" providerId="ADAL" clId="{37B54CB3-BD7E-40B0-8042-8E551ADA4A1D}" dt="2021-08-18T07:56:17.031" v="3851" actId="2696"/>
        <pc:sldMkLst>
          <pc:docMk/>
          <pc:sldMk cId="1641421188" sldId="1315"/>
        </pc:sldMkLst>
      </pc:sldChg>
      <pc:sldChg chg="addSp delSp modSp add mod addAnim delAnim modAnim">
        <pc:chgData name="Marion Spizzo" userId="43054aff-b319-44f0-be2a-97a1d91f7302" providerId="ADAL" clId="{37B54CB3-BD7E-40B0-8042-8E551ADA4A1D}" dt="2021-08-18T08:15:39.679" v="3984"/>
        <pc:sldMkLst>
          <pc:docMk/>
          <pc:sldMk cId="3709285383" sldId="1315"/>
        </pc:sldMkLst>
        <pc:spChg chg="add mod">
          <ac:chgData name="Marion Spizzo" userId="43054aff-b319-44f0-be2a-97a1d91f7302" providerId="ADAL" clId="{37B54CB3-BD7E-40B0-8042-8E551ADA4A1D}" dt="2021-08-18T07:57:38.967" v="3882" actId="1076"/>
          <ac:spMkLst>
            <pc:docMk/>
            <pc:sldMk cId="3709285383" sldId="1315"/>
            <ac:spMk id="19" creationId="{35CEB8BE-CA01-45DF-84B3-914EF1F86ECC}"/>
          </ac:spMkLst>
        </pc:spChg>
        <pc:spChg chg="add mod">
          <ac:chgData name="Marion Spizzo" userId="43054aff-b319-44f0-be2a-97a1d91f7302" providerId="ADAL" clId="{37B54CB3-BD7E-40B0-8042-8E551ADA4A1D}" dt="2021-08-18T07:57:45.739" v="3883" actId="1076"/>
          <ac:spMkLst>
            <pc:docMk/>
            <pc:sldMk cId="3709285383" sldId="1315"/>
            <ac:spMk id="20" creationId="{1872BC11-7138-428D-8F39-71AFDA564401}"/>
          </ac:spMkLst>
        </pc:spChg>
        <pc:spChg chg="add del">
          <ac:chgData name="Marion Spizzo" userId="43054aff-b319-44f0-be2a-97a1d91f7302" providerId="ADAL" clId="{37B54CB3-BD7E-40B0-8042-8E551ADA4A1D}" dt="2021-08-18T07:56:46.182" v="3870" actId="478"/>
          <ac:spMkLst>
            <pc:docMk/>
            <pc:sldMk cId="3709285383" sldId="1315"/>
            <ac:spMk id="31" creationId="{A9214B21-7BF8-43E6-A4C5-23A451B4EE50}"/>
          </ac:spMkLst>
        </pc:spChg>
        <pc:spChg chg="add del">
          <ac:chgData name="Marion Spizzo" userId="43054aff-b319-44f0-be2a-97a1d91f7302" providerId="ADAL" clId="{37B54CB3-BD7E-40B0-8042-8E551ADA4A1D}" dt="2021-08-18T07:56:45.562" v="3869" actId="478"/>
          <ac:spMkLst>
            <pc:docMk/>
            <pc:sldMk cId="3709285383" sldId="1315"/>
            <ac:spMk id="32" creationId="{FCC02B46-C67A-457D-B401-695B9EF343A9}"/>
          </ac:spMkLst>
        </pc:spChg>
        <pc:spChg chg="add del">
          <ac:chgData name="Marion Spizzo" userId="43054aff-b319-44f0-be2a-97a1d91f7302" providerId="ADAL" clId="{37B54CB3-BD7E-40B0-8042-8E551ADA4A1D}" dt="2021-08-18T07:57:10.273" v="3874" actId="478"/>
          <ac:spMkLst>
            <pc:docMk/>
            <pc:sldMk cId="3709285383" sldId="1315"/>
            <ac:spMk id="34" creationId="{26108C93-EC30-4147-A9D6-AC95D6C382AD}"/>
          </ac:spMkLst>
        </pc:spChg>
        <pc:spChg chg="add del">
          <ac:chgData name="Marion Spizzo" userId="43054aff-b319-44f0-be2a-97a1d91f7302" providerId="ADAL" clId="{37B54CB3-BD7E-40B0-8042-8E551ADA4A1D}" dt="2021-08-18T07:57:11.337" v="3875" actId="478"/>
          <ac:spMkLst>
            <pc:docMk/>
            <pc:sldMk cId="3709285383" sldId="1315"/>
            <ac:spMk id="37" creationId="{F6B67D69-0672-4EEE-8B6D-D2C4976EE040}"/>
          </ac:spMkLst>
        </pc:spChg>
        <pc:spChg chg="del">
          <ac:chgData name="Marion Spizzo" userId="43054aff-b319-44f0-be2a-97a1d91f7302" providerId="ADAL" clId="{37B54CB3-BD7E-40B0-8042-8E551ADA4A1D}" dt="2021-08-18T07:56:26.404" v="3854" actId="478"/>
          <ac:spMkLst>
            <pc:docMk/>
            <pc:sldMk cId="3709285383" sldId="1315"/>
            <ac:spMk id="43" creationId="{C6F8AFDB-D2AA-419F-911F-F021561D9E7D}"/>
          </ac:spMkLst>
        </pc:spChg>
        <pc:picChg chg="add del mod">
          <ac:chgData name="Marion Spizzo" userId="43054aff-b319-44f0-be2a-97a1d91f7302" providerId="ADAL" clId="{37B54CB3-BD7E-40B0-8042-8E551ADA4A1D}" dt="2021-08-18T08:15:32.733" v="3983" actId="1037"/>
          <ac:picMkLst>
            <pc:docMk/>
            <pc:sldMk cId="3709285383" sldId="1315"/>
            <ac:picMk id="30" creationId="{7A35362A-7B5D-4F3E-9937-3DE37134CD04}"/>
          </ac:picMkLst>
        </pc:picChg>
        <pc:picChg chg="del">
          <ac:chgData name="Marion Spizzo" userId="43054aff-b319-44f0-be2a-97a1d91f7302" providerId="ADAL" clId="{37B54CB3-BD7E-40B0-8042-8E551ADA4A1D}" dt="2021-08-18T07:56:30.314" v="3859" actId="478"/>
          <ac:picMkLst>
            <pc:docMk/>
            <pc:sldMk cId="3709285383" sldId="1315"/>
            <ac:picMk id="33" creationId="{976EBCD3-3BFA-45A6-9E24-4C99BDFD472F}"/>
          </ac:picMkLst>
        </pc:picChg>
        <pc:picChg chg="del">
          <ac:chgData name="Marion Spizzo" userId="43054aff-b319-44f0-be2a-97a1d91f7302" providerId="ADAL" clId="{37B54CB3-BD7E-40B0-8042-8E551ADA4A1D}" dt="2021-08-18T07:56:29.005" v="3857" actId="478"/>
          <ac:picMkLst>
            <pc:docMk/>
            <pc:sldMk cId="3709285383" sldId="1315"/>
            <ac:picMk id="36" creationId="{358E72F3-DC72-435F-9F7D-6BC0540F55C5}"/>
          </ac:picMkLst>
        </pc:picChg>
        <pc:picChg chg="del">
          <ac:chgData name="Marion Spizzo" userId="43054aff-b319-44f0-be2a-97a1d91f7302" providerId="ADAL" clId="{37B54CB3-BD7E-40B0-8042-8E551ADA4A1D}" dt="2021-08-18T07:56:26.900" v="3855" actId="478"/>
          <ac:picMkLst>
            <pc:docMk/>
            <pc:sldMk cId="3709285383" sldId="1315"/>
            <ac:picMk id="38" creationId="{42E136D2-B2F7-4A82-887E-755A1D9CBF55}"/>
          </ac:picMkLst>
        </pc:picChg>
        <pc:picChg chg="add del">
          <ac:chgData name="Marion Spizzo" userId="43054aff-b319-44f0-be2a-97a1d91f7302" providerId="ADAL" clId="{37B54CB3-BD7E-40B0-8042-8E551ADA4A1D}" dt="2021-08-18T07:57:13.026" v="3877" actId="478"/>
          <ac:picMkLst>
            <pc:docMk/>
            <pc:sldMk cId="3709285383" sldId="1315"/>
            <ac:picMk id="40" creationId="{40ED0E61-AB89-4DD6-9019-6F72A806D003}"/>
          </ac:picMkLst>
        </pc:picChg>
        <pc:picChg chg="del">
          <ac:chgData name="Marion Spizzo" userId="43054aff-b319-44f0-be2a-97a1d91f7302" providerId="ADAL" clId="{37B54CB3-BD7E-40B0-8042-8E551ADA4A1D}" dt="2021-08-18T07:56:29.818" v="3858" actId="478"/>
          <ac:picMkLst>
            <pc:docMk/>
            <pc:sldMk cId="3709285383" sldId="1315"/>
            <ac:picMk id="41" creationId="{C2319F10-9084-4D1B-811E-85C2810CDAC4}"/>
          </ac:picMkLst>
        </pc:picChg>
        <pc:picChg chg="del">
          <ac:chgData name="Marion Spizzo" userId="43054aff-b319-44f0-be2a-97a1d91f7302" providerId="ADAL" clId="{37B54CB3-BD7E-40B0-8042-8E551ADA4A1D}" dt="2021-08-18T07:56:24.514" v="3853" actId="478"/>
          <ac:picMkLst>
            <pc:docMk/>
            <pc:sldMk cId="3709285383" sldId="1315"/>
            <ac:picMk id="42" creationId="{CA2088CF-9C23-402A-9A8C-99BC59EFFD8A}"/>
          </ac:picMkLst>
        </pc:picChg>
        <pc:cxnChg chg="add del">
          <ac:chgData name="Marion Spizzo" userId="43054aff-b319-44f0-be2a-97a1d91f7302" providerId="ADAL" clId="{37B54CB3-BD7E-40B0-8042-8E551ADA4A1D}" dt="2021-08-18T07:57:12.335" v="3876" actId="478"/>
          <ac:cxnSpMkLst>
            <pc:docMk/>
            <pc:sldMk cId="3709285383" sldId="1315"/>
            <ac:cxnSpMk id="35" creationId="{586C64E9-2847-472D-9D29-43A8D24FCF66}"/>
          </ac:cxnSpMkLst>
        </pc:cxnChg>
        <pc:cxnChg chg="del">
          <ac:chgData name="Marion Spizzo" userId="43054aff-b319-44f0-be2a-97a1d91f7302" providerId="ADAL" clId="{37B54CB3-BD7E-40B0-8042-8E551ADA4A1D}" dt="2021-08-18T07:56:27.851" v="3856" actId="478"/>
          <ac:cxnSpMkLst>
            <pc:docMk/>
            <pc:sldMk cId="3709285383" sldId="1315"/>
            <ac:cxnSpMk id="39" creationId="{FCED3A9E-BD00-4570-B0BB-71E35525E40B}"/>
          </ac:cxnSpMkLst>
        </pc:cxnChg>
      </pc:sldChg>
      <pc:sldChg chg="delSp modSp add mod ord delAnim">
        <pc:chgData name="Marion Spizzo" userId="43054aff-b319-44f0-be2a-97a1d91f7302" providerId="ADAL" clId="{37B54CB3-BD7E-40B0-8042-8E551ADA4A1D}" dt="2021-08-18T08:21:45.979" v="3996" actId="1076"/>
        <pc:sldMkLst>
          <pc:docMk/>
          <pc:sldMk cId="4165507725" sldId="1316"/>
        </pc:sldMkLst>
        <pc:spChg chg="del">
          <ac:chgData name="Marion Spizzo" userId="43054aff-b319-44f0-be2a-97a1d91f7302" providerId="ADAL" clId="{37B54CB3-BD7E-40B0-8042-8E551ADA4A1D}" dt="2021-08-18T08:21:41.487" v="3994" actId="478"/>
          <ac:spMkLst>
            <pc:docMk/>
            <pc:sldMk cId="4165507725" sldId="1316"/>
            <ac:spMk id="31" creationId="{A9214B21-7BF8-43E6-A4C5-23A451B4EE50}"/>
          </ac:spMkLst>
        </pc:spChg>
        <pc:spChg chg="del">
          <ac:chgData name="Marion Spizzo" userId="43054aff-b319-44f0-be2a-97a1d91f7302" providerId="ADAL" clId="{37B54CB3-BD7E-40B0-8042-8E551ADA4A1D}" dt="2021-08-18T08:21:42.602" v="3995" actId="478"/>
          <ac:spMkLst>
            <pc:docMk/>
            <pc:sldMk cId="4165507725" sldId="1316"/>
            <ac:spMk id="32" creationId="{FCC02B46-C67A-457D-B401-695B9EF343A9}"/>
          </ac:spMkLst>
        </pc:spChg>
        <pc:spChg chg="del">
          <ac:chgData name="Marion Spizzo" userId="43054aff-b319-44f0-be2a-97a1d91f7302" providerId="ADAL" clId="{37B54CB3-BD7E-40B0-8042-8E551ADA4A1D}" dt="2021-08-18T07:58:24.673" v="3897" actId="478"/>
          <ac:spMkLst>
            <pc:docMk/>
            <pc:sldMk cId="4165507725" sldId="1316"/>
            <ac:spMk id="37" creationId="{F6B67D69-0672-4EEE-8B6D-D2C4976EE040}"/>
          </ac:spMkLst>
        </pc:spChg>
        <pc:spChg chg="del">
          <ac:chgData name="Marion Spizzo" userId="43054aff-b319-44f0-be2a-97a1d91f7302" providerId="ADAL" clId="{37B54CB3-BD7E-40B0-8042-8E551ADA4A1D}" dt="2021-08-18T07:58:08.140" v="3888" actId="478"/>
          <ac:spMkLst>
            <pc:docMk/>
            <pc:sldMk cId="4165507725" sldId="1316"/>
            <ac:spMk id="43" creationId="{C6F8AFDB-D2AA-419F-911F-F021561D9E7D}"/>
          </ac:spMkLst>
        </pc:spChg>
        <pc:picChg chg="del mod">
          <ac:chgData name="Marion Spizzo" userId="43054aff-b319-44f0-be2a-97a1d91f7302" providerId="ADAL" clId="{37B54CB3-BD7E-40B0-8042-8E551ADA4A1D}" dt="2021-08-18T07:58:16.028" v="3895" actId="478"/>
          <ac:picMkLst>
            <pc:docMk/>
            <pc:sldMk cId="4165507725" sldId="1316"/>
            <ac:picMk id="30" creationId="{7A35362A-7B5D-4F3E-9937-3DE37134CD04}"/>
          </ac:picMkLst>
        </pc:picChg>
        <pc:picChg chg="mod">
          <ac:chgData name="Marion Spizzo" userId="43054aff-b319-44f0-be2a-97a1d91f7302" providerId="ADAL" clId="{37B54CB3-BD7E-40B0-8042-8E551ADA4A1D}" dt="2021-08-18T08:21:45.979" v="3996" actId="1076"/>
          <ac:picMkLst>
            <pc:docMk/>
            <pc:sldMk cId="4165507725" sldId="1316"/>
            <ac:picMk id="33" creationId="{976EBCD3-3BFA-45A6-9E24-4C99BDFD472F}"/>
          </ac:picMkLst>
        </pc:picChg>
        <pc:picChg chg="del">
          <ac:chgData name="Marion Spizzo" userId="43054aff-b319-44f0-be2a-97a1d91f7302" providerId="ADAL" clId="{37B54CB3-BD7E-40B0-8042-8E551ADA4A1D}" dt="2021-08-18T07:58:11.323" v="3892" actId="478"/>
          <ac:picMkLst>
            <pc:docMk/>
            <pc:sldMk cId="4165507725" sldId="1316"/>
            <ac:picMk id="36" creationId="{358E72F3-DC72-435F-9F7D-6BC0540F55C5}"/>
          </ac:picMkLst>
        </pc:picChg>
        <pc:picChg chg="del">
          <ac:chgData name="Marion Spizzo" userId="43054aff-b319-44f0-be2a-97a1d91f7302" providerId="ADAL" clId="{37B54CB3-BD7E-40B0-8042-8E551ADA4A1D}" dt="2021-08-18T07:58:09.866" v="3890" actId="478"/>
          <ac:picMkLst>
            <pc:docMk/>
            <pc:sldMk cId="4165507725" sldId="1316"/>
            <ac:picMk id="38" creationId="{42E136D2-B2F7-4A82-887E-755A1D9CBF55}"/>
          </ac:picMkLst>
        </pc:picChg>
        <pc:picChg chg="del">
          <ac:chgData name="Marion Spizzo" userId="43054aff-b319-44f0-be2a-97a1d91f7302" providerId="ADAL" clId="{37B54CB3-BD7E-40B0-8042-8E551ADA4A1D}" dt="2021-08-18T07:58:10.667" v="3891" actId="478"/>
          <ac:picMkLst>
            <pc:docMk/>
            <pc:sldMk cId="4165507725" sldId="1316"/>
            <ac:picMk id="40" creationId="{40ED0E61-AB89-4DD6-9019-6F72A806D003}"/>
          </ac:picMkLst>
        </pc:picChg>
        <pc:picChg chg="del">
          <ac:chgData name="Marion Spizzo" userId="43054aff-b319-44f0-be2a-97a1d91f7302" providerId="ADAL" clId="{37B54CB3-BD7E-40B0-8042-8E551ADA4A1D}" dt="2021-08-18T07:58:09.151" v="3889" actId="478"/>
          <ac:picMkLst>
            <pc:docMk/>
            <pc:sldMk cId="4165507725" sldId="1316"/>
            <ac:picMk id="41" creationId="{C2319F10-9084-4D1B-811E-85C2810CDAC4}"/>
          </ac:picMkLst>
        </pc:picChg>
        <pc:picChg chg="del">
          <ac:chgData name="Marion Spizzo" userId="43054aff-b319-44f0-be2a-97a1d91f7302" providerId="ADAL" clId="{37B54CB3-BD7E-40B0-8042-8E551ADA4A1D}" dt="2021-08-18T07:58:06.763" v="3887" actId="478"/>
          <ac:picMkLst>
            <pc:docMk/>
            <pc:sldMk cId="4165507725" sldId="1316"/>
            <ac:picMk id="42" creationId="{CA2088CF-9C23-402A-9A8C-99BC59EFFD8A}"/>
          </ac:picMkLst>
        </pc:picChg>
        <pc:cxnChg chg="del">
          <ac:chgData name="Marion Spizzo" userId="43054aff-b319-44f0-be2a-97a1d91f7302" providerId="ADAL" clId="{37B54CB3-BD7E-40B0-8042-8E551ADA4A1D}" dt="2021-08-18T07:58:26.862" v="3898" actId="478"/>
          <ac:cxnSpMkLst>
            <pc:docMk/>
            <pc:sldMk cId="4165507725" sldId="1316"/>
            <ac:cxnSpMk id="39" creationId="{FCED3A9E-BD00-4570-B0BB-71E35525E40B}"/>
          </ac:cxnSpMkLst>
        </pc:cxnChg>
      </pc:sldChg>
      <pc:sldChg chg="delSp modSp add mod ord delAnim modAnim">
        <pc:chgData name="Marion Spizzo" userId="43054aff-b319-44f0-be2a-97a1d91f7302" providerId="ADAL" clId="{37B54CB3-BD7E-40B0-8042-8E551ADA4A1D}" dt="2021-08-18T08:24:52.892" v="4004"/>
        <pc:sldMkLst>
          <pc:docMk/>
          <pc:sldMk cId="3605511641" sldId="1317"/>
        </pc:sldMkLst>
        <pc:spChg chg="mod">
          <ac:chgData name="Marion Spizzo" userId="43054aff-b319-44f0-be2a-97a1d91f7302" providerId="ADAL" clId="{37B54CB3-BD7E-40B0-8042-8E551ADA4A1D}" dt="2021-08-18T08:20:40.751" v="3990" actId="14100"/>
          <ac:spMkLst>
            <pc:docMk/>
            <pc:sldMk cId="3605511641" sldId="1317"/>
            <ac:spMk id="18" creationId="{36294B8C-2534-47BF-A050-24DBE7442FF0}"/>
          </ac:spMkLst>
        </pc:spChg>
        <pc:spChg chg="del">
          <ac:chgData name="Marion Spizzo" userId="43054aff-b319-44f0-be2a-97a1d91f7302" providerId="ADAL" clId="{37B54CB3-BD7E-40B0-8042-8E551ADA4A1D}" dt="2021-08-18T07:59:29.677" v="3910" actId="478"/>
          <ac:spMkLst>
            <pc:docMk/>
            <pc:sldMk cId="3605511641" sldId="1317"/>
            <ac:spMk id="31" creationId="{A9214B21-7BF8-43E6-A4C5-23A451B4EE50}"/>
          </ac:spMkLst>
        </pc:spChg>
        <pc:spChg chg="del mod">
          <ac:chgData name="Marion Spizzo" userId="43054aff-b319-44f0-be2a-97a1d91f7302" providerId="ADAL" clId="{37B54CB3-BD7E-40B0-8042-8E551ADA4A1D}" dt="2021-08-18T08:24:34.860" v="4002" actId="478"/>
          <ac:spMkLst>
            <pc:docMk/>
            <pc:sldMk cId="3605511641" sldId="1317"/>
            <ac:spMk id="32" creationId="{FCC02B46-C67A-457D-B401-695B9EF343A9}"/>
          </ac:spMkLst>
        </pc:spChg>
        <pc:spChg chg="del">
          <ac:chgData name="Marion Spizzo" userId="43054aff-b319-44f0-be2a-97a1d91f7302" providerId="ADAL" clId="{37B54CB3-BD7E-40B0-8042-8E551ADA4A1D}" dt="2021-08-18T07:59:27.479" v="3908" actId="478"/>
          <ac:spMkLst>
            <pc:docMk/>
            <pc:sldMk cId="3605511641" sldId="1317"/>
            <ac:spMk id="34" creationId="{26108C93-EC30-4147-A9D6-AC95D6C382AD}"/>
          </ac:spMkLst>
        </pc:spChg>
        <pc:spChg chg="mod ord">
          <ac:chgData name="Marion Spizzo" userId="43054aff-b319-44f0-be2a-97a1d91f7302" providerId="ADAL" clId="{37B54CB3-BD7E-40B0-8042-8E551ADA4A1D}" dt="2021-08-18T08:24:24.361" v="3998" actId="1076"/>
          <ac:spMkLst>
            <pc:docMk/>
            <pc:sldMk cId="3605511641" sldId="1317"/>
            <ac:spMk id="37" creationId="{F6B67D69-0672-4EEE-8B6D-D2C4976EE040}"/>
          </ac:spMkLst>
        </pc:spChg>
        <pc:spChg chg="del">
          <ac:chgData name="Marion Spizzo" userId="43054aff-b319-44f0-be2a-97a1d91f7302" providerId="ADAL" clId="{37B54CB3-BD7E-40B0-8042-8E551ADA4A1D}" dt="2021-08-18T07:59:22.909" v="3904" actId="478"/>
          <ac:spMkLst>
            <pc:docMk/>
            <pc:sldMk cId="3605511641" sldId="1317"/>
            <ac:spMk id="43" creationId="{C6F8AFDB-D2AA-419F-911F-F021561D9E7D}"/>
          </ac:spMkLst>
        </pc:spChg>
        <pc:picChg chg="del">
          <ac:chgData name="Marion Spizzo" userId="43054aff-b319-44f0-be2a-97a1d91f7302" providerId="ADAL" clId="{37B54CB3-BD7E-40B0-8042-8E551ADA4A1D}" dt="2021-08-18T07:59:28.169" v="3909" actId="478"/>
          <ac:picMkLst>
            <pc:docMk/>
            <pc:sldMk cId="3605511641" sldId="1317"/>
            <ac:picMk id="30" creationId="{7A35362A-7B5D-4F3E-9937-3DE37134CD04}"/>
          </ac:picMkLst>
        </pc:picChg>
        <pc:picChg chg="del">
          <ac:chgData name="Marion Spizzo" userId="43054aff-b319-44f0-be2a-97a1d91f7302" providerId="ADAL" clId="{37B54CB3-BD7E-40B0-8042-8E551ADA4A1D}" dt="2021-08-18T07:59:25.690" v="3907" actId="478"/>
          <ac:picMkLst>
            <pc:docMk/>
            <pc:sldMk cId="3605511641" sldId="1317"/>
            <ac:picMk id="33" creationId="{976EBCD3-3BFA-45A6-9E24-4C99BDFD472F}"/>
          </ac:picMkLst>
        </pc:picChg>
        <pc:picChg chg="mod">
          <ac:chgData name="Marion Spizzo" userId="43054aff-b319-44f0-be2a-97a1d91f7302" providerId="ADAL" clId="{37B54CB3-BD7E-40B0-8042-8E551ADA4A1D}" dt="2021-08-18T08:20:47.636" v="3992" actId="1076"/>
          <ac:picMkLst>
            <pc:docMk/>
            <pc:sldMk cId="3605511641" sldId="1317"/>
            <ac:picMk id="36" creationId="{358E72F3-DC72-435F-9F7D-6BC0540F55C5}"/>
          </ac:picMkLst>
        </pc:picChg>
        <pc:picChg chg="del">
          <ac:chgData name="Marion Spizzo" userId="43054aff-b319-44f0-be2a-97a1d91f7302" providerId="ADAL" clId="{37B54CB3-BD7E-40B0-8042-8E551ADA4A1D}" dt="2021-08-18T07:59:20.858" v="3903" actId="478"/>
          <ac:picMkLst>
            <pc:docMk/>
            <pc:sldMk cId="3605511641" sldId="1317"/>
            <ac:picMk id="38" creationId="{42E136D2-B2F7-4A82-887E-755A1D9CBF55}"/>
          </ac:picMkLst>
        </pc:picChg>
        <pc:picChg chg="del">
          <ac:chgData name="Marion Spizzo" userId="43054aff-b319-44f0-be2a-97a1d91f7302" providerId="ADAL" clId="{37B54CB3-BD7E-40B0-8042-8E551ADA4A1D}" dt="2021-08-18T07:59:30.730" v="3911" actId="478"/>
          <ac:picMkLst>
            <pc:docMk/>
            <pc:sldMk cId="3605511641" sldId="1317"/>
            <ac:picMk id="40" creationId="{40ED0E61-AB89-4DD6-9019-6F72A806D003}"/>
          </ac:picMkLst>
        </pc:picChg>
        <pc:picChg chg="del">
          <ac:chgData name="Marion Spizzo" userId="43054aff-b319-44f0-be2a-97a1d91f7302" providerId="ADAL" clId="{37B54CB3-BD7E-40B0-8042-8E551ADA4A1D}" dt="2021-08-18T07:59:23.770" v="3905" actId="478"/>
          <ac:picMkLst>
            <pc:docMk/>
            <pc:sldMk cId="3605511641" sldId="1317"/>
            <ac:picMk id="41" creationId="{C2319F10-9084-4D1B-811E-85C2810CDAC4}"/>
          </ac:picMkLst>
        </pc:picChg>
        <pc:picChg chg="del">
          <ac:chgData name="Marion Spizzo" userId="43054aff-b319-44f0-be2a-97a1d91f7302" providerId="ADAL" clId="{37B54CB3-BD7E-40B0-8042-8E551ADA4A1D}" dt="2021-08-18T07:59:19.649" v="3902" actId="478"/>
          <ac:picMkLst>
            <pc:docMk/>
            <pc:sldMk cId="3605511641" sldId="1317"/>
            <ac:picMk id="42" creationId="{CA2088CF-9C23-402A-9A8C-99BC59EFFD8A}"/>
          </ac:picMkLst>
        </pc:picChg>
        <pc:cxnChg chg="mod ord">
          <ac:chgData name="Marion Spizzo" userId="43054aff-b319-44f0-be2a-97a1d91f7302" providerId="ADAL" clId="{37B54CB3-BD7E-40B0-8042-8E551ADA4A1D}" dt="2021-08-18T08:24:33.597" v="4001" actId="1076"/>
          <ac:cxnSpMkLst>
            <pc:docMk/>
            <pc:sldMk cId="3605511641" sldId="1317"/>
            <ac:cxnSpMk id="35" creationId="{586C64E9-2847-472D-9D29-43A8D24FCF66}"/>
          </ac:cxnSpMkLst>
        </pc:cxnChg>
        <pc:cxnChg chg="del mod">
          <ac:chgData name="Marion Spizzo" userId="43054aff-b319-44f0-be2a-97a1d91f7302" providerId="ADAL" clId="{37B54CB3-BD7E-40B0-8042-8E551ADA4A1D}" dt="2021-08-18T08:24:27.531" v="3999" actId="478"/>
          <ac:cxnSpMkLst>
            <pc:docMk/>
            <pc:sldMk cId="3605511641" sldId="1317"/>
            <ac:cxnSpMk id="39" creationId="{FCED3A9E-BD00-4570-B0BB-71E35525E40B}"/>
          </ac:cxnSpMkLst>
        </pc:cxnChg>
      </pc:sldChg>
      <pc:sldChg chg="delSp modSp add mod ord delAnim modAnim">
        <pc:chgData name="Marion Spizzo" userId="43054aff-b319-44f0-be2a-97a1d91f7302" providerId="ADAL" clId="{37B54CB3-BD7E-40B0-8042-8E551ADA4A1D}" dt="2021-08-18T08:06:14.569" v="3976"/>
        <pc:sldMkLst>
          <pc:docMk/>
          <pc:sldMk cId="2492221551" sldId="1320"/>
        </pc:sldMkLst>
        <pc:spChg chg="mod">
          <ac:chgData name="Marion Spizzo" userId="43054aff-b319-44f0-be2a-97a1d91f7302" providerId="ADAL" clId="{37B54CB3-BD7E-40B0-8042-8E551ADA4A1D}" dt="2021-08-18T08:04:45.611" v="3953" actId="108"/>
          <ac:spMkLst>
            <pc:docMk/>
            <pc:sldMk cId="2492221551" sldId="1320"/>
            <ac:spMk id="18" creationId="{36294B8C-2534-47BF-A050-24DBE7442FF0}"/>
          </ac:spMkLst>
        </pc:spChg>
        <pc:spChg chg="mod">
          <ac:chgData name="Marion Spizzo" userId="43054aff-b319-44f0-be2a-97a1d91f7302" providerId="ADAL" clId="{37B54CB3-BD7E-40B0-8042-8E551ADA4A1D}" dt="2021-08-18T08:02:50.872" v="3925" actId="20577"/>
          <ac:spMkLst>
            <pc:docMk/>
            <pc:sldMk cId="2492221551" sldId="1320"/>
            <ac:spMk id="28" creationId="{6620D9C1-8533-46FF-999C-31AFD3C3352A}"/>
          </ac:spMkLst>
        </pc:spChg>
        <pc:spChg chg="del">
          <ac:chgData name="Marion Spizzo" userId="43054aff-b319-44f0-be2a-97a1d91f7302" providerId="ADAL" clId="{37B54CB3-BD7E-40B0-8042-8E551ADA4A1D}" dt="2021-08-18T08:02:57.672" v="3928" actId="478"/>
          <ac:spMkLst>
            <pc:docMk/>
            <pc:sldMk cId="2492221551" sldId="1320"/>
            <ac:spMk id="31" creationId="{A9214B21-7BF8-43E6-A4C5-23A451B4EE50}"/>
          </ac:spMkLst>
        </pc:spChg>
        <pc:spChg chg="del">
          <ac:chgData name="Marion Spizzo" userId="43054aff-b319-44f0-be2a-97a1d91f7302" providerId="ADAL" clId="{37B54CB3-BD7E-40B0-8042-8E551ADA4A1D}" dt="2021-08-18T08:02:54.944" v="3926" actId="478"/>
          <ac:spMkLst>
            <pc:docMk/>
            <pc:sldMk cId="2492221551" sldId="1320"/>
            <ac:spMk id="34" creationId="{26108C93-EC30-4147-A9D6-AC95D6C382AD}"/>
          </ac:spMkLst>
        </pc:spChg>
        <pc:spChg chg="del">
          <ac:chgData name="Marion Spizzo" userId="43054aff-b319-44f0-be2a-97a1d91f7302" providerId="ADAL" clId="{37B54CB3-BD7E-40B0-8042-8E551ADA4A1D}" dt="2021-08-18T08:02:49.387" v="3923" actId="478"/>
          <ac:spMkLst>
            <pc:docMk/>
            <pc:sldMk cId="2492221551" sldId="1320"/>
            <ac:spMk id="37" creationId="{F6B67D69-0672-4EEE-8B6D-D2C4976EE040}"/>
          </ac:spMkLst>
        </pc:spChg>
        <pc:spChg chg="mod ord">
          <ac:chgData name="Marion Spizzo" userId="43054aff-b319-44f0-be2a-97a1d91f7302" providerId="ADAL" clId="{37B54CB3-BD7E-40B0-8042-8E551ADA4A1D}" dt="2021-08-18T08:06:10.212" v="3975" actId="1076"/>
          <ac:spMkLst>
            <pc:docMk/>
            <pc:sldMk cId="2492221551" sldId="1320"/>
            <ac:spMk id="43" creationId="{C6F8AFDB-D2AA-419F-911F-F021561D9E7D}"/>
          </ac:spMkLst>
        </pc:spChg>
        <pc:picChg chg="del">
          <ac:chgData name="Marion Spizzo" userId="43054aff-b319-44f0-be2a-97a1d91f7302" providerId="ADAL" clId="{37B54CB3-BD7E-40B0-8042-8E551ADA4A1D}" dt="2021-08-18T08:02:55.777" v="3927" actId="478"/>
          <ac:picMkLst>
            <pc:docMk/>
            <pc:sldMk cId="2492221551" sldId="1320"/>
            <ac:picMk id="30" creationId="{7A35362A-7B5D-4F3E-9937-3DE37134CD04}"/>
          </ac:picMkLst>
        </pc:picChg>
        <pc:picChg chg="del">
          <ac:chgData name="Marion Spizzo" userId="43054aff-b319-44f0-be2a-97a1d91f7302" providerId="ADAL" clId="{37B54CB3-BD7E-40B0-8042-8E551ADA4A1D}" dt="2021-08-18T08:02:50.090" v="3924" actId="478"/>
          <ac:picMkLst>
            <pc:docMk/>
            <pc:sldMk cId="2492221551" sldId="1320"/>
            <ac:picMk id="33" creationId="{976EBCD3-3BFA-45A6-9E24-4C99BDFD472F}"/>
          </ac:picMkLst>
        </pc:picChg>
        <pc:picChg chg="del">
          <ac:chgData name="Marion Spizzo" userId="43054aff-b319-44f0-be2a-97a1d91f7302" providerId="ADAL" clId="{37B54CB3-BD7E-40B0-8042-8E551ADA4A1D}" dt="2021-08-18T08:02:48.388" v="3922" actId="478"/>
          <ac:picMkLst>
            <pc:docMk/>
            <pc:sldMk cId="2492221551" sldId="1320"/>
            <ac:picMk id="36" creationId="{358E72F3-DC72-435F-9F7D-6BC0540F55C5}"/>
          </ac:picMkLst>
        </pc:picChg>
        <pc:picChg chg="mod">
          <ac:chgData name="Marion Spizzo" userId="43054aff-b319-44f0-be2a-97a1d91f7302" providerId="ADAL" clId="{37B54CB3-BD7E-40B0-8042-8E551ADA4A1D}" dt="2021-08-18T08:05:07.618" v="3961" actId="1076"/>
          <ac:picMkLst>
            <pc:docMk/>
            <pc:sldMk cId="2492221551" sldId="1320"/>
            <ac:picMk id="38" creationId="{42E136D2-B2F7-4A82-887E-755A1D9CBF55}"/>
          </ac:picMkLst>
        </pc:picChg>
        <pc:picChg chg="mod">
          <ac:chgData name="Marion Spizzo" userId="43054aff-b319-44f0-be2a-97a1d91f7302" providerId="ADAL" clId="{37B54CB3-BD7E-40B0-8042-8E551ADA4A1D}" dt="2021-08-18T08:05:27.328" v="3966" actId="1076"/>
          <ac:picMkLst>
            <pc:docMk/>
            <pc:sldMk cId="2492221551" sldId="1320"/>
            <ac:picMk id="40" creationId="{40ED0E61-AB89-4DD6-9019-6F72A806D003}"/>
          </ac:picMkLst>
        </pc:picChg>
        <pc:picChg chg="mod">
          <ac:chgData name="Marion Spizzo" userId="43054aff-b319-44f0-be2a-97a1d91f7302" providerId="ADAL" clId="{37B54CB3-BD7E-40B0-8042-8E551ADA4A1D}" dt="2021-08-18T08:05:34.234" v="3968" actId="1076"/>
          <ac:picMkLst>
            <pc:docMk/>
            <pc:sldMk cId="2492221551" sldId="1320"/>
            <ac:picMk id="41" creationId="{C2319F10-9084-4D1B-811E-85C2810CDAC4}"/>
          </ac:picMkLst>
        </pc:picChg>
        <pc:picChg chg="mod ord">
          <ac:chgData name="Marion Spizzo" userId="43054aff-b319-44f0-be2a-97a1d91f7302" providerId="ADAL" clId="{37B54CB3-BD7E-40B0-8042-8E551ADA4A1D}" dt="2021-08-18T08:06:02.325" v="3973" actId="166"/>
          <ac:picMkLst>
            <pc:docMk/>
            <pc:sldMk cId="2492221551" sldId="1320"/>
            <ac:picMk id="42" creationId="{CA2088CF-9C23-402A-9A8C-99BC59EFFD8A}"/>
          </ac:picMkLst>
        </pc:picChg>
        <pc:cxnChg chg="mod ord">
          <ac:chgData name="Marion Spizzo" userId="43054aff-b319-44f0-be2a-97a1d91f7302" providerId="ADAL" clId="{37B54CB3-BD7E-40B0-8042-8E551ADA4A1D}" dt="2021-08-18T08:05:23.053" v="3964" actId="1076"/>
          <ac:cxnSpMkLst>
            <pc:docMk/>
            <pc:sldMk cId="2492221551" sldId="1320"/>
            <ac:cxnSpMk id="35" creationId="{586C64E9-2847-472D-9D29-43A8D24FCF66}"/>
          </ac:cxnSpMkLst>
        </pc:cxnChg>
        <pc:cxnChg chg="del mod">
          <ac:chgData name="Marion Spizzo" userId="43054aff-b319-44f0-be2a-97a1d91f7302" providerId="ADAL" clId="{37B54CB3-BD7E-40B0-8042-8E551ADA4A1D}" dt="2021-08-18T08:04:57.530" v="3958" actId="478"/>
          <ac:cxnSpMkLst>
            <pc:docMk/>
            <pc:sldMk cId="2492221551" sldId="1320"/>
            <ac:cxnSpMk id="39" creationId="{FCED3A9E-BD00-4570-B0BB-71E35525E40B}"/>
          </ac:cxnSpMkLst>
        </pc:cxnChg>
      </pc:sldChg>
      <pc:sldChg chg="modSp new del mod">
        <pc:chgData name="Marion Spizzo" userId="43054aff-b319-44f0-be2a-97a1d91f7302" providerId="ADAL" clId="{37B54CB3-BD7E-40B0-8042-8E551ADA4A1D}" dt="2021-09-01T13:36:55.011" v="4009" actId="2696"/>
        <pc:sldMkLst>
          <pc:docMk/>
          <pc:sldMk cId="3541155286" sldId="1323"/>
        </pc:sldMkLst>
        <pc:spChg chg="mod">
          <ac:chgData name="Marion Spizzo" userId="43054aff-b319-44f0-be2a-97a1d91f7302" providerId="ADAL" clId="{37B54CB3-BD7E-40B0-8042-8E551ADA4A1D}" dt="2021-09-01T13:36:51.245" v="4008"/>
          <ac:spMkLst>
            <pc:docMk/>
            <pc:sldMk cId="3541155286" sldId="1323"/>
            <ac:spMk id="3" creationId="{C447048A-DA36-41F7-9A01-A39FBB32D564}"/>
          </ac:spMkLst>
        </pc:spChg>
      </pc:sldChg>
      <pc:sldChg chg="modSp mod">
        <pc:chgData name="Marion Spizzo" userId="43054aff-b319-44f0-be2a-97a1d91f7302" providerId="ADAL" clId="{37B54CB3-BD7E-40B0-8042-8E551ADA4A1D}" dt="2021-09-24T08:57:41.019" v="4034" actId="27636"/>
        <pc:sldMkLst>
          <pc:docMk/>
          <pc:sldMk cId="4293870009" sldId="1323"/>
        </pc:sldMkLst>
        <pc:spChg chg="mod">
          <ac:chgData name="Marion Spizzo" userId="43054aff-b319-44f0-be2a-97a1d91f7302" providerId="ADAL" clId="{37B54CB3-BD7E-40B0-8042-8E551ADA4A1D}" dt="2021-09-24T08:57:41.019" v="4034" actId="27636"/>
          <ac:spMkLst>
            <pc:docMk/>
            <pc:sldMk cId="4293870009" sldId="1323"/>
            <ac:spMk id="4" creationId="{1CD21C43-48F7-445A-BDC3-9CA39CEACB0B}"/>
          </ac:spMkLst>
        </pc:spChg>
      </pc:sldChg>
      <pc:sldChg chg="addSp delSp modSp new mod">
        <pc:chgData name="Marion Spizzo" userId="43054aff-b319-44f0-be2a-97a1d91f7302" providerId="ADAL" clId="{37B54CB3-BD7E-40B0-8042-8E551ADA4A1D}" dt="2021-09-24T08:58:42.899" v="4093" actId="20577"/>
        <pc:sldMkLst>
          <pc:docMk/>
          <pc:sldMk cId="4111006451" sldId="1324"/>
        </pc:sldMkLst>
        <pc:spChg chg="mod">
          <ac:chgData name="Marion Spizzo" userId="43054aff-b319-44f0-be2a-97a1d91f7302" providerId="ADAL" clId="{37B54CB3-BD7E-40B0-8042-8E551ADA4A1D}" dt="2021-09-24T08:57:24.140" v="4030" actId="20577"/>
          <ac:spMkLst>
            <pc:docMk/>
            <pc:sldMk cId="4111006451" sldId="1324"/>
            <ac:spMk id="2" creationId="{250ABDA2-9B2E-471E-A9AB-028649FAA23D}"/>
          </ac:spMkLst>
        </pc:spChg>
        <pc:spChg chg="del">
          <ac:chgData name="Marion Spizzo" userId="43054aff-b319-44f0-be2a-97a1d91f7302" providerId="ADAL" clId="{37B54CB3-BD7E-40B0-8042-8E551ADA4A1D}" dt="2021-09-24T08:57:26.486" v="4031" actId="478"/>
          <ac:spMkLst>
            <pc:docMk/>
            <pc:sldMk cId="4111006451" sldId="1324"/>
            <ac:spMk id="3" creationId="{00A9957B-300E-49E7-9CD9-57ED3A3B6564}"/>
          </ac:spMkLst>
        </pc:spChg>
        <pc:spChg chg="mod">
          <ac:chgData name="Marion Spizzo" userId="43054aff-b319-44f0-be2a-97a1d91f7302" providerId="ADAL" clId="{37B54CB3-BD7E-40B0-8042-8E551ADA4A1D}" dt="2021-09-24T08:57:40.844" v="4033" actId="27636"/>
          <ac:spMkLst>
            <pc:docMk/>
            <pc:sldMk cId="4111006451" sldId="1324"/>
            <ac:spMk id="4" creationId="{DADD9E0F-ED1C-4F82-BD9D-F0239A2E7022}"/>
          </ac:spMkLst>
        </pc:spChg>
        <pc:spChg chg="add mod">
          <ac:chgData name="Marion Spizzo" userId="43054aff-b319-44f0-be2a-97a1d91f7302" providerId="ADAL" clId="{37B54CB3-BD7E-40B0-8042-8E551ADA4A1D}" dt="2021-09-24T08:58:42.899" v="4093" actId="20577"/>
          <ac:spMkLst>
            <pc:docMk/>
            <pc:sldMk cId="4111006451" sldId="1324"/>
            <ac:spMk id="5" creationId="{330BF89E-CCF6-454D-9595-233E95E51A24}"/>
          </ac:spMkLst>
        </pc:spChg>
        <pc:spChg chg="add mod">
          <ac:chgData name="Marion Spizzo" userId="43054aff-b319-44f0-be2a-97a1d91f7302" providerId="ADAL" clId="{37B54CB3-BD7E-40B0-8042-8E551ADA4A1D}" dt="2021-09-24T08:58:34.142" v="4077" actId="5793"/>
          <ac:spMkLst>
            <pc:docMk/>
            <pc:sldMk cId="4111006451" sldId="1324"/>
            <ac:spMk id="6" creationId="{24C51926-07C1-4C29-8E06-B0BC2253D7E0}"/>
          </ac:spMkLst>
        </pc:spChg>
        <pc:spChg chg="add mod">
          <ac:chgData name="Marion Spizzo" userId="43054aff-b319-44f0-be2a-97a1d91f7302" providerId="ADAL" clId="{37B54CB3-BD7E-40B0-8042-8E551ADA4A1D}" dt="2021-09-24T08:57:42.895" v="4035" actId="1076"/>
          <ac:spMkLst>
            <pc:docMk/>
            <pc:sldMk cId="4111006451" sldId="1324"/>
            <ac:spMk id="7" creationId="{37A5A9D5-8CF9-4C73-B217-63C519579A0C}"/>
          </ac:spMkLst>
        </pc:spChg>
        <pc:spChg chg="add mod">
          <ac:chgData name="Marion Spizzo" userId="43054aff-b319-44f0-be2a-97a1d91f7302" providerId="ADAL" clId="{37B54CB3-BD7E-40B0-8042-8E551ADA4A1D}" dt="2021-09-24T08:57:42.895" v="4035" actId="1076"/>
          <ac:spMkLst>
            <pc:docMk/>
            <pc:sldMk cId="4111006451" sldId="1324"/>
            <ac:spMk id="8" creationId="{E1EDA43C-A110-4513-B414-49B3CAC28541}"/>
          </ac:spMkLst>
        </pc:spChg>
        <pc:spChg chg="add mod">
          <ac:chgData name="Marion Spizzo" userId="43054aff-b319-44f0-be2a-97a1d91f7302" providerId="ADAL" clId="{37B54CB3-BD7E-40B0-8042-8E551ADA4A1D}" dt="2021-09-24T08:57:42.895" v="4035" actId="1076"/>
          <ac:spMkLst>
            <pc:docMk/>
            <pc:sldMk cId="4111006451" sldId="1324"/>
            <ac:spMk id="9" creationId="{6D06195E-516D-425E-A45E-A1B79126269F}"/>
          </ac:spMkLst>
        </pc:spChg>
        <pc:spChg chg="add mod">
          <ac:chgData name="Marion Spizzo" userId="43054aff-b319-44f0-be2a-97a1d91f7302" providerId="ADAL" clId="{37B54CB3-BD7E-40B0-8042-8E551ADA4A1D}" dt="2021-09-24T08:57:42.895" v="4035" actId="1076"/>
          <ac:spMkLst>
            <pc:docMk/>
            <pc:sldMk cId="4111006451" sldId="1324"/>
            <ac:spMk id="10" creationId="{1FE6A017-82EB-46AA-B474-2067568B7CA4}"/>
          </ac:spMkLst>
        </pc:spChg>
        <pc:spChg chg="add mod">
          <ac:chgData name="Marion Spizzo" userId="43054aff-b319-44f0-be2a-97a1d91f7302" providerId="ADAL" clId="{37B54CB3-BD7E-40B0-8042-8E551ADA4A1D}" dt="2021-09-24T08:57:42.895" v="4035" actId="1076"/>
          <ac:spMkLst>
            <pc:docMk/>
            <pc:sldMk cId="4111006451" sldId="1324"/>
            <ac:spMk id="11" creationId="{38EAB98D-93E2-41F8-9A43-3FC1ACD552DC}"/>
          </ac:spMkLst>
        </pc:spChg>
        <pc:spChg chg="add mod">
          <ac:chgData name="Marion Spizzo" userId="43054aff-b319-44f0-be2a-97a1d91f7302" providerId="ADAL" clId="{37B54CB3-BD7E-40B0-8042-8E551ADA4A1D}" dt="2021-09-24T08:57:42.895" v="4035" actId="1076"/>
          <ac:spMkLst>
            <pc:docMk/>
            <pc:sldMk cId="4111006451" sldId="1324"/>
            <ac:spMk id="12" creationId="{5E2EED88-5E77-4B7E-BF3D-40BC371C2C3E}"/>
          </ac:spMkLst>
        </pc:spChg>
        <pc:spChg chg="add mod">
          <ac:chgData name="Marion Spizzo" userId="43054aff-b319-44f0-be2a-97a1d91f7302" providerId="ADAL" clId="{37B54CB3-BD7E-40B0-8042-8E551ADA4A1D}" dt="2021-09-24T08:57:42.895" v="4035" actId="1076"/>
          <ac:spMkLst>
            <pc:docMk/>
            <pc:sldMk cId="4111006451" sldId="1324"/>
            <ac:spMk id="17" creationId="{DEDF0172-92F5-4A2C-AB3C-6B6D1B0E59CE}"/>
          </ac:spMkLst>
        </pc:spChg>
        <pc:spChg chg="add mod">
          <ac:chgData name="Marion Spizzo" userId="43054aff-b319-44f0-be2a-97a1d91f7302" providerId="ADAL" clId="{37B54CB3-BD7E-40B0-8042-8E551ADA4A1D}" dt="2021-09-24T08:57:42.895" v="4035" actId="1076"/>
          <ac:spMkLst>
            <pc:docMk/>
            <pc:sldMk cId="4111006451" sldId="1324"/>
            <ac:spMk id="22" creationId="{38724302-9537-4436-BE71-4E03214DF0E3}"/>
          </ac:spMkLst>
        </pc:spChg>
        <pc:spChg chg="add mod">
          <ac:chgData name="Marion Spizzo" userId="43054aff-b319-44f0-be2a-97a1d91f7302" providerId="ADAL" clId="{37B54CB3-BD7E-40B0-8042-8E551ADA4A1D}" dt="2021-09-24T08:58:18.012" v="4073" actId="20577"/>
          <ac:spMkLst>
            <pc:docMk/>
            <pc:sldMk cId="4111006451" sldId="1324"/>
            <ac:spMk id="24" creationId="{09EBE80F-22C5-4C34-96D9-C1A84EC76495}"/>
          </ac:spMkLst>
        </pc:spChg>
        <pc:cxnChg chg="add mod">
          <ac:chgData name="Marion Spizzo" userId="43054aff-b319-44f0-be2a-97a1d91f7302" providerId="ADAL" clId="{37B54CB3-BD7E-40B0-8042-8E551ADA4A1D}" dt="2021-09-24T08:57:42.895" v="4035" actId="1076"/>
          <ac:cxnSpMkLst>
            <pc:docMk/>
            <pc:sldMk cId="4111006451" sldId="1324"/>
            <ac:cxnSpMk id="13" creationId="{601B98EF-4F3E-47BF-B3FB-4F7158FF3174}"/>
          </ac:cxnSpMkLst>
        </pc:cxnChg>
        <pc:cxnChg chg="add mod">
          <ac:chgData name="Marion Spizzo" userId="43054aff-b319-44f0-be2a-97a1d91f7302" providerId="ADAL" clId="{37B54CB3-BD7E-40B0-8042-8E551ADA4A1D}" dt="2021-09-24T08:57:42.895" v="4035" actId="1076"/>
          <ac:cxnSpMkLst>
            <pc:docMk/>
            <pc:sldMk cId="4111006451" sldId="1324"/>
            <ac:cxnSpMk id="14" creationId="{D8976D6E-530A-4472-B73D-7E7E64066082}"/>
          </ac:cxnSpMkLst>
        </pc:cxnChg>
        <pc:cxnChg chg="add mod">
          <ac:chgData name="Marion Spizzo" userId="43054aff-b319-44f0-be2a-97a1d91f7302" providerId="ADAL" clId="{37B54CB3-BD7E-40B0-8042-8E551ADA4A1D}" dt="2021-09-24T08:57:42.895" v="4035" actId="1076"/>
          <ac:cxnSpMkLst>
            <pc:docMk/>
            <pc:sldMk cId="4111006451" sldId="1324"/>
            <ac:cxnSpMk id="15" creationId="{738D01D9-1150-4ED4-B430-4D344E898D7D}"/>
          </ac:cxnSpMkLst>
        </pc:cxnChg>
        <pc:cxnChg chg="add mod">
          <ac:chgData name="Marion Spizzo" userId="43054aff-b319-44f0-be2a-97a1d91f7302" providerId="ADAL" clId="{37B54CB3-BD7E-40B0-8042-8E551ADA4A1D}" dt="2021-09-24T08:57:42.895" v="4035" actId="1076"/>
          <ac:cxnSpMkLst>
            <pc:docMk/>
            <pc:sldMk cId="4111006451" sldId="1324"/>
            <ac:cxnSpMk id="16" creationId="{ECA78B77-D962-4F5A-9DF9-75B1D5F4AE5A}"/>
          </ac:cxnSpMkLst>
        </pc:cxnChg>
        <pc:cxnChg chg="add mod">
          <ac:chgData name="Marion Spizzo" userId="43054aff-b319-44f0-be2a-97a1d91f7302" providerId="ADAL" clId="{37B54CB3-BD7E-40B0-8042-8E551ADA4A1D}" dt="2021-09-24T08:57:42.895" v="4035" actId="1076"/>
          <ac:cxnSpMkLst>
            <pc:docMk/>
            <pc:sldMk cId="4111006451" sldId="1324"/>
            <ac:cxnSpMk id="18" creationId="{DE1684F3-7C9C-4233-9923-2298393EFE72}"/>
          </ac:cxnSpMkLst>
        </pc:cxnChg>
        <pc:cxnChg chg="add mod">
          <ac:chgData name="Marion Spizzo" userId="43054aff-b319-44f0-be2a-97a1d91f7302" providerId="ADAL" clId="{37B54CB3-BD7E-40B0-8042-8E551ADA4A1D}" dt="2021-09-24T08:57:42.895" v="4035" actId="1076"/>
          <ac:cxnSpMkLst>
            <pc:docMk/>
            <pc:sldMk cId="4111006451" sldId="1324"/>
            <ac:cxnSpMk id="19" creationId="{73988BB1-69C8-42E7-811F-5B952E8B268F}"/>
          </ac:cxnSpMkLst>
        </pc:cxnChg>
        <pc:cxnChg chg="add mod">
          <ac:chgData name="Marion Spizzo" userId="43054aff-b319-44f0-be2a-97a1d91f7302" providerId="ADAL" clId="{37B54CB3-BD7E-40B0-8042-8E551ADA4A1D}" dt="2021-09-24T08:57:42.895" v="4035" actId="1076"/>
          <ac:cxnSpMkLst>
            <pc:docMk/>
            <pc:sldMk cId="4111006451" sldId="1324"/>
            <ac:cxnSpMk id="20" creationId="{D07B7843-8095-483E-9B11-FEE318D71A30}"/>
          </ac:cxnSpMkLst>
        </pc:cxnChg>
        <pc:cxnChg chg="add mod">
          <ac:chgData name="Marion Spizzo" userId="43054aff-b319-44f0-be2a-97a1d91f7302" providerId="ADAL" clId="{37B54CB3-BD7E-40B0-8042-8E551ADA4A1D}" dt="2021-09-24T08:57:42.895" v="4035" actId="1076"/>
          <ac:cxnSpMkLst>
            <pc:docMk/>
            <pc:sldMk cId="4111006451" sldId="1324"/>
            <ac:cxnSpMk id="21" creationId="{01E66132-1624-467F-9B59-1C3D6D12995E}"/>
          </ac:cxnSpMkLst>
        </pc:cxnChg>
        <pc:cxnChg chg="add mod">
          <ac:chgData name="Marion Spizzo" userId="43054aff-b319-44f0-be2a-97a1d91f7302" providerId="ADAL" clId="{37B54CB3-BD7E-40B0-8042-8E551ADA4A1D}" dt="2021-09-24T08:57:42.895" v="4035" actId="1076"/>
          <ac:cxnSpMkLst>
            <pc:docMk/>
            <pc:sldMk cId="4111006451" sldId="1324"/>
            <ac:cxnSpMk id="23" creationId="{F9E321CE-D65C-4EEE-9080-8F59E796FD8D}"/>
          </ac:cxnSpMkLst>
        </pc:cxnChg>
      </pc:sldChg>
      <pc:sldMasterChg chg="modSp mod">
        <pc:chgData name="Marion Spizzo" userId="43054aff-b319-44f0-be2a-97a1d91f7302" providerId="ADAL" clId="{37B54CB3-BD7E-40B0-8042-8E551ADA4A1D}" dt="2021-08-09T08:04:04.812" v="58" actId="2711"/>
        <pc:sldMasterMkLst>
          <pc:docMk/>
          <pc:sldMasterMk cId="2165569194" sldId="2147483886"/>
        </pc:sldMasterMkLst>
        <pc:spChg chg="mod">
          <ac:chgData name="Marion Spizzo" userId="43054aff-b319-44f0-be2a-97a1d91f7302" providerId="ADAL" clId="{37B54CB3-BD7E-40B0-8042-8E551ADA4A1D}" dt="2021-08-09T08:04:04.812" v="58" actId="2711"/>
          <ac:spMkLst>
            <pc:docMk/>
            <pc:sldMasterMk cId="2165569194" sldId="2147483886"/>
            <ac:spMk id="12" creationId="{B04FD651-31CF-4E24-B530-8160F9D2EC81}"/>
          </ac:spMkLst>
        </pc:spChg>
        <pc:spChg chg="mod">
          <ac:chgData name="Marion Spizzo" userId="43054aff-b319-44f0-be2a-97a1d91f7302" providerId="ADAL" clId="{37B54CB3-BD7E-40B0-8042-8E551ADA4A1D}" dt="2021-08-09T08:03:56.033" v="57" actId="2711"/>
          <ac:spMkLst>
            <pc:docMk/>
            <pc:sldMasterMk cId="2165569194" sldId="2147483886"/>
            <ac:spMk id="16" creationId="{AB826EA0-BB3B-4B29-A086-9CD26EDFECBF}"/>
          </ac:spMkLst>
        </pc:spChg>
      </pc:sldMasterChg>
    </pc:docChg>
  </pc:docChgLst>
  <pc:docChgLst>
    <pc:chgData name="Gastbenutzer" userId="S::urn:spo:anon#a8926d2b520a156fc137781f592fbbe2fcb720fc373a0704fd85dc724f5d9b8d::" providerId="AD" clId="Web-{D67EE027-546F-2A01-4FB2-799C159B8CDC}"/>
    <pc:docChg chg="modSld">
      <pc:chgData name="Gastbenutzer" userId="S::urn:spo:anon#a8926d2b520a156fc137781f592fbbe2fcb720fc373a0704fd85dc724f5d9b8d::" providerId="AD" clId="Web-{D67EE027-546F-2A01-4FB2-799C159B8CDC}" dt="2021-09-27T08:42:08.287" v="1" actId="20577"/>
      <pc:docMkLst>
        <pc:docMk/>
      </pc:docMkLst>
      <pc:sldChg chg="modSp">
        <pc:chgData name="Gastbenutzer" userId="S::urn:spo:anon#a8926d2b520a156fc137781f592fbbe2fcb720fc373a0704fd85dc724f5d9b8d::" providerId="AD" clId="Web-{D67EE027-546F-2A01-4FB2-799C159B8CDC}" dt="2021-09-27T08:42:08.287" v="1" actId="20577"/>
        <pc:sldMkLst>
          <pc:docMk/>
          <pc:sldMk cId="1747923309" sldId="1328"/>
        </pc:sldMkLst>
        <pc:spChg chg="mod">
          <ac:chgData name="Gastbenutzer" userId="S::urn:spo:anon#a8926d2b520a156fc137781f592fbbe2fcb720fc373a0704fd85dc724f5d9b8d::" providerId="AD" clId="Web-{D67EE027-546F-2A01-4FB2-799C159B8CDC}" dt="2021-09-27T08:41:49.365" v="0" actId="20577"/>
          <ac:spMkLst>
            <pc:docMk/>
            <pc:sldMk cId="1747923309" sldId="1328"/>
            <ac:spMk id="39" creationId="{C26A1586-51CB-429B-BF9B-D7834A199362}"/>
          </ac:spMkLst>
        </pc:spChg>
        <pc:spChg chg="mod">
          <ac:chgData name="Gastbenutzer" userId="S::urn:spo:anon#a8926d2b520a156fc137781f592fbbe2fcb720fc373a0704fd85dc724f5d9b8d::" providerId="AD" clId="Web-{D67EE027-546F-2A01-4FB2-799C159B8CDC}" dt="2021-09-27T08:42:08.287" v="1" actId="20577"/>
          <ac:spMkLst>
            <pc:docMk/>
            <pc:sldMk cId="1747923309" sldId="1328"/>
            <ac:spMk id="43" creationId="{0B4A204F-1BA9-4F1C-9C85-1C1C7A64B22E}"/>
          </ac:spMkLst>
        </pc:spChg>
      </pc:sldChg>
    </pc:docChg>
  </pc:docChgLst>
  <pc:docChgLst>
    <pc:chgData name="Céline Felber" userId="03e6e5e3-26bd-4d3d-a86c-4e25438b18a3" providerId="ADAL" clId="{BE78F1B4-9283-4DFC-9280-142FC9E0586D}"/>
    <pc:docChg chg="undo custSel addSld delSld modSld sldOrd modSection">
      <pc:chgData name="Céline Felber" userId="03e6e5e3-26bd-4d3d-a86c-4e25438b18a3" providerId="ADAL" clId="{BE78F1B4-9283-4DFC-9280-142FC9E0586D}" dt="2021-06-04T12:40:29.471" v="570" actId="20577"/>
      <pc:docMkLst>
        <pc:docMk/>
      </pc:docMkLst>
      <pc:sldChg chg="addSp delSp modSp mod">
        <pc:chgData name="Céline Felber" userId="03e6e5e3-26bd-4d3d-a86c-4e25438b18a3" providerId="ADAL" clId="{BE78F1B4-9283-4DFC-9280-142FC9E0586D}" dt="2021-06-04T11:31:12.359" v="18" actId="108"/>
        <pc:sldMkLst>
          <pc:docMk/>
          <pc:sldMk cId="112376409" sldId="1017"/>
        </pc:sldMkLst>
        <pc:spChg chg="del">
          <ac:chgData name="Céline Felber" userId="03e6e5e3-26bd-4d3d-a86c-4e25438b18a3" providerId="ADAL" clId="{BE78F1B4-9283-4DFC-9280-142FC9E0586D}" dt="2021-06-04T11:28:15.350" v="2" actId="478"/>
          <ac:spMkLst>
            <pc:docMk/>
            <pc:sldMk cId="112376409" sldId="1017"/>
            <ac:spMk id="16" creationId="{7B5EF748-24AD-457B-B1A8-1C12FB5298CF}"/>
          </ac:spMkLst>
        </pc:spChg>
        <pc:picChg chg="add del mod">
          <ac:chgData name="Céline Felber" userId="03e6e5e3-26bd-4d3d-a86c-4e25438b18a3" providerId="ADAL" clId="{BE78F1B4-9283-4DFC-9280-142FC9E0586D}" dt="2021-06-04T11:30:25.777" v="5" actId="478"/>
          <ac:picMkLst>
            <pc:docMk/>
            <pc:sldMk cId="112376409" sldId="1017"/>
            <ac:picMk id="4" creationId="{87B3CFA8-0AA9-47EB-BE59-46A5987FD6EA}"/>
          </ac:picMkLst>
        </pc:picChg>
        <pc:picChg chg="del">
          <ac:chgData name="Céline Felber" userId="03e6e5e3-26bd-4d3d-a86c-4e25438b18a3" providerId="ADAL" clId="{BE78F1B4-9283-4DFC-9280-142FC9E0586D}" dt="2021-06-04T11:28:12.821" v="1" actId="478"/>
          <ac:picMkLst>
            <pc:docMk/>
            <pc:sldMk cId="112376409" sldId="1017"/>
            <ac:picMk id="5" creationId="{72DB973E-AA6D-47C3-8CFE-21258CBE0343}"/>
          </ac:picMkLst>
        </pc:picChg>
        <pc:picChg chg="add mod modCrop">
          <ac:chgData name="Céline Felber" userId="03e6e5e3-26bd-4d3d-a86c-4e25438b18a3" providerId="ADAL" clId="{BE78F1B4-9283-4DFC-9280-142FC9E0586D}" dt="2021-06-04T11:31:12.359" v="18" actId="108"/>
          <ac:picMkLst>
            <pc:docMk/>
            <pc:sldMk cId="112376409" sldId="1017"/>
            <ac:picMk id="9" creationId="{AE7FA57A-1C52-4E0C-B455-157A2971254A}"/>
          </ac:picMkLst>
        </pc:picChg>
      </pc:sldChg>
      <pc:sldChg chg="addSp delSp modSp mod">
        <pc:chgData name="Céline Felber" userId="03e6e5e3-26bd-4d3d-a86c-4e25438b18a3" providerId="ADAL" clId="{BE78F1B4-9283-4DFC-9280-142FC9E0586D}" dt="2021-06-04T11:38:02.176" v="45" actId="478"/>
        <pc:sldMkLst>
          <pc:docMk/>
          <pc:sldMk cId="3626055260" sldId="1200"/>
        </pc:sldMkLst>
        <pc:spChg chg="del">
          <ac:chgData name="Céline Felber" userId="03e6e5e3-26bd-4d3d-a86c-4e25438b18a3" providerId="ADAL" clId="{BE78F1B4-9283-4DFC-9280-142FC9E0586D}" dt="2021-06-04T11:31:20.308" v="20" actId="478"/>
          <ac:spMkLst>
            <pc:docMk/>
            <pc:sldMk cId="3626055260" sldId="1200"/>
            <ac:spMk id="5" creationId="{703E1EEF-9F03-4935-A117-DA05CB79537C}"/>
          </ac:spMkLst>
        </pc:spChg>
        <pc:picChg chg="add mod">
          <ac:chgData name="Céline Felber" userId="03e6e5e3-26bd-4d3d-a86c-4e25438b18a3" providerId="ADAL" clId="{BE78F1B4-9283-4DFC-9280-142FC9E0586D}" dt="2021-06-04T11:37:59.182" v="44" actId="14100"/>
          <ac:picMkLst>
            <pc:docMk/>
            <pc:sldMk cId="3626055260" sldId="1200"/>
            <ac:picMk id="4" creationId="{AB622CDD-BC81-4B8D-A862-55F48F8C8241}"/>
          </ac:picMkLst>
        </pc:picChg>
        <pc:picChg chg="del">
          <ac:chgData name="Céline Felber" userId="03e6e5e3-26bd-4d3d-a86c-4e25438b18a3" providerId="ADAL" clId="{BE78F1B4-9283-4DFC-9280-142FC9E0586D}" dt="2021-06-04T11:31:17.202" v="19" actId="478"/>
          <ac:picMkLst>
            <pc:docMk/>
            <pc:sldMk cId="3626055260" sldId="1200"/>
            <ac:picMk id="9" creationId="{F8031469-E8D9-45BA-A5DE-7725E31B0B3F}"/>
          </ac:picMkLst>
        </pc:picChg>
        <pc:picChg chg="add del mod">
          <ac:chgData name="Céline Felber" userId="03e6e5e3-26bd-4d3d-a86c-4e25438b18a3" providerId="ADAL" clId="{BE78F1B4-9283-4DFC-9280-142FC9E0586D}" dt="2021-06-04T11:32:55.762" v="29" actId="478"/>
          <ac:picMkLst>
            <pc:docMk/>
            <pc:sldMk cId="3626055260" sldId="1200"/>
            <ac:picMk id="10" creationId="{80AC58E5-7193-4EA7-9D4B-14A872F8638D}"/>
          </ac:picMkLst>
        </pc:picChg>
        <pc:picChg chg="add del mod ord">
          <ac:chgData name="Céline Felber" userId="03e6e5e3-26bd-4d3d-a86c-4e25438b18a3" providerId="ADAL" clId="{BE78F1B4-9283-4DFC-9280-142FC9E0586D}" dt="2021-06-04T11:38:02.176" v="45" actId="478"/>
          <ac:picMkLst>
            <pc:docMk/>
            <pc:sldMk cId="3626055260" sldId="1200"/>
            <ac:picMk id="11" creationId="{12F27D22-6428-4370-B265-E8035C5D7474}"/>
          </ac:picMkLst>
        </pc:picChg>
      </pc:sldChg>
      <pc:sldChg chg="addSp delSp modSp mod">
        <pc:chgData name="Céline Felber" userId="03e6e5e3-26bd-4d3d-a86c-4e25438b18a3" providerId="ADAL" clId="{BE78F1B4-9283-4DFC-9280-142FC9E0586D}" dt="2021-06-04T11:33:36.511" v="38" actId="478"/>
        <pc:sldMkLst>
          <pc:docMk/>
          <pc:sldMk cId="2851628216" sldId="1201"/>
        </pc:sldMkLst>
        <pc:spChg chg="del">
          <ac:chgData name="Céline Felber" userId="03e6e5e3-26bd-4d3d-a86c-4e25438b18a3" providerId="ADAL" clId="{BE78F1B4-9283-4DFC-9280-142FC9E0586D}" dt="2021-06-04T11:33:03.791" v="31" actId="478"/>
          <ac:spMkLst>
            <pc:docMk/>
            <pc:sldMk cId="2851628216" sldId="1201"/>
            <ac:spMk id="10" creationId="{6EBF42F4-201A-473F-9C58-BF22D2121B01}"/>
          </ac:spMkLst>
        </pc:spChg>
        <pc:picChg chg="add mod">
          <ac:chgData name="Céline Felber" userId="03e6e5e3-26bd-4d3d-a86c-4e25438b18a3" providerId="ADAL" clId="{BE78F1B4-9283-4DFC-9280-142FC9E0586D}" dt="2021-06-04T11:33:35.098" v="37" actId="108"/>
          <ac:picMkLst>
            <pc:docMk/>
            <pc:sldMk cId="2851628216" sldId="1201"/>
            <ac:picMk id="4" creationId="{5E9F3026-F7D1-49AF-85C7-913C9BAE9773}"/>
          </ac:picMkLst>
        </pc:picChg>
        <pc:picChg chg="del">
          <ac:chgData name="Céline Felber" userId="03e6e5e3-26bd-4d3d-a86c-4e25438b18a3" providerId="ADAL" clId="{BE78F1B4-9283-4DFC-9280-142FC9E0586D}" dt="2021-06-04T11:33:01.735" v="30" actId="478"/>
          <ac:picMkLst>
            <pc:docMk/>
            <pc:sldMk cId="2851628216" sldId="1201"/>
            <ac:picMk id="8" creationId="{122D5D0F-1F35-42B3-B750-F2CCF447BC5B}"/>
          </ac:picMkLst>
        </pc:picChg>
        <pc:picChg chg="add del mod">
          <ac:chgData name="Céline Felber" userId="03e6e5e3-26bd-4d3d-a86c-4e25438b18a3" providerId="ADAL" clId="{BE78F1B4-9283-4DFC-9280-142FC9E0586D}" dt="2021-06-04T11:33:36.511" v="38" actId="478"/>
          <ac:picMkLst>
            <pc:docMk/>
            <pc:sldMk cId="2851628216" sldId="1201"/>
            <ac:picMk id="9" creationId="{CE7A9CB6-21FC-46AF-97A7-85D97087AC8F}"/>
          </ac:picMkLst>
        </pc:picChg>
      </pc:sldChg>
      <pc:sldChg chg="modSp mod">
        <pc:chgData name="Céline Felber" userId="03e6e5e3-26bd-4d3d-a86c-4e25438b18a3" providerId="ADAL" clId="{BE78F1B4-9283-4DFC-9280-142FC9E0586D}" dt="2021-06-04T12:03:34.511" v="267" actId="27636"/>
        <pc:sldMkLst>
          <pc:docMk/>
          <pc:sldMk cId="3770443279" sldId="1202"/>
        </pc:sldMkLst>
        <pc:spChg chg="mod">
          <ac:chgData name="Céline Felber" userId="03e6e5e3-26bd-4d3d-a86c-4e25438b18a3" providerId="ADAL" clId="{BE78F1B4-9283-4DFC-9280-142FC9E0586D}" dt="2021-06-04T12:03:12.448" v="261" actId="14100"/>
          <ac:spMkLst>
            <pc:docMk/>
            <pc:sldMk cId="3770443279" sldId="1202"/>
            <ac:spMk id="20" creationId="{0DC09DFE-62F0-45BE-A039-1EBA0EBE6667}"/>
          </ac:spMkLst>
        </pc:spChg>
        <pc:spChg chg="mod">
          <ac:chgData name="Céline Felber" userId="03e6e5e3-26bd-4d3d-a86c-4e25438b18a3" providerId="ADAL" clId="{BE78F1B4-9283-4DFC-9280-142FC9E0586D}" dt="2021-06-04T12:03:05.388" v="260" actId="1036"/>
          <ac:spMkLst>
            <pc:docMk/>
            <pc:sldMk cId="3770443279" sldId="1202"/>
            <ac:spMk id="21" creationId="{DB60116E-2639-4648-AC2D-350224FEDB21}"/>
          </ac:spMkLst>
        </pc:spChg>
        <pc:spChg chg="mod">
          <ac:chgData name="Céline Felber" userId="03e6e5e3-26bd-4d3d-a86c-4e25438b18a3" providerId="ADAL" clId="{BE78F1B4-9283-4DFC-9280-142FC9E0586D}" dt="2021-06-04T11:56:59.693" v="49" actId="20577"/>
          <ac:spMkLst>
            <pc:docMk/>
            <pc:sldMk cId="3770443279" sldId="1202"/>
            <ac:spMk id="22" creationId="{5999E3D1-D651-436C-93AE-E2DA28D7D18B}"/>
          </ac:spMkLst>
        </pc:spChg>
        <pc:spChg chg="mod">
          <ac:chgData name="Céline Felber" userId="03e6e5e3-26bd-4d3d-a86c-4e25438b18a3" providerId="ADAL" clId="{BE78F1B4-9283-4DFC-9280-142FC9E0586D}" dt="2021-06-04T12:03:32.291" v="265" actId="14100"/>
          <ac:spMkLst>
            <pc:docMk/>
            <pc:sldMk cId="3770443279" sldId="1202"/>
            <ac:spMk id="26" creationId="{B97AB44A-0208-46AC-B2A4-A9FDFE1E3BC5}"/>
          </ac:spMkLst>
        </pc:spChg>
        <pc:spChg chg="mod">
          <ac:chgData name="Céline Felber" userId="03e6e5e3-26bd-4d3d-a86c-4e25438b18a3" providerId="ADAL" clId="{BE78F1B4-9283-4DFC-9280-142FC9E0586D}" dt="2021-06-04T12:02:58.119" v="241" actId="1036"/>
          <ac:spMkLst>
            <pc:docMk/>
            <pc:sldMk cId="3770443279" sldId="1202"/>
            <ac:spMk id="27" creationId="{692CA4CE-9CFE-4CC9-9E2B-B5C6DAC0145F}"/>
          </ac:spMkLst>
        </pc:spChg>
        <pc:spChg chg="mod">
          <ac:chgData name="Céline Felber" userId="03e6e5e3-26bd-4d3d-a86c-4e25438b18a3" providerId="ADAL" clId="{BE78F1B4-9283-4DFC-9280-142FC9E0586D}" dt="2021-06-04T12:03:34.511" v="267" actId="27636"/>
          <ac:spMkLst>
            <pc:docMk/>
            <pc:sldMk cId="3770443279" sldId="1202"/>
            <ac:spMk id="28" creationId="{604B9680-9ADD-4FE2-BC05-3EDFE00C4114}"/>
          </ac:spMkLst>
        </pc:spChg>
        <pc:spChg chg="mod">
          <ac:chgData name="Céline Felber" userId="03e6e5e3-26bd-4d3d-a86c-4e25438b18a3" providerId="ADAL" clId="{BE78F1B4-9283-4DFC-9280-142FC9E0586D}" dt="2021-06-04T12:02:58.119" v="241" actId="1036"/>
          <ac:spMkLst>
            <pc:docMk/>
            <pc:sldMk cId="3770443279" sldId="1202"/>
            <ac:spMk id="29" creationId="{0514FD43-50FD-4E50-A49E-60AD1DC2F06C}"/>
          </ac:spMkLst>
        </pc:spChg>
        <pc:spChg chg="mod">
          <ac:chgData name="Céline Felber" userId="03e6e5e3-26bd-4d3d-a86c-4e25438b18a3" providerId="ADAL" clId="{BE78F1B4-9283-4DFC-9280-142FC9E0586D}" dt="2021-06-04T12:03:05.388" v="260" actId="1036"/>
          <ac:spMkLst>
            <pc:docMk/>
            <pc:sldMk cId="3770443279" sldId="1202"/>
            <ac:spMk id="30" creationId="{2E3BCBA8-CEF6-459B-B4AB-074516A6038D}"/>
          </ac:spMkLst>
        </pc:spChg>
      </pc:sldChg>
      <pc:sldChg chg="del">
        <pc:chgData name="Céline Felber" userId="03e6e5e3-26bd-4d3d-a86c-4e25438b18a3" providerId="ADAL" clId="{BE78F1B4-9283-4DFC-9280-142FC9E0586D}" dt="2021-06-04T12:08:54.805" v="268" actId="47"/>
        <pc:sldMkLst>
          <pc:docMk/>
          <pc:sldMk cId="3549447166" sldId="1288"/>
        </pc:sldMkLst>
      </pc:sldChg>
      <pc:sldChg chg="add del ord">
        <pc:chgData name="Céline Felber" userId="03e6e5e3-26bd-4d3d-a86c-4e25438b18a3" providerId="ADAL" clId="{BE78F1B4-9283-4DFC-9280-142FC9E0586D}" dt="2021-06-04T12:10:04.506" v="275" actId="47"/>
        <pc:sldMkLst>
          <pc:docMk/>
          <pc:sldMk cId="1193765005" sldId="1291"/>
        </pc:sldMkLst>
      </pc:sldChg>
      <pc:sldChg chg="modSp add mod">
        <pc:chgData name="Céline Felber" userId="03e6e5e3-26bd-4d3d-a86c-4e25438b18a3" providerId="ADAL" clId="{BE78F1B4-9283-4DFC-9280-142FC9E0586D}" dt="2021-06-04T12:40:29.471" v="570" actId="20577"/>
        <pc:sldMkLst>
          <pc:docMk/>
          <pc:sldMk cId="683684442" sldId="1292"/>
        </pc:sldMkLst>
        <pc:spChg chg="mod">
          <ac:chgData name="Céline Felber" userId="03e6e5e3-26bd-4d3d-a86c-4e25438b18a3" providerId="ADAL" clId="{BE78F1B4-9283-4DFC-9280-142FC9E0586D}" dt="2021-06-04T12:12:38.667" v="323" actId="20577"/>
          <ac:spMkLst>
            <pc:docMk/>
            <pc:sldMk cId="683684442" sldId="1292"/>
            <ac:spMk id="6" creationId="{A19744FE-0122-4458-A703-1ED9355A7C5F}"/>
          </ac:spMkLst>
        </pc:spChg>
        <pc:spChg chg="mod">
          <ac:chgData name="Céline Felber" userId="03e6e5e3-26bd-4d3d-a86c-4e25438b18a3" providerId="ADAL" clId="{BE78F1B4-9283-4DFC-9280-142FC9E0586D}" dt="2021-06-04T12:40:29.471" v="570" actId="20577"/>
          <ac:spMkLst>
            <pc:docMk/>
            <pc:sldMk cId="683684442" sldId="1292"/>
            <ac:spMk id="27" creationId="{82C1FBD4-E916-4C3E-BE64-6D5AB2E4B4DD}"/>
          </ac:spMkLst>
        </pc:spChg>
      </pc:sldChg>
    </pc:docChg>
  </pc:docChgLst>
  <pc:docChgLst>
    <pc:chgData name="Ismail Demiralp" userId="a8c435f5-7078-4aaa-b195-c7fd93ed9c86" providerId="ADAL" clId="{522DB083-8476-47F4-A984-53245D5E0A16}"/>
    <pc:docChg chg="custSel addSld delSld modSld sldOrd modSection">
      <pc:chgData name="Ismail Demiralp" userId="a8c435f5-7078-4aaa-b195-c7fd93ed9c86" providerId="ADAL" clId="{522DB083-8476-47F4-A984-53245D5E0A16}" dt="2021-12-03T08:47:57.146" v="3518"/>
      <pc:docMkLst>
        <pc:docMk/>
      </pc:docMkLst>
      <pc:sldChg chg="delSp modSp mod">
        <pc:chgData name="Ismail Demiralp" userId="a8c435f5-7078-4aaa-b195-c7fd93ed9c86" providerId="ADAL" clId="{522DB083-8476-47F4-A984-53245D5E0A16}" dt="2021-11-22T14:54:33.348" v="3099" actId="15"/>
        <pc:sldMkLst>
          <pc:docMk/>
          <pc:sldMk cId="1881582963" sldId="1332"/>
        </pc:sldMkLst>
        <pc:spChg chg="mod">
          <ac:chgData name="Ismail Demiralp" userId="a8c435f5-7078-4aaa-b195-c7fd93ed9c86" providerId="ADAL" clId="{522DB083-8476-47F4-A984-53245D5E0A16}" dt="2021-11-22T14:54:33.348" v="3099" actId="15"/>
          <ac:spMkLst>
            <pc:docMk/>
            <pc:sldMk cId="1881582963" sldId="1332"/>
            <ac:spMk id="3" creationId="{6466603B-FAD5-41A7-B578-03DB8535B9DD}"/>
          </ac:spMkLst>
        </pc:spChg>
        <pc:picChg chg="del mod">
          <ac:chgData name="Ismail Demiralp" userId="a8c435f5-7078-4aaa-b195-c7fd93ed9c86" providerId="ADAL" clId="{522DB083-8476-47F4-A984-53245D5E0A16}" dt="2021-11-22T14:08:29.406" v="801" actId="21"/>
          <ac:picMkLst>
            <pc:docMk/>
            <pc:sldMk cId="1881582963" sldId="1332"/>
            <ac:picMk id="7" creationId="{E027D974-07A3-4FB0-BFA0-242274904A7D}"/>
          </ac:picMkLst>
        </pc:picChg>
      </pc:sldChg>
      <pc:sldChg chg="modSp mod">
        <pc:chgData name="Ismail Demiralp" userId="a8c435f5-7078-4aaa-b195-c7fd93ed9c86" providerId="ADAL" clId="{522DB083-8476-47F4-A984-53245D5E0A16}" dt="2021-11-22T14:58:41.100" v="3371" actId="6549"/>
        <pc:sldMkLst>
          <pc:docMk/>
          <pc:sldMk cId="1262755752" sldId="1333"/>
        </pc:sldMkLst>
        <pc:spChg chg="mod">
          <ac:chgData name="Ismail Demiralp" userId="a8c435f5-7078-4aaa-b195-c7fd93ed9c86" providerId="ADAL" clId="{522DB083-8476-47F4-A984-53245D5E0A16}" dt="2021-11-22T14:58:41.100" v="3371" actId="6549"/>
          <ac:spMkLst>
            <pc:docMk/>
            <pc:sldMk cId="1262755752" sldId="1333"/>
            <ac:spMk id="4" creationId="{DADD9E0F-ED1C-4F82-BD9D-F0239A2E7022}"/>
          </ac:spMkLst>
        </pc:spChg>
        <pc:spChg chg="mod">
          <ac:chgData name="Ismail Demiralp" userId="a8c435f5-7078-4aaa-b195-c7fd93ed9c86" providerId="ADAL" clId="{522DB083-8476-47F4-A984-53245D5E0A16}" dt="2021-11-22T14:58:32.424" v="3351" actId="14100"/>
          <ac:spMkLst>
            <pc:docMk/>
            <pc:sldMk cId="1262755752" sldId="1333"/>
            <ac:spMk id="67" creationId="{2C45D741-938D-437E-B004-8FC3E016AAD2}"/>
          </ac:spMkLst>
        </pc:spChg>
      </pc:sldChg>
      <pc:sldChg chg="addSp modSp del">
        <pc:chgData name="Ismail Demiralp" userId="a8c435f5-7078-4aaa-b195-c7fd93ed9c86" providerId="ADAL" clId="{522DB083-8476-47F4-A984-53245D5E0A16}" dt="2021-11-22T14:57:54.581" v="3324" actId="47"/>
        <pc:sldMkLst>
          <pc:docMk/>
          <pc:sldMk cId="3675187856" sldId="1334"/>
        </pc:sldMkLst>
        <pc:picChg chg="add mod">
          <ac:chgData name="Ismail Demiralp" userId="a8c435f5-7078-4aaa-b195-c7fd93ed9c86" providerId="ADAL" clId="{522DB083-8476-47F4-A984-53245D5E0A16}" dt="2021-11-22T14:08:30.860" v="802"/>
          <ac:picMkLst>
            <pc:docMk/>
            <pc:sldMk cId="3675187856" sldId="1334"/>
            <ac:picMk id="6" creationId="{77D7E9D6-1714-4A8E-BED2-21ED9047EA92}"/>
          </ac:picMkLst>
        </pc:picChg>
      </pc:sldChg>
      <pc:sldChg chg="modSp add mod">
        <pc:chgData name="Ismail Demiralp" userId="a8c435f5-7078-4aaa-b195-c7fd93ed9c86" providerId="ADAL" clId="{522DB083-8476-47F4-A984-53245D5E0A16}" dt="2021-11-22T14:28:34.828" v="2726" actId="21"/>
        <pc:sldMkLst>
          <pc:docMk/>
          <pc:sldMk cId="2519012293" sldId="1335"/>
        </pc:sldMkLst>
        <pc:spChg chg="mod">
          <ac:chgData name="Ismail Demiralp" userId="a8c435f5-7078-4aaa-b195-c7fd93ed9c86" providerId="ADAL" clId="{522DB083-8476-47F4-A984-53245D5E0A16}" dt="2021-11-22T14:28:34.828" v="2726" actId="21"/>
          <ac:spMkLst>
            <pc:docMk/>
            <pc:sldMk cId="2519012293" sldId="1335"/>
            <ac:spMk id="3" creationId="{6466603B-FAD5-41A7-B578-03DB8535B9DD}"/>
          </ac:spMkLst>
        </pc:spChg>
      </pc:sldChg>
      <pc:sldChg chg="addSp modSp add mod">
        <pc:chgData name="Ismail Demiralp" userId="a8c435f5-7078-4aaa-b195-c7fd93ed9c86" providerId="ADAL" clId="{522DB083-8476-47F4-A984-53245D5E0A16}" dt="2021-12-03T08:47:49.479" v="3515" actId="1076"/>
        <pc:sldMkLst>
          <pc:docMk/>
          <pc:sldMk cId="4118630373" sldId="1336"/>
        </pc:sldMkLst>
        <pc:spChg chg="mod">
          <ac:chgData name="Ismail Demiralp" userId="a8c435f5-7078-4aaa-b195-c7fd93ed9c86" providerId="ADAL" clId="{522DB083-8476-47F4-A984-53245D5E0A16}" dt="2021-12-03T08:47:46.986" v="3514" actId="20577"/>
          <ac:spMkLst>
            <pc:docMk/>
            <pc:sldMk cId="4118630373" sldId="1336"/>
            <ac:spMk id="3" creationId="{6466603B-FAD5-41A7-B578-03DB8535B9DD}"/>
          </ac:spMkLst>
        </pc:spChg>
        <pc:picChg chg="add mod">
          <ac:chgData name="Ismail Demiralp" userId="a8c435f5-7078-4aaa-b195-c7fd93ed9c86" providerId="ADAL" clId="{522DB083-8476-47F4-A984-53245D5E0A16}" dt="2021-12-03T08:47:49.479" v="3515" actId="1076"/>
          <ac:picMkLst>
            <pc:docMk/>
            <pc:sldMk cId="4118630373" sldId="1336"/>
            <ac:picMk id="5" creationId="{E07B78D8-431F-4D9E-8BE6-D859CD2E9FD2}"/>
          </ac:picMkLst>
        </pc:picChg>
      </pc:sldChg>
      <pc:sldChg chg="delSp modSp add mod ord">
        <pc:chgData name="Ismail Demiralp" userId="a8c435f5-7078-4aaa-b195-c7fd93ed9c86" providerId="ADAL" clId="{522DB083-8476-47F4-A984-53245D5E0A16}" dt="2021-12-03T08:47:57.146" v="3518"/>
        <pc:sldMkLst>
          <pc:docMk/>
          <pc:sldMk cId="2821782274" sldId="1337"/>
        </pc:sldMkLst>
        <pc:spChg chg="mod">
          <ac:chgData name="Ismail Demiralp" userId="a8c435f5-7078-4aaa-b195-c7fd93ed9c86" providerId="ADAL" clId="{522DB083-8476-47F4-A984-53245D5E0A16}" dt="2021-12-03T08:47:53.785" v="3516" actId="6549"/>
          <ac:spMkLst>
            <pc:docMk/>
            <pc:sldMk cId="2821782274" sldId="1337"/>
            <ac:spMk id="3" creationId="{6466603B-FAD5-41A7-B578-03DB8535B9DD}"/>
          </ac:spMkLst>
        </pc:spChg>
        <pc:picChg chg="del">
          <ac:chgData name="Ismail Demiralp" userId="a8c435f5-7078-4aaa-b195-c7fd93ed9c86" providerId="ADAL" clId="{522DB083-8476-47F4-A984-53245D5E0A16}" dt="2021-11-22T14:53:06.934" v="3037" actId="478"/>
          <ac:picMkLst>
            <pc:docMk/>
            <pc:sldMk cId="2821782274" sldId="1337"/>
            <ac:picMk id="5" creationId="{E07B78D8-431F-4D9E-8BE6-D859CD2E9FD2}"/>
          </ac:picMkLst>
        </pc:picChg>
      </pc:sldChg>
    </pc:docChg>
  </pc:docChgLst>
  <pc:docChgLst>
    <pc:chgData name="Ieva Dzene" userId="36e850b3-6b13-42b6-8b78-9778956e69b6" providerId="ADAL" clId="{61E5150D-5ED8-4F64-9DB9-E2770C8769C8}"/>
    <pc:docChg chg="undo redo custSel addSld delSld modSld sldOrd modSection">
      <pc:chgData name="Ieva Dzene" userId="36e850b3-6b13-42b6-8b78-9778956e69b6" providerId="ADAL" clId="{61E5150D-5ED8-4F64-9DB9-E2770C8769C8}" dt="2021-11-10T16:07:40.236" v="6837" actId="33524"/>
      <pc:docMkLst>
        <pc:docMk/>
      </pc:docMkLst>
      <pc:sldChg chg="addSp delSp modSp mod">
        <pc:chgData name="Ieva Dzene" userId="36e850b3-6b13-42b6-8b78-9778956e69b6" providerId="ADAL" clId="{61E5150D-5ED8-4F64-9DB9-E2770C8769C8}" dt="2021-11-08T15:16:56.725" v="5699" actId="1076"/>
        <pc:sldMkLst>
          <pc:docMk/>
          <pc:sldMk cId="3626055260" sldId="1200"/>
        </pc:sldMkLst>
        <pc:picChg chg="add del mod">
          <ac:chgData name="Ieva Dzene" userId="36e850b3-6b13-42b6-8b78-9778956e69b6" providerId="ADAL" clId="{61E5150D-5ED8-4F64-9DB9-E2770C8769C8}" dt="2021-11-08T15:16:56.198" v="5698" actId="22"/>
          <ac:picMkLst>
            <pc:docMk/>
            <pc:sldMk cId="3626055260" sldId="1200"/>
            <ac:picMk id="4" creationId="{6436BA94-9CB0-44B0-852B-DEF9732FEE73}"/>
          </ac:picMkLst>
        </pc:picChg>
        <pc:picChg chg="mod">
          <ac:chgData name="Ieva Dzene" userId="36e850b3-6b13-42b6-8b78-9778956e69b6" providerId="ADAL" clId="{61E5150D-5ED8-4F64-9DB9-E2770C8769C8}" dt="2021-11-08T15:16:56.725" v="5699" actId="1076"/>
          <ac:picMkLst>
            <pc:docMk/>
            <pc:sldMk cId="3626055260" sldId="1200"/>
            <ac:picMk id="5" creationId="{714D2C33-B3D0-487F-A5D6-D76884BE76B8}"/>
          </ac:picMkLst>
        </pc:picChg>
      </pc:sldChg>
      <pc:sldChg chg="addSp delSp modSp mod">
        <pc:chgData name="Ieva Dzene" userId="36e850b3-6b13-42b6-8b78-9778956e69b6" providerId="ADAL" clId="{61E5150D-5ED8-4F64-9DB9-E2770C8769C8}" dt="2021-11-08T15:18:01.142" v="5710" actId="1076"/>
        <pc:sldMkLst>
          <pc:docMk/>
          <pc:sldMk cId="2851628216" sldId="1201"/>
        </pc:sldMkLst>
        <pc:picChg chg="del mod">
          <ac:chgData name="Ieva Dzene" userId="36e850b3-6b13-42b6-8b78-9778956e69b6" providerId="ADAL" clId="{61E5150D-5ED8-4F64-9DB9-E2770C8769C8}" dt="2021-11-08T15:17:52.421" v="5708" actId="478"/>
          <ac:picMkLst>
            <pc:docMk/>
            <pc:sldMk cId="2851628216" sldId="1201"/>
            <ac:picMk id="4" creationId="{A648CE9E-3B0F-43F7-A74A-98095E7ACA3C}"/>
          </ac:picMkLst>
        </pc:picChg>
        <pc:picChg chg="add mod">
          <ac:chgData name="Ieva Dzene" userId="36e850b3-6b13-42b6-8b78-9778956e69b6" providerId="ADAL" clId="{61E5150D-5ED8-4F64-9DB9-E2770C8769C8}" dt="2021-11-08T15:18:01.142" v="5710" actId="1076"/>
          <ac:picMkLst>
            <pc:docMk/>
            <pc:sldMk cId="2851628216" sldId="1201"/>
            <ac:picMk id="5" creationId="{37C7D2AA-C7F7-4AD1-A27F-3F60B595781E}"/>
          </ac:picMkLst>
        </pc:picChg>
      </pc:sldChg>
      <pc:sldChg chg="modSp mod">
        <pc:chgData name="Ieva Dzene" userId="36e850b3-6b13-42b6-8b78-9778956e69b6" providerId="ADAL" clId="{61E5150D-5ED8-4F64-9DB9-E2770C8769C8}" dt="2021-11-08T15:16:59.426" v="5701" actId="14100"/>
        <pc:sldMkLst>
          <pc:docMk/>
          <pc:sldMk cId="3770443279" sldId="1202"/>
        </pc:sldMkLst>
        <pc:spChg chg="mod">
          <ac:chgData name="Ieva Dzene" userId="36e850b3-6b13-42b6-8b78-9778956e69b6" providerId="ADAL" clId="{61E5150D-5ED8-4F64-9DB9-E2770C8769C8}" dt="2021-11-08T15:14:44.702" v="5684" actId="1076"/>
          <ac:spMkLst>
            <pc:docMk/>
            <pc:sldMk cId="3770443279" sldId="1202"/>
            <ac:spMk id="18" creationId="{91442355-C9D6-404E-A7C8-290941CAE46B}"/>
          </ac:spMkLst>
        </pc:spChg>
        <pc:spChg chg="mod">
          <ac:chgData name="Ieva Dzene" userId="36e850b3-6b13-42b6-8b78-9778956e69b6" providerId="ADAL" clId="{61E5150D-5ED8-4F64-9DB9-E2770C8769C8}" dt="2021-11-08T15:15:00.823" v="5689" actId="14100"/>
          <ac:spMkLst>
            <pc:docMk/>
            <pc:sldMk cId="3770443279" sldId="1202"/>
            <ac:spMk id="20" creationId="{0DC09DFE-62F0-45BE-A039-1EBA0EBE6667}"/>
          </ac:spMkLst>
        </pc:spChg>
        <pc:spChg chg="mod">
          <ac:chgData name="Ieva Dzene" userId="36e850b3-6b13-42b6-8b78-9778956e69b6" providerId="ADAL" clId="{61E5150D-5ED8-4F64-9DB9-E2770C8769C8}" dt="2021-11-08T15:15:00.823" v="5689" actId="14100"/>
          <ac:spMkLst>
            <pc:docMk/>
            <pc:sldMk cId="3770443279" sldId="1202"/>
            <ac:spMk id="21" creationId="{DB60116E-2639-4648-AC2D-350224FEDB21}"/>
          </ac:spMkLst>
        </pc:spChg>
        <pc:spChg chg="mod">
          <ac:chgData name="Ieva Dzene" userId="36e850b3-6b13-42b6-8b78-9778956e69b6" providerId="ADAL" clId="{61E5150D-5ED8-4F64-9DB9-E2770C8769C8}" dt="2021-11-08T15:14:27.839" v="5681" actId="1076"/>
          <ac:spMkLst>
            <pc:docMk/>
            <pc:sldMk cId="3770443279" sldId="1202"/>
            <ac:spMk id="22" creationId="{5999E3D1-D651-436C-93AE-E2DA28D7D18B}"/>
          </ac:spMkLst>
        </pc:spChg>
        <pc:spChg chg="mod">
          <ac:chgData name="Ieva Dzene" userId="36e850b3-6b13-42b6-8b78-9778956e69b6" providerId="ADAL" clId="{61E5150D-5ED8-4F64-9DB9-E2770C8769C8}" dt="2021-11-08T15:14:27.839" v="5681" actId="1076"/>
          <ac:spMkLst>
            <pc:docMk/>
            <pc:sldMk cId="3770443279" sldId="1202"/>
            <ac:spMk id="23" creationId="{60EA4207-63C0-4AA6-BC93-24494D270DB3}"/>
          </ac:spMkLst>
        </pc:spChg>
        <pc:spChg chg="mod">
          <ac:chgData name="Ieva Dzene" userId="36e850b3-6b13-42b6-8b78-9778956e69b6" providerId="ADAL" clId="{61E5150D-5ED8-4F64-9DB9-E2770C8769C8}" dt="2021-11-08T15:16:59.426" v="5701" actId="14100"/>
          <ac:spMkLst>
            <pc:docMk/>
            <pc:sldMk cId="3770443279" sldId="1202"/>
            <ac:spMk id="26" creationId="{B97AB44A-0208-46AC-B2A4-A9FDFE1E3BC5}"/>
          </ac:spMkLst>
        </pc:spChg>
        <pc:spChg chg="mod">
          <ac:chgData name="Ieva Dzene" userId="36e850b3-6b13-42b6-8b78-9778956e69b6" providerId="ADAL" clId="{61E5150D-5ED8-4F64-9DB9-E2770C8769C8}" dt="2021-11-08T15:15:05.719" v="5690" actId="255"/>
          <ac:spMkLst>
            <pc:docMk/>
            <pc:sldMk cId="3770443279" sldId="1202"/>
            <ac:spMk id="30" creationId="{2E3BCBA8-CEF6-459B-B4AB-074516A6038D}"/>
          </ac:spMkLst>
        </pc:spChg>
        <pc:spChg chg="mod">
          <ac:chgData name="Ieva Dzene" userId="36e850b3-6b13-42b6-8b78-9778956e69b6" providerId="ADAL" clId="{61E5150D-5ED8-4F64-9DB9-E2770C8769C8}" dt="2021-11-08T15:14:27.839" v="5681" actId="1076"/>
          <ac:spMkLst>
            <pc:docMk/>
            <pc:sldMk cId="3770443279" sldId="1202"/>
            <ac:spMk id="33" creationId="{8CC8A6F9-0891-4482-A560-5DDFE7798B8C}"/>
          </ac:spMkLst>
        </pc:spChg>
        <pc:spChg chg="mod">
          <ac:chgData name="Ieva Dzene" userId="36e850b3-6b13-42b6-8b78-9778956e69b6" providerId="ADAL" clId="{61E5150D-5ED8-4F64-9DB9-E2770C8769C8}" dt="2021-11-08T15:14:48.652" v="5686" actId="1076"/>
          <ac:spMkLst>
            <pc:docMk/>
            <pc:sldMk cId="3770443279" sldId="1202"/>
            <ac:spMk id="34" creationId="{C26448EA-46F1-4E01-B7D0-E6FE62E96CE1}"/>
          </ac:spMkLst>
        </pc:spChg>
        <pc:grpChg chg="mod">
          <ac:chgData name="Ieva Dzene" userId="36e850b3-6b13-42b6-8b78-9778956e69b6" providerId="ADAL" clId="{61E5150D-5ED8-4F64-9DB9-E2770C8769C8}" dt="2021-11-08T15:14:27.839" v="5681" actId="1076"/>
          <ac:grpSpMkLst>
            <pc:docMk/>
            <pc:sldMk cId="3770443279" sldId="1202"/>
            <ac:grpSpMk id="15" creationId="{B335413E-B469-4B0A-8354-3F222E781D8D}"/>
          </ac:grpSpMkLst>
        </pc:grpChg>
      </pc:sldChg>
      <pc:sldChg chg="modSp mod">
        <pc:chgData name="Ieva Dzene" userId="36e850b3-6b13-42b6-8b78-9778956e69b6" providerId="ADAL" clId="{61E5150D-5ED8-4F64-9DB9-E2770C8769C8}" dt="2021-11-08T15:10:33.084" v="5629" actId="20577"/>
        <pc:sldMkLst>
          <pc:docMk/>
          <pc:sldMk cId="2097992450" sldId="1263"/>
        </pc:sldMkLst>
        <pc:spChg chg="mod">
          <ac:chgData name="Ieva Dzene" userId="36e850b3-6b13-42b6-8b78-9778956e69b6" providerId="ADAL" clId="{61E5150D-5ED8-4F64-9DB9-E2770C8769C8}" dt="2021-11-08T15:10:33.084" v="5629" actId="20577"/>
          <ac:spMkLst>
            <pc:docMk/>
            <pc:sldMk cId="2097992450" sldId="1263"/>
            <ac:spMk id="55" creationId="{F415A60D-56C1-4E01-94FC-C67FF5D9A62F}"/>
          </ac:spMkLst>
        </pc:spChg>
      </pc:sldChg>
      <pc:sldChg chg="modSp mod">
        <pc:chgData name="Ieva Dzene" userId="36e850b3-6b13-42b6-8b78-9778956e69b6" providerId="ADAL" clId="{61E5150D-5ED8-4F64-9DB9-E2770C8769C8}" dt="2021-10-14T07:04:03.723" v="5273" actId="20577"/>
        <pc:sldMkLst>
          <pc:docMk/>
          <pc:sldMk cId="3315475924" sldId="1272"/>
        </pc:sldMkLst>
        <pc:spChg chg="mod">
          <ac:chgData name="Ieva Dzene" userId="36e850b3-6b13-42b6-8b78-9778956e69b6" providerId="ADAL" clId="{61E5150D-5ED8-4F64-9DB9-E2770C8769C8}" dt="2021-10-14T07:04:03.723" v="5273" actId="20577"/>
          <ac:spMkLst>
            <pc:docMk/>
            <pc:sldMk cId="3315475924" sldId="1272"/>
            <ac:spMk id="3" creationId="{7716F4FB-E2A6-4989-A910-CBF8CC87B56B}"/>
          </ac:spMkLst>
        </pc:spChg>
      </pc:sldChg>
      <pc:sldChg chg="modSp del mod">
        <pc:chgData name="Ieva Dzene" userId="36e850b3-6b13-42b6-8b78-9778956e69b6" providerId="ADAL" clId="{61E5150D-5ED8-4F64-9DB9-E2770C8769C8}" dt="2021-10-14T07:06:00.974" v="5274" actId="2696"/>
        <pc:sldMkLst>
          <pc:docMk/>
          <pc:sldMk cId="785397179" sldId="1293"/>
        </pc:sldMkLst>
        <pc:spChg chg="mod">
          <ac:chgData name="Ieva Dzene" userId="36e850b3-6b13-42b6-8b78-9778956e69b6" providerId="ADAL" clId="{61E5150D-5ED8-4F64-9DB9-E2770C8769C8}" dt="2021-09-17T13:00:11.753" v="50" actId="207"/>
          <ac:spMkLst>
            <pc:docMk/>
            <pc:sldMk cId="785397179" sldId="1293"/>
            <ac:spMk id="9" creationId="{83FE15E9-CE32-4FEF-BD6B-7F5A16C8E5C3}"/>
          </ac:spMkLst>
        </pc:spChg>
        <pc:spChg chg="mod">
          <ac:chgData name="Ieva Dzene" userId="36e850b3-6b13-42b6-8b78-9778956e69b6" providerId="ADAL" clId="{61E5150D-5ED8-4F64-9DB9-E2770C8769C8}" dt="2021-09-17T13:00:21.509" v="51" actId="14100"/>
          <ac:spMkLst>
            <pc:docMk/>
            <pc:sldMk cId="785397179" sldId="1293"/>
            <ac:spMk id="27" creationId="{82C1FBD4-E916-4C3E-BE64-6D5AB2E4B4DD}"/>
          </ac:spMkLst>
        </pc:spChg>
        <pc:picChg chg="mod">
          <ac:chgData name="Ieva Dzene" userId="36e850b3-6b13-42b6-8b78-9778956e69b6" providerId="ADAL" clId="{61E5150D-5ED8-4F64-9DB9-E2770C8769C8}" dt="2021-09-17T12:58:30.496" v="39" actId="2085"/>
          <ac:picMkLst>
            <pc:docMk/>
            <pc:sldMk cId="785397179" sldId="1293"/>
            <ac:picMk id="5" creationId="{9B0E0323-D5D1-43ED-913E-E63C30112F84}"/>
          </ac:picMkLst>
        </pc:picChg>
        <pc:cxnChg chg="mod">
          <ac:chgData name="Ieva Dzene" userId="36e850b3-6b13-42b6-8b78-9778956e69b6" providerId="ADAL" clId="{61E5150D-5ED8-4F64-9DB9-E2770C8769C8}" dt="2021-09-17T13:00:07.144" v="49" actId="14100"/>
          <ac:cxnSpMkLst>
            <pc:docMk/>
            <pc:sldMk cId="785397179" sldId="1293"/>
            <ac:cxnSpMk id="4" creationId="{4034ACD3-97C8-4A16-95D3-5A040778F127}"/>
          </ac:cxnSpMkLst>
        </pc:cxnChg>
      </pc:sldChg>
      <pc:sldChg chg="modSp del mod">
        <pc:chgData name="Ieva Dzene" userId="36e850b3-6b13-42b6-8b78-9778956e69b6" providerId="ADAL" clId="{61E5150D-5ED8-4F64-9DB9-E2770C8769C8}" dt="2021-10-14T07:06:00.974" v="5274" actId="2696"/>
        <pc:sldMkLst>
          <pc:docMk/>
          <pc:sldMk cId="826215798" sldId="1294"/>
        </pc:sldMkLst>
        <pc:spChg chg="mod">
          <ac:chgData name="Ieva Dzene" userId="36e850b3-6b13-42b6-8b78-9778956e69b6" providerId="ADAL" clId="{61E5150D-5ED8-4F64-9DB9-E2770C8769C8}" dt="2021-09-17T11:53:29.545" v="0" actId="14100"/>
          <ac:spMkLst>
            <pc:docMk/>
            <pc:sldMk cId="826215798" sldId="1294"/>
            <ac:spMk id="12" creationId="{AA0B6366-D75C-461E-8FC1-D1E37611540D}"/>
          </ac:spMkLst>
        </pc:spChg>
      </pc:sldChg>
      <pc:sldChg chg="del">
        <pc:chgData name="Ieva Dzene" userId="36e850b3-6b13-42b6-8b78-9778956e69b6" providerId="ADAL" clId="{61E5150D-5ED8-4F64-9DB9-E2770C8769C8}" dt="2021-10-14T07:06:00.974" v="5274" actId="2696"/>
        <pc:sldMkLst>
          <pc:docMk/>
          <pc:sldMk cId="2336422869" sldId="1295"/>
        </pc:sldMkLst>
      </pc:sldChg>
      <pc:sldChg chg="modSp del mod">
        <pc:chgData name="Ieva Dzene" userId="36e850b3-6b13-42b6-8b78-9778956e69b6" providerId="ADAL" clId="{61E5150D-5ED8-4F64-9DB9-E2770C8769C8}" dt="2021-10-14T07:06:00.974" v="5274" actId="2696"/>
        <pc:sldMkLst>
          <pc:docMk/>
          <pc:sldMk cId="1651772397" sldId="1297"/>
        </pc:sldMkLst>
        <pc:picChg chg="mod">
          <ac:chgData name="Ieva Dzene" userId="36e850b3-6b13-42b6-8b78-9778956e69b6" providerId="ADAL" clId="{61E5150D-5ED8-4F64-9DB9-E2770C8769C8}" dt="2021-09-17T12:27:31.872" v="8" actId="2085"/>
          <ac:picMkLst>
            <pc:docMk/>
            <pc:sldMk cId="1651772397" sldId="1297"/>
            <ac:picMk id="5" creationId="{3BEF1BA0-72C3-483E-9697-33CCC3E26570}"/>
          </ac:picMkLst>
        </pc:picChg>
        <pc:picChg chg="mod">
          <ac:chgData name="Ieva Dzene" userId="36e850b3-6b13-42b6-8b78-9778956e69b6" providerId="ADAL" clId="{61E5150D-5ED8-4F64-9DB9-E2770C8769C8}" dt="2021-09-17T12:27:33.529" v="9" actId="2085"/>
          <ac:picMkLst>
            <pc:docMk/>
            <pc:sldMk cId="1651772397" sldId="1297"/>
            <ac:picMk id="8" creationId="{75350C1D-E236-4EE5-9349-E4499E860013}"/>
          </ac:picMkLst>
        </pc:picChg>
      </pc:sldChg>
      <pc:sldChg chg="modSp del mod">
        <pc:chgData name="Ieva Dzene" userId="36e850b3-6b13-42b6-8b78-9778956e69b6" providerId="ADAL" clId="{61E5150D-5ED8-4F64-9DB9-E2770C8769C8}" dt="2021-10-14T07:06:00.974" v="5274" actId="2696"/>
        <pc:sldMkLst>
          <pc:docMk/>
          <pc:sldMk cId="3780738077" sldId="1298"/>
        </pc:sldMkLst>
        <pc:picChg chg="mod">
          <ac:chgData name="Ieva Dzene" userId="36e850b3-6b13-42b6-8b78-9778956e69b6" providerId="ADAL" clId="{61E5150D-5ED8-4F64-9DB9-E2770C8769C8}" dt="2021-09-17T12:34:06.302" v="11" actId="2085"/>
          <ac:picMkLst>
            <pc:docMk/>
            <pc:sldMk cId="3780738077" sldId="1298"/>
            <ac:picMk id="9" creationId="{C7A33756-77FE-48C9-B88C-9717EC915037}"/>
          </ac:picMkLst>
        </pc:picChg>
        <pc:picChg chg="mod">
          <ac:chgData name="Ieva Dzene" userId="36e850b3-6b13-42b6-8b78-9778956e69b6" providerId="ADAL" clId="{61E5150D-5ED8-4F64-9DB9-E2770C8769C8}" dt="2021-09-17T12:34:04.207" v="10" actId="2085"/>
          <ac:picMkLst>
            <pc:docMk/>
            <pc:sldMk cId="3780738077" sldId="1298"/>
            <ac:picMk id="11" creationId="{85AF35B3-44E9-4516-80B2-32618B34E20B}"/>
          </ac:picMkLst>
        </pc:picChg>
      </pc:sldChg>
      <pc:sldChg chg="modSp del mod">
        <pc:chgData name="Ieva Dzene" userId="36e850b3-6b13-42b6-8b78-9778956e69b6" providerId="ADAL" clId="{61E5150D-5ED8-4F64-9DB9-E2770C8769C8}" dt="2021-10-14T07:06:00.974" v="5274" actId="2696"/>
        <pc:sldMkLst>
          <pc:docMk/>
          <pc:sldMk cId="2174108700" sldId="1299"/>
        </pc:sldMkLst>
        <pc:picChg chg="mod">
          <ac:chgData name="Ieva Dzene" userId="36e850b3-6b13-42b6-8b78-9778956e69b6" providerId="ADAL" clId="{61E5150D-5ED8-4F64-9DB9-E2770C8769C8}" dt="2021-09-17T12:41:39.788" v="21" actId="2085"/>
          <ac:picMkLst>
            <pc:docMk/>
            <pc:sldMk cId="2174108700" sldId="1299"/>
            <ac:picMk id="4" creationId="{CA1B9E36-C0CB-4F82-B2DA-54C7FB6D00F2}"/>
          </ac:picMkLst>
        </pc:picChg>
      </pc:sldChg>
      <pc:sldChg chg="modSp del mod">
        <pc:chgData name="Ieva Dzene" userId="36e850b3-6b13-42b6-8b78-9778956e69b6" providerId="ADAL" clId="{61E5150D-5ED8-4F64-9DB9-E2770C8769C8}" dt="2021-10-14T07:06:00.974" v="5274" actId="2696"/>
        <pc:sldMkLst>
          <pc:docMk/>
          <pc:sldMk cId="2557956988" sldId="1300"/>
        </pc:sldMkLst>
        <pc:spChg chg="mod">
          <ac:chgData name="Ieva Dzene" userId="36e850b3-6b13-42b6-8b78-9778956e69b6" providerId="ADAL" clId="{61E5150D-5ED8-4F64-9DB9-E2770C8769C8}" dt="2021-09-17T12:45:08.240" v="37" actId="108"/>
          <ac:spMkLst>
            <pc:docMk/>
            <pc:sldMk cId="2557956988" sldId="1300"/>
            <ac:spMk id="11" creationId="{6662B5C3-871E-4A76-B6DC-FB3496E89B0A}"/>
          </ac:spMkLst>
        </pc:spChg>
        <pc:picChg chg="mod">
          <ac:chgData name="Ieva Dzene" userId="36e850b3-6b13-42b6-8b78-9778956e69b6" providerId="ADAL" clId="{61E5150D-5ED8-4F64-9DB9-E2770C8769C8}" dt="2021-09-17T12:45:12.071" v="38" actId="2085"/>
          <ac:picMkLst>
            <pc:docMk/>
            <pc:sldMk cId="2557956988" sldId="1300"/>
            <ac:picMk id="5" creationId="{F570B64F-2D30-4084-B630-D10B53CABE8D}"/>
          </ac:picMkLst>
        </pc:picChg>
      </pc:sldChg>
      <pc:sldChg chg="modSp del mod">
        <pc:chgData name="Ieva Dzene" userId="36e850b3-6b13-42b6-8b78-9778956e69b6" providerId="ADAL" clId="{61E5150D-5ED8-4F64-9DB9-E2770C8769C8}" dt="2021-10-14T07:06:00.974" v="5274" actId="2696"/>
        <pc:sldMkLst>
          <pc:docMk/>
          <pc:sldMk cId="1311348952" sldId="1301"/>
        </pc:sldMkLst>
        <pc:picChg chg="mod">
          <ac:chgData name="Ieva Dzene" userId="36e850b3-6b13-42b6-8b78-9778956e69b6" providerId="ADAL" clId="{61E5150D-5ED8-4F64-9DB9-E2770C8769C8}" dt="2021-09-17T12:25:36.561" v="6" actId="2085"/>
          <ac:picMkLst>
            <pc:docMk/>
            <pc:sldMk cId="1311348952" sldId="1301"/>
            <ac:picMk id="4" creationId="{49B707BA-4B3E-4649-A0D6-614BD42AF1F4}"/>
          </ac:picMkLst>
        </pc:picChg>
        <pc:picChg chg="mod">
          <ac:chgData name="Ieva Dzene" userId="36e850b3-6b13-42b6-8b78-9778956e69b6" providerId="ADAL" clId="{61E5150D-5ED8-4F64-9DB9-E2770C8769C8}" dt="2021-09-17T12:25:45.300" v="7" actId="2085"/>
          <ac:picMkLst>
            <pc:docMk/>
            <pc:sldMk cId="1311348952" sldId="1301"/>
            <ac:picMk id="9" creationId="{FF9CFE1A-A048-47BB-8C4F-B2F00DC162C0}"/>
          </ac:picMkLst>
        </pc:picChg>
      </pc:sldChg>
      <pc:sldChg chg="addSp delSp modSp del mod">
        <pc:chgData name="Ieva Dzene" userId="36e850b3-6b13-42b6-8b78-9778956e69b6" providerId="ADAL" clId="{61E5150D-5ED8-4F64-9DB9-E2770C8769C8}" dt="2021-10-14T07:06:00.974" v="5274" actId="2696"/>
        <pc:sldMkLst>
          <pc:docMk/>
          <pc:sldMk cId="3643150018" sldId="1302"/>
        </pc:sldMkLst>
        <pc:spChg chg="add del mod">
          <ac:chgData name="Ieva Dzene" userId="36e850b3-6b13-42b6-8b78-9778956e69b6" providerId="ADAL" clId="{61E5150D-5ED8-4F64-9DB9-E2770C8769C8}" dt="2021-09-28T13:34:42.857" v="4915" actId="478"/>
          <ac:spMkLst>
            <pc:docMk/>
            <pc:sldMk cId="3643150018" sldId="1302"/>
            <ac:spMk id="6" creationId="{DA37F5BE-4063-4092-8F4E-0FF3C6BAC6F2}"/>
          </ac:spMkLst>
        </pc:spChg>
        <pc:spChg chg="mod">
          <ac:chgData name="Ieva Dzene" userId="36e850b3-6b13-42b6-8b78-9778956e69b6" providerId="ADAL" clId="{61E5150D-5ED8-4F64-9DB9-E2770C8769C8}" dt="2021-09-28T13:50:16.841" v="5109" actId="1076"/>
          <ac:spMkLst>
            <pc:docMk/>
            <pc:sldMk cId="3643150018" sldId="1302"/>
            <ac:spMk id="8" creationId="{0B99FBE0-26FA-49A4-9CEF-1339024C2F7A}"/>
          </ac:spMkLst>
        </pc:spChg>
        <pc:spChg chg="mod">
          <ac:chgData name="Ieva Dzene" userId="36e850b3-6b13-42b6-8b78-9778956e69b6" providerId="ADAL" clId="{61E5150D-5ED8-4F64-9DB9-E2770C8769C8}" dt="2021-09-28T13:53:16.400" v="5160" actId="20577"/>
          <ac:spMkLst>
            <pc:docMk/>
            <pc:sldMk cId="3643150018" sldId="1302"/>
            <ac:spMk id="9" creationId="{AD8A2925-BF12-4C3F-A74B-8C2367A8E60A}"/>
          </ac:spMkLst>
        </pc:spChg>
        <pc:spChg chg="mod">
          <ac:chgData name="Ieva Dzene" userId="36e850b3-6b13-42b6-8b78-9778956e69b6" providerId="ADAL" clId="{61E5150D-5ED8-4F64-9DB9-E2770C8769C8}" dt="2021-09-28T13:50:16.841" v="5109" actId="1076"/>
          <ac:spMkLst>
            <pc:docMk/>
            <pc:sldMk cId="3643150018" sldId="1302"/>
            <ac:spMk id="11" creationId="{445889AB-4FAE-4A11-A432-238E4D425409}"/>
          </ac:spMkLst>
        </pc:spChg>
        <pc:spChg chg="mod">
          <ac:chgData name="Ieva Dzene" userId="36e850b3-6b13-42b6-8b78-9778956e69b6" providerId="ADAL" clId="{61E5150D-5ED8-4F64-9DB9-E2770C8769C8}" dt="2021-09-28T13:50:16.841" v="5109" actId="1076"/>
          <ac:spMkLst>
            <pc:docMk/>
            <pc:sldMk cId="3643150018" sldId="1302"/>
            <ac:spMk id="12" creationId="{4154A83D-08F5-4978-B5BC-324BCD19DC84}"/>
          </ac:spMkLst>
        </pc:spChg>
        <pc:spChg chg="mod">
          <ac:chgData name="Ieva Dzene" userId="36e850b3-6b13-42b6-8b78-9778956e69b6" providerId="ADAL" clId="{61E5150D-5ED8-4F64-9DB9-E2770C8769C8}" dt="2021-09-28T13:50:16.841" v="5109" actId="1076"/>
          <ac:spMkLst>
            <pc:docMk/>
            <pc:sldMk cId="3643150018" sldId="1302"/>
            <ac:spMk id="13" creationId="{FE0FEF1E-2798-46D1-ACFD-AAB211479A00}"/>
          </ac:spMkLst>
        </pc:spChg>
        <pc:spChg chg="mod">
          <ac:chgData name="Ieva Dzene" userId="36e850b3-6b13-42b6-8b78-9778956e69b6" providerId="ADAL" clId="{61E5150D-5ED8-4F64-9DB9-E2770C8769C8}" dt="2021-09-28T13:50:16.841" v="5109" actId="1076"/>
          <ac:spMkLst>
            <pc:docMk/>
            <pc:sldMk cId="3643150018" sldId="1302"/>
            <ac:spMk id="14" creationId="{2C237937-D3B2-4E38-8356-71E22A9DDA56}"/>
          </ac:spMkLst>
        </pc:spChg>
        <pc:spChg chg="mod">
          <ac:chgData name="Ieva Dzene" userId="36e850b3-6b13-42b6-8b78-9778956e69b6" providerId="ADAL" clId="{61E5150D-5ED8-4F64-9DB9-E2770C8769C8}" dt="2021-09-28T13:50:16.841" v="5109" actId="1076"/>
          <ac:spMkLst>
            <pc:docMk/>
            <pc:sldMk cId="3643150018" sldId="1302"/>
            <ac:spMk id="15" creationId="{AFD4F5CE-572B-42A7-BEAF-522BAFC205D0}"/>
          </ac:spMkLst>
        </pc:spChg>
        <pc:spChg chg="mod">
          <ac:chgData name="Ieva Dzene" userId="36e850b3-6b13-42b6-8b78-9778956e69b6" providerId="ADAL" clId="{61E5150D-5ED8-4F64-9DB9-E2770C8769C8}" dt="2021-09-28T13:50:16.841" v="5109" actId="1076"/>
          <ac:spMkLst>
            <pc:docMk/>
            <pc:sldMk cId="3643150018" sldId="1302"/>
            <ac:spMk id="17" creationId="{E58E9486-F851-4C70-A99E-F83BCCDA50DD}"/>
          </ac:spMkLst>
        </pc:spChg>
        <pc:spChg chg="mod">
          <ac:chgData name="Ieva Dzene" userId="36e850b3-6b13-42b6-8b78-9778956e69b6" providerId="ADAL" clId="{61E5150D-5ED8-4F64-9DB9-E2770C8769C8}" dt="2021-09-28T13:50:16.841" v="5109" actId="1076"/>
          <ac:spMkLst>
            <pc:docMk/>
            <pc:sldMk cId="3643150018" sldId="1302"/>
            <ac:spMk id="18" creationId="{2E782CF3-1A14-48F1-AAD2-7C26FEA5C1D2}"/>
          </ac:spMkLst>
        </pc:spChg>
        <pc:spChg chg="mod">
          <ac:chgData name="Ieva Dzene" userId="36e850b3-6b13-42b6-8b78-9778956e69b6" providerId="ADAL" clId="{61E5150D-5ED8-4F64-9DB9-E2770C8769C8}" dt="2021-09-28T13:50:16.841" v="5109" actId="1076"/>
          <ac:spMkLst>
            <pc:docMk/>
            <pc:sldMk cId="3643150018" sldId="1302"/>
            <ac:spMk id="19" creationId="{9FCF82FF-20D3-4072-AAA6-F17F935C2AF6}"/>
          </ac:spMkLst>
        </pc:spChg>
        <pc:spChg chg="mod">
          <ac:chgData name="Ieva Dzene" userId="36e850b3-6b13-42b6-8b78-9778956e69b6" providerId="ADAL" clId="{61E5150D-5ED8-4F64-9DB9-E2770C8769C8}" dt="2021-09-28T13:50:16.841" v="5109" actId="1076"/>
          <ac:spMkLst>
            <pc:docMk/>
            <pc:sldMk cId="3643150018" sldId="1302"/>
            <ac:spMk id="20" creationId="{E26BD8D3-7C14-40C7-9BF5-8F39A856012F}"/>
          </ac:spMkLst>
        </pc:spChg>
        <pc:spChg chg="mod">
          <ac:chgData name="Ieva Dzene" userId="36e850b3-6b13-42b6-8b78-9778956e69b6" providerId="ADAL" clId="{61E5150D-5ED8-4F64-9DB9-E2770C8769C8}" dt="2021-09-28T13:50:16.841" v="5109" actId="1076"/>
          <ac:spMkLst>
            <pc:docMk/>
            <pc:sldMk cId="3643150018" sldId="1302"/>
            <ac:spMk id="21" creationId="{8F79E85F-B54C-49DF-A034-7ACC49C8F0ED}"/>
          </ac:spMkLst>
        </pc:spChg>
        <pc:spChg chg="del">
          <ac:chgData name="Ieva Dzene" userId="36e850b3-6b13-42b6-8b78-9778956e69b6" providerId="ADAL" clId="{61E5150D-5ED8-4F64-9DB9-E2770C8769C8}" dt="2021-09-28T13:34:40.992" v="4914" actId="478"/>
          <ac:spMkLst>
            <pc:docMk/>
            <pc:sldMk cId="3643150018" sldId="1302"/>
            <ac:spMk id="27" creationId="{82C1FBD4-E916-4C3E-BE64-6D5AB2E4B4DD}"/>
          </ac:spMkLst>
        </pc:spChg>
        <pc:spChg chg="mod">
          <ac:chgData name="Ieva Dzene" userId="36e850b3-6b13-42b6-8b78-9778956e69b6" providerId="ADAL" clId="{61E5150D-5ED8-4F64-9DB9-E2770C8769C8}" dt="2021-09-28T13:50:16.841" v="5109" actId="1076"/>
          <ac:spMkLst>
            <pc:docMk/>
            <pc:sldMk cId="3643150018" sldId="1302"/>
            <ac:spMk id="34" creationId="{C3F3B519-0675-40AC-83EB-CD7FC361B062}"/>
          </ac:spMkLst>
        </pc:spChg>
        <pc:spChg chg="mod">
          <ac:chgData name="Ieva Dzene" userId="36e850b3-6b13-42b6-8b78-9778956e69b6" providerId="ADAL" clId="{61E5150D-5ED8-4F64-9DB9-E2770C8769C8}" dt="2021-09-28T13:50:16.841" v="5109" actId="1076"/>
          <ac:spMkLst>
            <pc:docMk/>
            <pc:sldMk cId="3643150018" sldId="1302"/>
            <ac:spMk id="47" creationId="{2967DFF7-13AA-48FB-974F-7A250D9E829D}"/>
          </ac:spMkLst>
        </pc:spChg>
        <pc:spChg chg="mod">
          <ac:chgData name="Ieva Dzene" userId="36e850b3-6b13-42b6-8b78-9778956e69b6" providerId="ADAL" clId="{61E5150D-5ED8-4F64-9DB9-E2770C8769C8}" dt="2021-09-28T13:50:16.841" v="5109" actId="1076"/>
          <ac:spMkLst>
            <pc:docMk/>
            <pc:sldMk cId="3643150018" sldId="1302"/>
            <ac:spMk id="48" creationId="{45268AB9-BAA4-40CE-944D-449DCDBB4A25}"/>
          </ac:spMkLst>
        </pc:spChg>
        <pc:spChg chg="add mod">
          <ac:chgData name="Ieva Dzene" userId="36e850b3-6b13-42b6-8b78-9778956e69b6" providerId="ADAL" clId="{61E5150D-5ED8-4F64-9DB9-E2770C8769C8}" dt="2021-09-28T13:51:55.164" v="5137" actId="1076"/>
          <ac:spMkLst>
            <pc:docMk/>
            <pc:sldMk cId="3643150018" sldId="1302"/>
            <ac:spMk id="62" creationId="{51F0C938-9887-442F-BB2B-B7447694051A}"/>
          </ac:spMkLst>
        </pc:spChg>
        <pc:spChg chg="add mod">
          <ac:chgData name="Ieva Dzene" userId="36e850b3-6b13-42b6-8b78-9778956e69b6" providerId="ADAL" clId="{61E5150D-5ED8-4F64-9DB9-E2770C8769C8}" dt="2021-09-28T13:50:16.841" v="5109" actId="1076"/>
          <ac:spMkLst>
            <pc:docMk/>
            <pc:sldMk cId="3643150018" sldId="1302"/>
            <ac:spMk id="64" creationId="{690DE934-E083-421E-A01F-B550E1DB47AD}"/>
          </ac:spMkLst>
        </pc:spChg>
        <pc:spChg chg="mod">
          <ac:chgData name="Ieva Dzene" userId="36e850b3-6b13-42b6-8b78-9778956e69b6" providerId="ADAL" clId="{61E5150D-5ED8-4F64-9DB9-E2770C8769C8}" dt="2021-09-28T13:50:16.841" v="5109" actId="1076"/>
          <ac:spMkLst>
            <pc:docMk/>
            <pc:sldMk cId="3643150018" sldId="1302"/>
            <ac:spMk id="70" creationId="{C14BF1F3-A38F-4047-B361-8973DBF9770A}"/>
          </ac:spMkLst>
        </pc:spChg>
        <pc:spChg chg="mod">
          <ac:chgData name="Ieva Dzene" userId="36e850b3-6b13-42b6-8b78-9778956e69b6" providerId="ADAL" clId="{61E5150D-5ED8-4F64-9DB9-E2770C8769C8}" dt="2021-09-28T13:51:11.771" v="5126" actId="1076"/>
          <ac:spMkLst>
            <pc:docMk/>
            <pc:sldMk cId="3643150018" sldId="1302"/>
            <ac:spMk id="71" creationId="{B8C705F8-D9F5-4CD3-BBC2-3BE85E39DC64}"/>
          </ac:spMkLst>
        </pc:spChg>
        <pc:spChg chg="mod">
          <ac:chgData name="Ieva Dzene" userId="36e850b3-6b13-42b6-8b78-9778956e69b6" providerId="ADAL" clId="{61E5150D-5ED8-4F64-9DB9-E2770C8769C8}" dt="2021-09-28T13:50:16.841" v="5109" actId="1076"/>
          <ac:spMkLst>
            <pc:docMk/>
            <pc:sldMk cId="3643150018" sldId="1302"/>
            <ac:spMk id="72" creationId="{3E26D264-9999-414F-891F-B158C75C790B}"/>
          </ac:spMkLst>
        </pc:spChg>
        <pc:spChg chg="mod">
          <ac:chgData name="Ieva Dzene" userId="36e850b3-6b13-42b6-8b78-9778956e69b6" providerId="ADAL" clId="{61E5150D-5ED8-4F64-9DB9-E2770C8769C8}" dt="2021-09-28T13:50:16.841" v="5109" actId="1076"/>
          <ac:spMkLst>
            <pc:docMk/>
            <pc:sldMk cId="3643150018" sldId="1302"/>
            <ac:spMk id="73" creationId="{C412592D-6848-4B37-806D-D870ACD68E5C}"/>
          </ac:spMkLst>
        </pc:spChg>
        <pc:spChg chg="del mod">
          <ac:chgData name="Ieva Dzene" userId="36e850b3-6b13-42b6-8b78-9778956e69b6" providerId="ADAL" clId="{61E5150D-5ED8-4F64-9DB9-E2770C8769C8}" dt="2021-09-28T13:40:21.068" v="4965" actId="478"/>
          <ac:spMkLst>
            <pc:docMk/>
            <pc:sldMk cId="3643150018" sldId="1302"/>
            <ac:spMk id="74" creationId="{D9A2743F-536E-4F12-B82A-7C42157CD0A3}"/>
          </ac:spMkLst>
        </pc:spChg>
        <pc:spChg chg="mod">
          <ac:chgData name="Ieva Dzene" userId="36e850b3-6b13-42b6-8b78-9778956e69b6" providerId="ADAL" clId="{61E5150D-5ED8-4F64-9DB9-E2770C8769C8}" dt="2021-09-28T13:50:16.841" v="5109" actId="1076"/>
          <ac:spMkLst>
            <pc:docMk/>
            <pc:sldMk cId="3643150018" sldId="1302"/>
            <ac:spMk id="75" creationId="{9F7EE9AA-6D46-4BB3-A1B5-9379A03D9F79}"/>
          </ac:spMkLst>
        </pc:spChg>
        <pc:spChg chg="mod">
          <ac:chgData name="Ieva Dzene" userId="36e850b3-6b13-42b6-8b78-9778956e69b6" providerId="ADAL" clId="{61E5150D-5ED8-4F64-9DB9-E2770C8769C8}" dt="2021-09-28T13:50:16.841" v="5109" actId="1076"/>
          <ac:spMkLst>
            <pc:docMk/>
            <pc:sldMk cId="3643150018" sldId="1302"/>
            <ac:spMk id="76" creationId="{5969D2B2-9098-4B55-B495-2795ED9F69C3}"/>
          </ac:spMkLst>
        </pc:spChg>
        <pc:spChg chg="mod">
          <ac:chgData name="Ieva Dzene" userId="36e850b3-6b13-42b6-8b78-9778956e69b6" providerId="ADAL" clId="{61E5150D-5ED8-4F64-9DB9-E2770C8769C8}" dt="2021-09-28T13:50:16.841" v="5109" actId="1076"/>
          <ac:spMkLst>
            <pc:docMk/>
            <pc:sldMk cId="3643150018" sldId="1302"/>
            <ac:spMk id="78" creationId="{276700BC-F945-477F-BFCC-5592F1F7A051}"/>
          </ac:spMkLst>
        </pc:spChg>
        <pc:spChg chg="mod">
          <ac:chgData name="Ieva Dzene" userId="36e850b3-6b13-42b6-8b78-9778956e69b6" providerId="ADAL" clId="{61E5150D-5ED8-4F64-9DB9-E2770C8769C8}" dt="2021-09-28T13:50:16.841" v="5109" actId="1076"/>
          <ac:spMkLst>
            <pc:docMk/>
            <pc:sldMk cId="3643150018" sldId="1302"/>
            <ac:spMk id="79" creationId="{83286329-C253-4FB0-AC38-25253DE53117}"/>
          </ac:spMkLst>
        </pc:spChg>
        <pc:spChg chg="mod">
          <ac:chgData name="Ieva Dzene" userId="36e850b3-6b13-42b6-8b78-9778956e69b6" providerId="ADAL" clId="{61E5150D-5ED8-4F64-9DB9-E2770C8769C8}" dt="2021-09-28T13:50:16.841" v="5109" actId="1076"/>
          <ac:spMkLst>
            <pc:docMk/>
            <pc:sldMk cId="3643150018" sldId="1302"/>
            <ac:spMk id="80" creationId="{9C70924D-8053-43F5-AA6A-1A3381AA49C7}"/>
          </ac:spMkLst>
        </pc:spChg>
        <pc:spChg chg="del mod">
          <ac:chgData name="Ieva Dzene" userId="36e850b3-6b13-42b6-8b78-9778956e69b6" providerId="ADAL" clId="{61E5150D-5ED8-4F64-9DB9-E2770C8769C8}" dt="2021-09-28T13:40:44.434" v="4970" actId="478"/>
          <ac:spMkLst>
            <pc:docMk/>
            <pc:sldMk cId="3643150018" sldId="1302"/>
            <ac:spMk id="194" creationId="{A5D2FEA7-8DA4-458A-B18E-E2081FB5C2B8}"/>
          </ac:spMkLst>
        </pc:spChg>
        <pc:cxnChg chg="mod">
          <ac:chgData name="Ieva Dzene" userId="36e850b3-6b13-42b6-8b78-9778956e69b6" providerId="ADAL" clId="{61E5150D-5ED8-4F64-9DB9-E2770C8769C8}" dt="2021-09-28T13:50:16.841" v="5109" actId="1076"/>
          <ac:cxnSpMkLst>
            <pc:docMk/>
            <pc:sldMk cId="3643150018" sldId="1302"/>
            <ac:cxnSpMk id="4" creationId="{24069004-838A-4F66-A847-64A0F563471A}"/>
          </ac:cxnSpMkLst>
        </pc:cxnChg>
        <pc:cxnChg chg="mod">
          <ac:chgData name="Ieva Dzene" userId="36e850b3-6b13-42b6-8b78-9778956e69b6" providerId="ADAL" clId="{61E5150D-5ED8-4F64-9DB9-E2770C8769C8}" dt="2021-09-28T13:50:16.841" v="5109" actId="1076"/>
          <ac:cxnSpMkLst>
            <pc:docMk/>
            <pc:sldMk cId="3643150018" sldId="1302"/>
            <ac:cxnSpMk id="5" creationId="{93497915-CEF0-4B15-BE39-962E6551E48D}"/>
          </ac:cxnSpMkLst>
        </pc:cxnChg>
        <pc:cxnChg chg="mod">
          <ac:chgData name="Ieva Dzene" userId="36e850b3-6b13-42b6-8b78-9778956e69b6" providerId="ADAL" clId="{61E5150D-5ED8-4F64-9DB9-E2770C8769C8}" dt="2021-09-28T13:50:16.841" v="5109" actId="1076"/>
          <ac:cxnSpMkLst>
            <pc:docMk/>
            <pc:sldMk cId="3643150018" sldId="1302"/>
            <ac:cxnSpMk id="22" creationId="{5C4E7732-081A-413D-8080-6B0A130C1AB1}"/>
          </ac:cxnSpMkLst>
        </pc:cxnChg>
        <pc:cxnChg chg="mod">
          <ac:chgData name="Ieva Dzene" userId="36e850b3-6b13-42b6-8b78-9778956e69b6" providerId="ADAL" clId="{61E5150D-5ED8-4F64-9DB9-E2770C8769C8}" dt="2021-09-28T13:50:16.841" v="5109" actId="1076"/>
          <ac:cxnSpMkLst>
            <pc:docMk/>
            <pc:sldMk cId="3643150018" sldId="1302"/>
            <ac:cxnSpMk id="25" creationId="{E94B2208-76CD-42BE-BD4C-ABD4692319C5}"/>
          </ac:cxnSpMkLst>
        </pc:cxnChg>
        <pc:cxnChg chg="mod">
          <ac:chgData name="Ieva Dzene" userId="36e850b3-6b13-42b6-8b78-9778956e69b6" providerId="ADAL" clId="{61E5150D-5ED8-4F64-9DB9-E2770C8769C8}" dt="2021-09-28T13:50:16.841" v="5109" actId="1076"/>
          <ac:cxnSpMkLst>
            <pc:docMk/>
            <pc:sldMk cId="3643150018" sldId="1302"/>
            <ac:cxnSpMk id="26" creationId="{2DB85002-5EBA-4459-9634-CE1BB90871FF}"/>
          </ac:cxnSpMkLst>
        </pc:cxnChg>
        <pc:cxnChg chg="del mod">
          <ac:chgData name="Ieva Dzene" userId="36e850b3-6b13-42b6-8b78-9778956e69b6" providerId="ADAL" clId="{61E5150D-5ED8-4F64-9DB9-E2770C8769C8}" dt="2021-09-28T13:38:02.762" v="4935" actId="21"/>
          <ac:cxnSpMkLst>
            <pc:docMk/>
            <pc:sldMk cId="3643150018" sldId="1302"/>
            <ac:cxnSpMk id="37" creationId="{8F0183E4-B10B-493F-852B-9997EFFFD8B7}"/>
          </ac:cxnSpMkLst>
        </pc:cxnChg>
        <pc:cxnChg chg="mod">
          <ac:chgData name="Ieva Dzene" userId="36e850b3-6b13-42b6-8b78-9778956e69b6" providerId="ADAL" clId="{61E5150D-5ED8-4F64-9DB9-E2770C8769C8}" dt="2021-09-28T13:50:16.841" v="5109" actId="1076"/>
          <ac:cxnSpMkLst>
            <pc:docMk/>
            <pc:sldMk cId="3643150018" sldId="1302"/>
            <ac:cxnSpMk id="40" creationId="{B46E2F07-A98E-4BAC-8CA2-EBEC3C169DF4}"/>
          </ac:cxnSpMkLst>
        </pc:cxnChg>
        <pc:cxnChg chg="mod">
          <ac:chgData name="Ieva Dzene" userId="36e850b3-6b13-42b6-8b78-9778956e69b6" providerId="ADAL" clId="{61E5150D-5ED8-4F64-9DB9-E2770C8769C8}" dt="2021-09-28T13:50:16.841" v="5109" actId="1076"/>
          <ac:cxnSpMkLst>
            <pc:docMk/>
            <pc:sldMk cId="3643150018" sldId="1302"/>
            <ac:cxnSpMk id="41" creationId="{52D9D6A5-DE5E-48AD-92AA-E075A22A5378}"/>
          </ac:cxnSpMkLst>
        </pc:cxnChg>
        <pc:cxnChg chg="del mod">
          <ac:chgData name="Ieva Dzene" userId="36e850b3-6b13-42b6-8b78-9778956e69b6" providerId="ADAL" clId="{61E5150D-5ED8-4F64-9DB9-E2770C8769C8}" dt="2021-09-28T13:37:48.559" v="4932" actId="478"/>
          <ac:cxnSpMkLst>
            <pc:docMk/>
            <pc:sldMk cId="3643150018" sldId="1302"/>
            <ac:cxnSpMk id="46" creationId="{A70D9D72-4FDD-4274-862E-6928BEDB93E3}"/>
          </ac:cxnSpMkLst>
        </pc:cxnChg>
        <pc:cxnChg chg="mod">
          <ac:chgData name="Ieva Dzene" userId="36e850b3-6b13-42b6-8b78-9778956e69b6" providerId="ADAL" clId="{61E5150D-5ED8-4F64-9DB9-E2770C8769C8}" dt="2021-09-28T13:50:16.841" v="5109" actId="1076"/>
          <ac:cxnSpMkLst>
            <pc:docMk/>
            <pc:sldMk cId="3643150018" sldId="1302"/>
            <ac:cxnSpMk id="50" creationId="{C95CF4EC-21C5-4A30-92E3-3EADBB4C5840}"/>
          </ac:cxnSpMkLst>
        </pc:cxnChg>
        <pc:cxnChg chg="mod">
          <ac:chgData name="Ieva Dzene" userId="36e850b3-6b13-42b6-8b78-9778956e69b6" providerId="ADAL" clId="{61E5150D-5ED8-4F64-9DB9-E2770C8769C8}" dt="2021-09-28T13:50:16.841" v="5109" actId="1076"/>
          <ac:cxnSpMkLst>
            <pc:docMk/>
            <pc:sldMk cId="3643150018" sldId="1302"/>
            <ac:cxnSpMk id="52" creationId="{E50A4187-3EEF-45E4-B6FA-DE454C6B3DA7}"/>
          </ac:cxnSpMkLst>
        </pc:cxnChg>
        <pc:cxnChg chg="add mod">
          <ac:chgData name="Ieva Dzene" userId="36e850b3-6b13-42b6-8b78-9778956e69b6" providerId="ADAL" clId="{61E5150D-5ED8-4F64-9DB9-E2770C8769C8}" dt="2021-09-28T13:50:16.841" v="5109" actId="1076"/>
          <ac:cxnSpMkLst>
            <pc:docMk/>
            <pc:sldMk cId="3643150018" sldId="1302"/>
            <ac:cxnSpMk id="55" creationId="{EAF1D483-3B5A-49C0-9A66-05B9EC0B5DE7}"/>
          </ac:cxnSpMkLst>
        </pc:cxnChg>
        <pc:cxnChg chg="add mod">
          <ac:chgData name="Ieva Dzene" userId="36e850b3-6b13-42b6-8b78-9778956e69b6" providerId="ADAL" clId="{61E5150D-5ED8-4F64-9DB9-E2770C8769C8}" dt="2021-09-28T13:50:16.841" v="5109" actId="1076"/>
          <ac:cxnSpMkLst>
            <pc:docMk/>
            <pc:sldMk cId="3643150018" sldId="1302"/>
            <ac:cxnSpMk id="56" creationId="{657B6AE6-65A2-4F3C-9F39-8928E040C9BE}"/>
          </ac:cxnSpMkLst>
        </pc:cxnChg>
        <pc:cxnChg chg="add del mod">
          <ac:chgData name="Ieva Dzene" userId="36e850b3-6b13-42b6-8b78-9778956e69b6" providerId="ADAL" clId="{61E5150D-5ED8-4F64-9DB9-E2770C8769C8}" dt="2021-09-28T13:39:47.097" v="4954" actId="478"/>
          <ac:cxnSpMkLst>
            <pc:docMk/>
            <pc:sldMk cId="3643150018" sldId="1302"/>
            <ac:cxnSpMk id="57" creationId="{AA37EEE0-7836-423B-BCE5-9797B52FBDD8}"/>
          </ac:cxnSpMkLst>
        </pc:cxnChg>
        <pc:cxnChg chg="add del mod">
          <ac:chgData name="Ieva Dzene" userId="36e850b3-6b13-42b6-8b78-9778956e69b6" providerId="ADAL" clId="{61E5150D-5ED8-4F64-9DB9-E2770C8769C8}" dt="2021-09-28T13:52:07.296" v="5140" actId="478"/>
          <ac:cxnSpMkLst>
            <pc:docMk/>
            <pc:sldMk cId="3643150018" sldId="1302"/>
            <ac:cxnSpMk id="58" creationId="{DA25A140-2DEE-4B2E-BE65-88E56C0063E4}"/>
          </ac:cxnSpMkLst>
        </pc:cxnChg>
        <pc:cxnChg chg="add del mod">
          <ac:chgData name="Ieva Dzene" userId="36e850b3-6b13-42b6-8b78-9778956e69b6" providerId="ADAL" clId="{61E5150D-5ED8-4F64-9DB9-E2770C8769C8}" dt="2021-09-28T13:52:07.296" v="5140" actId="478"/>
          <ac:cxnSpMkLst>
            <pc:docMk/>
            <pc:sldMk cId="3643150018" sldId="1302"/>
            <ac:cxnSpMk id="60" creationId="{5A4F2BB5-F882-43C7-B650-26B04FFC9445}"/>
          </ac:cxnSpMkLst>
        </pc:cxnChg>
        <pc:cxnChg chg="add del mod">
          <ac:chgData name="Ieva Dzene" userId="36e850b3-6b13-42b6-8b78-9778956e69b6" providerId="ADAL" clId="{61E5150D-5ED8-4F64-9DB9-E2770C8769C8}" dt="2021-09-28T13:51:28.365" v="5130" actId="478"/>
          <ac:cxnSpMkLst>
            <pc:docMk/>
            <pc:sldMk cId="3643150018" sldId="1302"/>
            <ac:cxnSpMk id="61" creationId="{29B3A1BA-E940-4253-99C7-592F59824F7B}"/>
          </ac:cxnSpMkLst>
        </pc:cxnChg>
        <pc:cxnChg chg="add mod">
          <ac:chgData name="Ieva Dzene" userId="36e850b3-6b13-42b6-8b78-9778956e69b6" providerId="ADAL" clId="{61E5150D-5ED8-4F64-9DB9-E2770C8769C8}" dt="2021-09-28T13:50:52.297" v="5120" actId="14100"/>
          <ac:cxnSpMkLst>
            <pc:docMk/>
            <pc:sldMk cId="3643150018" sldId="1302"/>
            <ac:cxnSpMk id="77" creationId="{5F9F9980-906F-47C5-8EE7-D9F89565E293}"/>
          </ac:cxnSpMkLst>
        </pc:cxnChg>
        <pc:cxnChg chg="mod">
          <ac:chgData name="Ieva Dzene" userId="36e850b3-6b13-42b6-8b78-9778956e69b6" providerId="ADAL" clId="{61E5150D-5ED8-4F64-9DB9-E2770C8769C8}" dt="2021-09-28T13:50:16.841" v="5109" actId="1076"/>
          <ac:cxnSpMkLst>
            <pc:docMk/>
            <pc:sldMk cId="3643150018" sldId="1302"/>
            <ac:cxnSpMk id="81" creationId="{46F962C5-5441-460B-82EB-51C4747D96E8}"/>
          </ac:cxnSpMkLst>
        </pc:cxnChg>
        <pc:cxnChg chg="add mod">
          <ac:chgData name="Ieva Dzene" userId="36e850b3-6b13-42b6-8b78-9778956e69b6" providerId="ADAL" clId="{61E5150D-5ED8-4F64-9DB9-E2770C8769C8}" dt="2021-09-28T13:51:14.662" v="5127" actId="14100"/>
          <ac:cxnSpMkLst>
            <pc:docMk/>
            <pc:sldMk cId="3643150018" sldId="1302"/>
            <ac:cxnSpMk id="82" creationId="{1A9AD811-7EDB-44DA-9CC3-C6E4D197D21C}"/>
          </ac:cxnSpMkLst>
        </pc:cxnChg>
        <pc:cxnChg chg="add mod">
          <ac:chgData name="Ieva Dzene" userId="36e850b3-6b13-42b6-8b78-9778956e69b6" providerId="ADAL" clId="{61E5150D-5ED8-4F64-9DB9-E2770C8769C8}" dt="2021-09-28T13:51:31.413" v="5131" actId="1076"/>
          <ac:cxnSpMkLst>
            <pc:docMk/>
            <pc:sldMk cId="3643150018" sldId="1302"/>
            <ac:cxnSpMk id="83" creationId="{B97FF750-1F3B-4657-A8BE-D4FBD86D0F4E}"/>
          </ac:cxnSpMkLst>
        </pc:cxnChg>
        <pc:cxnChg chg="del mod">
          <ac:chgData name="Ieva Dzene" userId="36e850b3-6b13-42b6-8b78-9778956e69b6" providerId="ADAL" clId="{61E5150D-5ED8-4F64-9DB9-E2770C8769C8}" dt="2021-09-28T13:52:07.296" v="5140" actId="478"/>
          <ac:cxnSpMkLst>
            <pc:docMk/>
            <pc:sldMk cId="3643150018" sldId="1302"/>
            <ac:cxnSpMk id="84" creationId="{8FD29535-A610-4341-863A-1AEC21319252}"/>
          </ac:cxnSpMkLst>
        </pc:cxnChg>
        <pc:cxnChg chg="add del mod">
          <ac:chgData name="Ieva Dzene" userId="36e850b3-6b13-42b6-8b78-9778956e69b6" providerId="ADAL" clId="{61E5150D-5ED8-4F64-9DB9-E2770C8769C8}" dt="2021-09-28T13:52:39.296" v="5141" actId="478"/>
          <ac:cxnSpMkLst>
            <pc:docMk/>
            <pc:sldMk cId="3643150018" sldId="1302"/>
            <ac:cxnSpMk id="85" creationId="{5032F9E0-1A23-4EB3-8849-42B39C53BB58}"/>
          </ac:cxnSpMkLst>
        </pc:cxnChg>
        <pc:cxnChg chg="add mod">
          <ac:chgData name="Ieva Dzene" userId="36e850b3-6b13-42b6-8b78-9778956e69b6" providerId="ADAL" clId="{61E5150D-5ED8-4F64-9DB9-E2770C8769C8}" dt="2021-09-28T13:52:51.100" v="5144" actId="14100"/>
          <ac:cxnSpMkLst>
            <pc:docMk/>
            <pc:sldMk cId="3643150018" sldId="1302"/>
            <ac:cxnSpMk id="86" creationId="{C142A415-CDD6-478B-A198-BAD26281ECD8}"/>
          </ac:cxnSpMkLst>
        </pc:cxnChg>
        <pc:cxnChg chg="del">
          <ac:chgData name="Ieva Dzene" userId="36e850b3-6b13-42b6-8b78-9778956e69b6" providerId="ADAL" clId="{61E5150D-5ED8-4F64-9DB9-E2770C8769C8}" dt="2021-09-28T13:39:23.123" v="4946" actId="478"/>
          <ac:cxnSpMkLst>
            <pc:docMk/>
            <pc:sldMk cId="3643150018" sldId="1302"/>
            <ac:cxnSpMk id="87" creationId="{FFC0DFD3-B9FE-47C7-AABA-C91E44EECECB}"/>
          </ac:cxnSpMkLst>
        </pc:cxnChg>
        <pc:cxnChg chg="del">
          <ac:chgData name="Ieva Dzene" userId="36e850b3-6b13-42b6-8b78-9778956e69b6" providerId="ADAL" clId="{61E5150D-5ED8-4F64-9DB9-E2770C8769C8}" dt="2021-09-28T13:39:24.508" v="4947" actId="478"/>
          <ac:cxnSpMkLst>
            <pc:docMk/>
            <pc:sldMk cId="3643150018" sldId="1302"/>
            <ac:cxnSpMk id="90" creationId="{70F9DD06-5524-4C4A-B0C9-81BB5E33ADC2}"/>
          </ac:cxnSpMkLst>
        </pc:cxnChg>
        <pc:cxnChg chg="del mod">
          <ac:chgData name="Ieva Dzene" userId="36e850b3-6b13-42b6-8b78-9778956e69b6" providerId="ADAL" clId="{61E5150D-5ED8-4F64-9DB9-E2770C8769C8}" dt="2021-09-28T13:40:06.680" v="4960" actId="478"/>
          <ac:cxnSpMkLst>
            <pc:docMk/>
            <pc:sldMk cId="3643150018" sldId="1302"/>
            <ac:cxnSpMk id="93" creationId="{B5B82215-9158-4F27-A92E-9FB1D3BA3090}"/>
          </ac:cxnSpMkLst>
        </pc:cxnChg>
        <pc:cxnChg chg="mod">
          <ac:chgData name="Ieva Dzene" userId="36e850b3-6b13-42b6-8b78-9778956e69b6" providerId="ADAL" clId="{61E5150D-5ED8-4F64-9DB9-E2770C8769C8}" dt="2021-09-28T13:50:16.841" v="5109" actId="1076"/>
          <ac:cxnSpMkLst>
            <pc:docMk/>
            <pc:sldMk cId="3643150018" sldId="1302"/>
            <ac:cxnSpMk id="195" creationId="{ABC0EB58-A9CB-47B4-8E66-4E7543797FDE}"/>
          </ac:cxnSpMkLst>
        </pc:cxnChg>
        <pc:cxnChg chg="mod">
          <ac:chgData name="Ieva Dzene" userId="36e850b3-6b13-42b6-8b78-9778956e69b6" providerId="ADAL" clId="{61E5150D-5ED8-4F64-9DB9-E2770C8769C8}" dt="2021-09-28T13:50:16.841" v="5109" actId="1076"/>
          <ac:cxnSpMkLst>
            <pc:docMk/>
            <pc:sldMk cId="3643150018" sldId="1302"/>
            <ac:cxnSpMk id="199" creationId="{B9B18DAB-BBD7-440B-ABAE-075C2E59F1B2}"/>
          </ac:cxnSpMkLst>
        </pc:cxnChg>
        <pc:cxnChg chg="mod">
          <ac:chgData name="Ieva Dzene" userId="36e850b3-6b13-42b6-8b78-9778956e69b6" providerId="ADAL" clId="{61E5150D-5ED8-4F64-9DB9-E2770C8769C8}" dt="2021-09-28T13:50:16.841" v="5109" actId="1076"/>
          <ac:cxnSpMkLst>
            <pc:docMk/>
            <pc:sldMk cId="3643150018" sldId="1302"/>
            <ac:cxnSpMk id="202" creationId="{3D972400-1993-40E6-A0E2-546C086E6835}"/>
          </ac:cxnSpMkLst>
        </pc:cxnChg>
      </pc:sldChg>
      <pc:sldChg chg="del">
        <pc:chgData name="Ieva Dzene" userId="36e850b3-6b13-42b6-8b78-9778956e69b6" providerId="ADAL" clId="{61E5150D-5ED8-4F64-9DB9-E2770C8769C8}" dt="2021-10-14T07:06:00.974" v="5274" actId="2696"/>
        <pc:sldMkLst>
          <pc:docMk/>
          <pc:sldMk cId="2009124126" sldId="1305"/>
        </pc:sldMkLst>
      </pc:sldChg>
      <pc:sldChg chg="modSp del mod">
        <pc:chgData name="Ieva Dzene" userId="36e850b3-6b13-42b6-8b78-9778956e69b6" providerId="ADAL" clId="{61E5150D-5ED8-4F64-9DB9-E2770C8769C8}" dt="2021-10-14T07:06:00.974" v="5274" actId="2696"/>
        <pc:sldMkLst>
          <pc:docMk/>
          <pc:sldMk cId="2622729227" sldId="1306"/>
        </pc:sldMkLst>
        <pc:picChg chg="mod">
          <ac:chgData name="Ieva Dzene" userId="36e850b3-6b13-42b6-8b78-9778956e69b6" providerId="ADAL" clId="{61E5150D-5ED8-4F64-9DB9-E2770C8769C8}" dt="2021-09-17T12:38:35.285" v="20" actId="2085"/>
          <ac:picMkLst>
            <pc:docMk/>
            <pc:sldMk cId="2622729227" sldId="1306"/>
            <ac:picMk id="4" creationId="{097F9E6C-AC29-4039-B605-B777F811B2E2}"/>
          </ac:picMkLst>
        </pc:picChg>
        <pc:picChg chg="mod">
          <ac:chgData name="Ieva Dzene" userId="36e850b3-6b13-42b6-8b78-9778956e69b6" providerId="ADAL" clId="{61E5150D-5ED8-4F64-9DB9-E2770C8769C8}" dt="2021-09-17T12:38:33.329" v="19" actId="2085"/>
          <ac:picMkLst>
            <pc:docMk/>
            <pc:sldMk cId="2622729227" sldId="1306"/>
            <ac:picMk id="7" creationId="{5C593096-BD89-4FFF-8DCC-9225BF6076BF}"/>
          </ac:picMkLst>
        </pc:picChg>
      </pc:sldChg>
      <pc:sldChg chg="modSp del mod">
        <pc:chgData name="Ieva Dzene" userId="36e850b3-6b13-42b6-8b78-9778956e69b6" providerId="ADAL" clId="{61E5150D-5ED8-4F64-9DB9-E2770C8769C8}" dt="2021-10-14T07:06:00.974" v="5274" actId="2696"/>
        <pc:sldMkLst>
          <pc:docMk/>
          <pc:sldMk cId="4243250664" sldId="1308"/>
        </pc:sldMkLst>
        <pc:spChg chg="mod">
          <ac:chgData name="Ieva Dzene" userId="36e850b3-6b13-42b6-8b78-9778956e69b6" providerId="ADAL" clId="{61E5150D-5ED8-4F64-9DB9-E2770C8769C8}" dt="2021-09-17T12:23:47.475" v="5" actId="1076"/>
          <ac:spMkLst>
            <pc:docMk/>
            <pc:sldMk cId="4243250664" sldId="1308"/>
            <ac:spMk id="25" creationId="{EC67DA6D-AB9F-4E6B-A33D-D67A42DB9C97}"/>
          </ac:spMkLst>
        </pc:spChg>
        <pc:spChg chg="mod">
          <ac:chgData name="Ieva Dzene" userId="36e850b3-6b13-42b6-8b78-9778956e69b6" providerId="ADAL" clId="{61E5150D-5ED8-4F64-9DB9-E2770C8769C8}" dt="2021-09-17T12:23:27.318" v="3" actId="1076"/>
          <ac:spMkLst>
            <pc:docMk/>
            <pc:sldMk cId="4243250664" sldId="1308"/>
            <ac:spMk id="26" creationId="{A0F915BD-F1A1-473B-9515-FFDAF00DD942}"/>
          </ac:spMkLst>
        </pc:spChg>
        <pc:picChg chg="mod">
          <ac:chgData name="Ieva Dzene" userId="36e850b3-6b13-42b6-8b78-9778956e69b6" providerId="ADAL" clId="{61E5150D-5ED8-4F64-9DB9-E2770C8769C8}" dt="2021-09-17T11:58:50.847" v="1" actId="2085"/>
          <ac:picMkLst>
            <pc:docMk/>
            <pc:sldMk cId="4243250664" sldId="1308"/>
            <ac:picMk id="4" creationId="{49B707BA-4B3E-4649-A0D6-614BD42AF1F4}"/>
          </ac:picMkLst>
        </pc:picChg>
      </pc:sldChg>
      <pc:sldChg chg="del">
        <pc:chgData name="Ieva Dzene" userId="36e850b3-6b13-42b6-8b78-9778956e69b6" providerId="ADAL" clId="{61E5150D-5ED8-4F64-9DB9-E2770C8769C8}" dt="2021-10-14T07:06:00.974" v="5274" actId="2696"/>
        <pc:sldMkLst>
          <pc:docMk/>
          <pc:sldMk cId="4089953594" sldId="1309"/>
        </pc:sldMkLst>
      </pc:sldChg>
      <pc:sldChg chg="del">
        <pc:chgData name="Ieva Dzene" userId="36e850b3-6b13-42b6-8b78-9778956e69b6" providerId="ADAL" clId="{61E5150D-5ED8-4F64-9DB9-E2770C8769C8}" dt="2021-10-14T07:06:00.974" v="5274" actId="2696"/>
        <pc:sldMkLst>
          <pc:docMk/>
          <pc:sldMk cId="288228102" sldId="1313"/>
        </pc:sldMkLst>
      </pc:sldChg>
      <pc:sldChg chg="del">
        <pc:chgData name="Ieva Dzene" userId="36e850b3-6b13-42b6-8b78-9778956e69b6" providerId="ADAL" clId="{61E5150D-5ED8-4F64-9DB9-E2770C8769C8}" dt="2021-10-14T07:06:00.974" v="5274" actId="2696"/>
        <pc:sldMkLst>
          <pc:docMk/>
          <pc:sldMk cId="2693671766" sldId="1314"/>
        </pc:sldMkLst>
      </pc:sldChg>
      <pc:sldChg chg="del">
        <pc:chgData name="Ieva Dzene" userId="36e850b3-6b13-42b6-8b78-9778956e69b6" providerId="ADAL" clId="{61E5150D-5ED8-4F64-9DB9-E2770C8769C8}" dt="2021-10-14T07:06:00.974" v="5274" actId="2696"/>
        <pc:sldMkLst>
          <pc:docMk/>
          <pc:sldMk cId="3708196579" sldId="1318"/>
        </pc:sldMkLst>
      </pc:sldChg>
      <pc:sldChg chg="del">
        <pc:chgData name="Ieva Dzene" userId="36e850b3-6b13-42b6-8b78-9778956e69b6" providerId="ADAL" clId="{61E5150D-5ED8-4F64-9DB9-E2770C8769C8}" dt="2021-10-14T07:06:00.974" v="5274" actId="2696"/>
        <pc:sldMkLst>
          <pc:docMk/>
          <pc:sldMk cId="448311854" sldId="1319"/>
        </pc:sldMkLst>
      </pc:sldChg>
      <pc:sldChg chg="modSp del mod">
        <pc:chgData name="Ieva Dzene" userId="36e850b3-6b13-42b6-8b78-9778956e69b6" providerId="ADAL" clId="{61E5150D-5ED8-4F64-9DB9-E2770C8769C8}" dt="2021-10-14T07:06:00.974" v="5274" actId="2696"/>
        <pc:sldMkLst>
          <pc:docMk/>
          <pc:sldMk cId="2267943728" sldId="1321"/>
        </pc:sldMkLst>
        <pc:spChg chg="mod">
          <ac:chgData name="Ieva Dzene" userId="36e850b3-6b13-42b6-8b78-9778956e69b6" providerId="ADAL" clId="{61E5150D-5ED8-4F64-9DB9-E2770C8769C8}" dt="2021-09-17T12:37:00.847" v="18" actId="1076"/>
          <ac:spMkLst>
            <pc:docMk/>
            <pc:sldMk cId="2267943728" sldId="1321"/>
            <ac:spMk id="19" creationId="{21498F43-4D97-40E7-9E74-837C7BDA0610}"/>
          </ac:spMkLst>
        </pc:spChg>
        <pc:spChg chg="mod">
          <ac:chgData name="Ieva Dzene" userId="36e850b3-6b13-42b6-8b78-9778956e69b6" providerId="ADAL" clId="{61E5150D-5ED8-4F64-9DB9-E2770C8769C8}" dt="2021-09-17T12:36:25.031" v="16" actId="14100"/>
          <ac:spMkLst>
            <pc:docMk/>
            <pc:sldMk cId="2267943728" sldId="1321"/>
            <ac:spMk id="20" creationId="{552EF32D-71D5-464B-82E6-E951468D81C8}"/>
          </ac:spMkLst>
        </pc:spChg>
        <pc:spChg chg="mod">
          <ac:chgData name="Ieva Dzene" userId="36e850b3-6b13-42b6-8b78-9778956e69b6" providerId="ADAL" clId="{61E5150D-5ED8-4F64-9DB9-E2770C8769C8}" dt="2021-09-17T12:36:26.741" v="17" actId="1076"/>
          <ac:spMkLst>
            <pc:docMk/>
            <pc:sldMk cId="2267943728" sldId="1321"/>
            <ac:spMk id="27" creationId="{82C1FBD4-E916-4C3E-BE64-6D5AB2E4B4DD}"/>
          </ac:spMkLst>
        </pc:spChg>
        <pc:picChg chg="mod">
          <ac:chgData name="Ieva Dzene" userId="36e850b3-6b13-42b6-8b78-9778956e69b6" providerId="ADAL" clId="{61E5150D-5ED8-4F64-9DB9-E2770C8769C8}" dt="2021-09-17T12:36:09.071" v="12" actId="2085"/>
          <ac:picMkLst>
            <pc:docMk/>
            <pc:sldMk cId="2267943728" sldId="1321"/>
            <ac:picMk id="4" creationId="{30FCB20F-7385-4028-976F-B8D9142182A4}"/>
          </ac:picMkLst>
        </pc:picChg>
        <pc:picChg chg="mod">
          <ac:chgData name="Ieva Dzene" userId="36e850b3-6b13-42b6-8b78-9778956e69b6" providerId="ADAL" clId="{61E5150D-5ED8-4F64-9DB9-E2770C8769C8}" dt="2021-09-17T12:36:10.799" v="13" actId="2085"/>
          <ac:picMkLst>
            <pc:docMk/>
            <pc:sldMk cId="2267943728" sldId="1321"/>
            <ac:picMk id="8" creationId="{361703F7-3560-4AA4-A64E-4C3401BDFF51}"/>
          </ac:picMkLst>
        </pc:picChg>
      </pc:sldChg>
      <pc:sldChg chg="addSp delSp modSp del mod">
        <pc:chgData name="Ieva Dzene" userId="36e850b3-6b13-42b6-8b78-9778956e69b6" providerId="ADAL" clId="{61E5150D-5ED8-4F64-9DB9-E2770C8769C8}" dt="2021-10-14T07:06:00.974" v="5274" actId="2696"/>
        <pc:sldMkLst>
          <pc:docMk/>
          <pc:sldMk cId="3520973715" sldId="1322"/>
        </pc:sldMkLst>
        <pc:spChg chg="add mod">
          <ac:chgData name="Ieva Dzene" userId="36e850b3-6b13-42b6-8b78-9778956e69b6" providerId="ADAL" clId="{61E5150D-5ED8-4F64-9DB9-E2770C8769C8}" dt="2021-09-28T13:56:59.189" v="5187" actId="1076"/>
          <ac:spMkLst>
            <pc:docMk/>
            <pc:sldMk cId="3520973715" sldId="1322"/>
            <ac:spMk id="25" creationId="{143D9E2A-F9CC-4490-B1D7-1D111D8C6F93}"/>
          </ac:spMkLst>
        </pc:spChg>
        <pc:spChg chg="add mod">
          <ac:chgData name="Ieva Dzene" userId="36e850b3-6b13-42b6-8b78-9778956e69b6" providerId="ADAL" clId="{61E5150D-5ED8-4F64-9DB9-E2770C8769C8}" dt="2021-09-28T13:57:09.665" v="5194" actId="20577"/>
          <ac:spMkLst>
            <pc:docMk/>
            <pc:sldMk cId="3520973715" sldId="1322"/>
            <ac:spMk id="26" creationId="{0D74DB79-097E-4EC9-BE72-E77DE1EA8321}"/>
          </ac:spMkLst>
        </pc:spChg>
        <pc:spChg chg="mod">
          <ac:chgData name="Ieva Dzene" userId="36e850b3-6b13-42b6-8b78-9778956e69b6" providerId="ADAL" clId="{61E5150D-5ED8-4F64-9DB9-E2770C8769C8}" dt="2021-09-28T13:53:52.769" v="5164" actId="108"/>
          <ac:spMkLst>
            <pc:docMk/>
            <pc:sldMk cId="3520973715" sldId="1322"/>
            <ac:spMk id="78" creationId="{276700BC-F945-477F-BFCC-5592F1F7A051}"/>
          </ac:spMkLst>
        </pc:spChg>
        <pc:spChg chg="mod">
          <ac:chgData name="Ieva Dzene" userId="36e850b3-6b13-42b6-8b78-9778956e69b6" providerId="ADAL" clId="{61E5150D-5ED8-4F64-9DB9-E2770C8769C8}" dt="2021-09-28T13:59:05.018" v="5234" actId="20577"/>
          <ac:spMkLst>
            <pc:docMk/>
            <pc:sldMk cId="3520973715" sldId="1322"/>
            <ac:spMk id="86" creationId="{05BAECDD-D80C-49DF-A41D-DD0D8C6F55FF}"/>
          </ac:spMkLst>
        </pc:spChg>
        <pc:spChg chg="mod">
          <ac:chgData name="Ieva Dzene" userId="36e850b3-6b13-42b6-8b78-9778956e69b6" providerId="ADAL" clId="{61E5150D-5ED8-4F64-9DB9-E2770C8769C8}" dt="2021-09-28T13:54:49.453" v="5165" actId="14861"/>
          <ac:spMkLst>
            <pc:docMk/>
            <pc:sldMk cId="3520973715" sldId="1322"/>
            <ac:spMk id="89" creationId="{465AFE5E-2D4A-4E90-95FC-14F0806A7B57}"/>
          </ac:spMkLst>
        </pc:spChg>
        <pc:spChg chg="mod">
          <ac:chgData name="Ieva Dzene" userId="36e850b3-6b13-42b6-8b78-9778956e69b6" providerId="ADAL" clId="{61E5150D-5ED8-4F64-9DB9-E2770C8769C8}" dt="2021-09-28T13:54:53.149" v="5166" actId="108"/>
          <ac:spMkLst>
            <pc:docMk/>
            <pc:sldMk cId="3520973715" sldId="1322"/>
            <ac:spMk id="92" creationId="{31020BCF-4088-4F3D-904B-0716431808DE}"/>
          </ac:spMkLst>
        </pc:spChg>
        <pc:spChg chg="mod">
          <ac:chgData name="Ieva Dzene" userId="36e850b3-6b13-42b6-8b78-9778956e69b6" providerId="ADAL" clId="{61E5150D-5ED8-4F64-9DB9-E2770C8769C8}" dt="2021-09-28T13:55:08.826" v="5168" actId="108"/>
          <ac:spMkLst>
            <pc:docMk/>
            <pc:sldMk cId="3520973715" sldId="1322"/>
            <ac:spMk id="95" creationId="{FEAC6BD5-847A-47FD-B581-5B40E3186A7D}"/>
          </ac:spMkLst>
        </pc:spChg>
        <pc:spChg chg="mod">
          <ac:chgData name="Ieva Dzene" userId="36e850b3-6b13-42b6-8b78-9778956e69b6" providerId="ADAL" clId="{61E5150D-5ED8-4F64-9DB9-E2770C8769C8}" dt="2021-09-28T13:55:15.341" v="5170" actId="108"/>
          <ac:spMkLst>
            <pc:docMk/>
            <pc:sldMk cId="3520973715" sldId="1322"/>
            <ac:spMk id="96" creationId="{1464746D-BA85-4BE0-9E92-1C3E7D70ED67}"/>
          </ac:spMkLst>
        </pc:spChg>
        <pc:spChg chg="mod">
          <ac:chgData name="Ieva Dzene" userId="36e850b3-6b13-42b6-8b78-9778956e69b6" providerId="ADAL" clId="{61E5150D-5ED8-4F64-9DB9-E2770C8769C8}" dt="2021-09-28T13:55:11.771" v="5169" actId="108"/>
          <ac:spMkLst>
            <pc:docMk/>
            <pc:sldMk cId="3520973715" sldId="1322"/>
            <ac:spMk id="100" creationId="{8B40BC40-4694-4CEB-9513-2FA90851E4DE}"/>
          </ac:spMkLst>
        </pc:spChg>
        <pc:spChg chg="mod">
          <ac:chgData name="Ieva Dzene" userId="36e850b3-6b13-42b6-8b78-9778956e69b6" providerId="ADAL" clId="{61E5150D-5ED8-4F64-9DB9-E2770C8769C8}" dt="2021-09-28T13:55:17.888" v="5171" actId="108"/>
          <ac:spMkLst>
            <pc:docMk/>
            <pc:sldMk cId="3520973715" sldId="1322"/>
            <ac:spMk id="101" creationId="{74FEB586-1766-4DE0-A836-6C930B774CF8}"/>
          </ac:spMkLst>
        </pc:spChg>
        <pc:spChg chg="mod">
          <ac:chgData name="Ieva Dzene" userId="36e850b3-6b13-42b6-8b78-9778956e69b6" providerId="ADAL" clId="{61E5150D-5ED8-4F64-9DB9-E2770C8769C8}" dt="2021-09-28T13:53:37.144" v="5163" actId="255"/>
          <ac:spMkLst>
            <pc:docMk/>
            <pc:sldMk cId="3520973715" sldId="1322"/>
            <ac:spMk id="102" creationId="{65719B8D-FB51-432D-8B1A-E8E9FD05456F}"/>
          </ac:spMkLst>
        </pc:spChg>
        <pc:spChg chg="mod">
          <ac:chgData name="Ieva Dzene" userId="36e850b3-6b13-42b6-8b78-9778956e69b6" providerId="ADAL" clId="{61E5150D-5ED8-4F64-9DB9-E2770C8769C8}" dt="2021-09-28T13:57:31.368" v="5219" actId="20577"/>
          <ac:spMkLst>
            <pc:docMk/>
            <pc:sldMk cId="3520973715" sldId="1322"/>
            <ac:spMk id="104" creationId="{1194EF87-CFC2-47A2-8693-AED22F41E367}"/>
          </ac:spMkLst>
        </pc:spChg>
        <pc:cxnChg chg="add mod">
          <ac:chgData name="Ieva Dzene" userId="36e850b3-6b13-42b6-8b78-9778956e69b6" providerId="ADAL" clId="{61E5150D-5ED8-4F64-9DB9-E2770C8769C8}" dt="2021-09-28T13:56:14.175" v="5184" actId="14100"/>
          <ac:cxnSpMkLst>
            <pc:docMk/>
            <pc:sldMk cId="3520973715" sldId="1322"/>
            <ac:cxnSpMk id="23" creationId="{940AF6D7-9108-4BCB-B2A0-BBEB41AABF33}"/>
          </ac:cxnSpMkLst>
        </pc:cxnChg>
        <pc:cxnChg chg="del mod">
          <ac:chgData name="Ieva Dzene" userId="36e850b3-6b13-42b6-8b78-9778956e69b6" providerId="ADAL" clId="{61E5150D-5ED8-4F64-9DB9-E2770C8769C8}" dt="2021-09-28T13:56:01.248" v="5181" actId="478"/>
          <ac:cxnSpMkLst>
            <pc:docMk/>
            <pc:sldMk cId="3520973715" sldId="1322"/>
            <ac:cxnSpMk id="88" creationId="{8D268FBD-1209-498A-B100-8CE918C214D7}"/>
          </ac:cxnSpMkLst>
        </pc:cxnChg>
      </pc:sldChg>
      <pc:sldChg chg="addSp delSp modSp new mod ord">
        <pc:chgData name="Ieva Dzene" userId="36e850b3-6b13-42b6-8b78-9778956e69b6" providerId="ADAL" clId="{61E5150D-5ED8-4F64-9DB9-E2770C8769C8}" dt="2021-10-14T07:36:13.284" v="5626" actId="20577"/>
        <pc:sldMkLst>
          <pc:docMk/>
          <pc:sldMk cId="4293870009" sldId="1323"/>
        </pc:sldMkLst>
        <pc:spChg chg="add del mod">
          <ac:chgData name="Ieva Dzene" userId="36e850b3-6b13-42b6-8b78-9778956e69b6" providerId="ADAL" clId="{61E5150D-5ED8-4F64-9DB9-E2770C8769C8}" dt="2021-10-14T07:23:52.754" v="5343"/>
          <ac:spMkLst>
            <pc:docMk/>
            <pc:sldMk cId="4293870009" sldId="1323"/>
            <ac:spMk id="2" creationId="{46BEC417-8C96-4420-9502-BCC9E21266C4}"/>
          </ac:spMkLst>
        </pc:spChg>
        <pc:spChg chg="del mod">
          <ac:chgData name="Ieva Dzene" userId="36e850b3-6b13-42b6-8b78-9778956e69b6" providerId="ADAL" clId="{61E5150D-5ED8-4F64-9DB9-E2770C8769C8}" dt="2021-09-27T07:41:30.344" v="4829" actId="478"/>
          <ac:spMkLst>
            <pc:docMk/>
            <pc:sldMk cId="4293870009" sldId="1323"/>
            <ac:spMk id="2" creationId="{CBCACD0E-C993-4967-A7FA-C3072636BDF4}"/>
          </ac:spMkLst>
        </pc:spChg>
        <pc:spChg chg="mod">
          <ac:chgData name="Ieva Dzene" userId="36e850b3-6b13-42b6-8b78-9778956e69b6" providerId="ADAL" clId="{61E5150D-5ED8-4F64-9DB9-E2770C8769C8}" dt="2021-10-14T07:23:20.024" v="5333" actId="1076"/>
          <ac:spMkLst>
            <pc:docMk/>
            <pc:sldMk cId="4293870009" sldId="1323"/>
            <ac:spMk id="3" creationId="{F78E7AEE-6ED0-44B9-8E2E-A3A99BE0646A}"/>
          </ac:spMkLst>
        </pc:spChg>
        <pc:spChg chg="mod">
          <ac:chgData name="Ieva Dzene" userId="36e850b3-6b13-42b6-8b78-9778956e69b6" providerId="ADAL" clId="{61E5150D-5ED8-4F64-9DB9-E2770C8769C8}" dt="2021-10-14T07:36:13.284" v="5626" actId="20577"/>
          <ac:spMkLst>
            <pc:docMk/>
            <pc:sldMk cId="4293870009" sldId="1323"/>
            <ac:spMk id="4" creationId="{1CD21C43-48F7-445A-BDC3-9CA39CEACB0B}"/>
          </ac:spMkLst>
        </pc:spChg>
        <pc:spChg chg="add mod">
          <ac:chgData name="Ieva Dzene" userId="36e850b3-6b13-42b6-8b78-9778956e69b6" providerId="ADAL" clId="{61E5150D-5ED8-4F64-9DB9-E2770C8769C8}" dt="2021-10-14T07:34:51.612" v="5584" actId="20577"/>
          <ac:spMkLst>
            <pc:docMk/>
            <pc:sldMk cId="4293870009" sldId="1323"/>
            <ac:spMk id="5" creationId="{73623B0B-3F52-44D8-A417-82D65653BC13}"/>
          </ac:spMkLst>
        </pc:spChg>
        <pc:spChg chg="add mod">
          <ac:chgData name="Ieva Dzene" userId="36e850b3-6b13-42b6-8b78-9778956e69b6" providerId="ADAL" clId="{61E5150D-5ED8-4F64-9DB9-E2770C8769C8}" dt="2021-10-14T07:35:09.666" v="5587" actId="1076"/>
          <ac:spMkLst>
            <pc:docMk/>
            <pc:sldMk cId="4293870009" sldId="1323"/>
            <ac:spMk id="6" creationId="{35E00468-2121-4E26-835C-6A2BCC5A03D9}"/>
          </ac:spMkLst>
        </pc:spChg>
        <pc:spChg chg="add del mod">
          <ac:chgData name="Ieva Dzene" userId="36e850b3-6b13-42b6-8b78-9778956e69b6" providerId="ADAL" clId="{61E5150D-5ED8-4F64-9DB9-E2770C8769C8}" dt="2021-09-27T07:41:37.988" v="4830" actId="478"/>
          <ac:spMkLst>
            <pc:docMk/>
            <pc:sldMk cId="4293870009" sldId="1323"/>
            <ac:spMk id="6" creationId="{7E43CFC7-9BC8-44E4-863E-197CAFB28200}"/>
          </ac:spMkLst>
        </pc:spChg>
        <pc:spChg chg="add del mod">
          <ac:chgData name="Ieva Dzene" userId="36e850b3-6b13-42b6-8b78-9778956e69b6" providerId="ADAL" clId="{61E5150D-5ED8-4F64-9DB9-E2770C8769C8}" dt="2021-10-14T07:35:50.761" v="5598" actId="767"/>
          <ac:spMkLst>
            <pc:docMk/>
            <pc:sldMk cId="4293870009" sldId="1323"/>
            <ac:spMk id="7" creationId="{6A33BEDA-03DF-4977-B30F-955789A339C2}"/>
          </ac:spMkLst>
        </pc:spChg>
        <pc:spChg chg="add mod">
          <ac:chgData name="Ieva Dzene" userId="36e850b3-6b13-42b6-8b78-9778956e69b6" providerId="ADAL" clId="{61E5150D-5ED8-4F64-9DB9-E2770C8769C8}" dt="2021-10-14T07:32:44.483" v="5568" actId="1036"/>
          <ac:spMkLst>
            <pc:docMk/>
            <pc:sldMk cId="4293870009" sldId="1323"/>
            <ac:spMk id="9" creationId="{F4EEA8F4-C40B-431E-AB3D-B5AF2362280B}"/>
          </ac:spMkLst>
        </pc:spChg>
        <pc:spChg chg="add mod">
          <ac:chgData name="Ieva Dzene" userId="36e850b3-6b13-42b6-8b78-9778956e69b6" providerId="ADAL" clId="{61E5150D-5ED8-4F64-9DB9-E2770C8769C8}" dt="2021-10-14T07:35:09.666" v="5587" actId="1076"/>
          <ac:spMkLst>
            <pc:docMk/>
            <pc:sldMk cId="4293870009" sldId="1323"/>
            <ac:spMk id="10" creationId="{FC6EDE53-FCC2-43A0-83BC-FCE24DBDF299}"/>
          </ac:spMkLst>
        </pc:spChg>
        <pc:spChg chg="add mod">
          <ac:chgData name="Ieva Dzene" userId="36e850b3-6b13-42b6-8b78-9778956e69b6" providerId="ADAL" clId="{61E5150D-5ED8-4F64-9DB9-E2770C8769C8}" dt="2021-10-14T07:30:20.619" v="5543" actId="14100"/>
          <ac:spMkLst>
            <pc:docMk/>
            <pc:sldMk cId="4293870009" sldId="1323"/>
            <ac:spMk id="11" creationId="{D1D43D20-8585-4FE3-B87A-2BA35EF04A6F}"/>
          </ac:spMkLst>
        </pc:spChg>
        <pc:spChg chg="add mod">
          <ac:chgData name="Ieva Dzene" userId="36e850b3-6b13-42b6-8b78-9778956e69b6" providerId="ADAL" clId="{61E5150D-5ED8-4F64-9DB9-E2770C8769C8}" dt="2021-10-14T07:31:44.541" v="5556" actId="14100"/>
          <ac:spMkLst>
            <pc:docMk/>
            <pc:sldMk cId="4293870009" sldId="1323"/>
            <ac:spMk id="12" creationId="{11F57C56-CAEB-459F-A93C-0F037FAFDDCC}"/>
          </ac:spMkLst>
        </pc:spChg>
        <pc:spChg chg="add mod">
          <ac:chgData name="Ieva Dzene" userId="36e850b3-6b13-42b6-8b78-9778956e69b6" providerId="ADAL" clId="{61E5150D-5ED8-4F64-9DB9-E2770C8769C8}" dt="2021-10-14T07:35:09.666" v="5587" actId="1076"/>
          <ac:spMkLst>
            <pc:docMk/>
            <pc:sldMk cId="4293870009" sldId="1323"/>
            <ac:spMk id="13" creationId="{CF8C4BA8-57BF-4E50-A715-C9189BB4635E}"/>
          </ac:spMkLst>
        </pc:spChg>
        <pc:spChg chg="add mod">
          <ac:chgData name="Ieva Dzene" userId="36e850b3-6b13-42b6-8b78-9778956e69b6" providerId="ADAL" clId="{61E5150D-5ED8-4F64-9DB9-E2770C8769C8}" dt="2021-10-14T07:32:30.746" v="5565" actId="1036"/>
          <ac:spMkLst>
            <pc:docMk/>
            <pc:sldMk cId="4293870009" sldId="1323"/>
            <ac:spMk id="14" creationId="{71B2661D-3E60-4040-98FE-DBF5130382E4}"/>
          </ac:spMkLst>
        </pc:spChg>
        <pc:picChg chg="add mod">
          <ac:chgData name="Ieva Dzene" userId="36e850b3-6b13-42b6-8b78-9778956e69b6" providerId="ADAL" clId="{61E5150D-5ED8-4F64-9DB9-E2770C8769C8}" dt="2021-10-14T07:31:28.494" v="5552" actId="14861"/>
          <ac:picMkLst>
            <pc:docMk/>
            <pc:sldMk cId="4293870009" sldId="1323"/>
            <ac:picMk id="1026" creationId="{0CEF6DF4-7E10-4EE9-A4DE-58497E0538C9}"/>
          </ac:picMkLst>
        </pc:picChg>
        <pc:picChg chg="add mod">
          <ac:chgData name="Ieva Dzene" userId="36e850b3-6b13-42b6-8b78-9778956e69b6" providerId="ADAL" clId="{61E5150D-5ED8-4F64-9DB9-E2770C8769C8}" dt="2021-10-14T07:35:09.666" v="5587" actId="1076"/>
          <ac:picMkLst>
            <pc:docMk/>
            <pc:sldMk cId="4293870009" sldId="1323"/>
            <ac:picMk id="1028" creationId="{96C8C04C-349C-4DEE-AD36-3DACF15B8981}"/>
          </ac:picMkLst>
        </pc:picChg>
      </pc:sldChg>
      <pc:sldChg chg="addSp delSp modSp mod ord modShow">
        <pc:chgData name="Ieva Dzene" userId="36e850b3-6b13-42b6-8b78-9778956e69b6" providerId="ADAL" clId="{61E5150D-5ED8-4F64-9DB9-E2770C8769C8}" dt="2021-09-27T07:46:08.676" v="4892" actId="20577"/>
        <pc:sldMkLst>
          <pc:docMk/>
          <pc:sldMk cId="4111006451" sldId="1324"/>
        </pc:sldMkLst>
        <pc:spChg chg="del mod">
          <ac:chgData name="Ieva Dzene" userId="36e850b3-6b13-42b6-8b78-9778956e69b6" providerId="ADAL" clId="{61E5150D-5ED8-4F64-9DB9-E2770C8769C8}" dt="2021-09-24T11:39:56.219" v="813" actId="478"/>
          <ac:spMkLst>
            <pc:docMk/>
            <pc:sldMk cId="4111006451" sldId="1324"/>
            <ac:spMk id="2" creationId="{250ABDA2-9B2E-471E-A9AB-028649FAA23D}"/>
          </ac:spMkLst>
        </pc:spChg>
        <pc:spChg chg="mod">
          <ac:chgData name="Ieva Dzene" userId="36e850b3-6b13-42b6-8b78-9778956e69b6" providerId="ADAL" clId="{61E5150D-5ED8-4F64-9DB9-E2770C8769C8}" dt="2021-09-27T07:35:40.251" v="4761" actId="20577"/>
          <ac:spMkLst>
            <pc:docMk/>
            <pc:sldMk cId="4111006451" sldId="1324"/>
            <ac:spMk id="4" creationId="{DADD9E0F-ED1C-4F82-BD9D-F0239A2E7022}"/>
          </ac:spMkLst>
        </pc:spChg>
        <pc:spChg chg="mod">
          <ac:chgData name="Ieva Dzene" userId="36e850b3-6b13-42b6-8b78-9778956e69b6" providerId="ADAL" clId="{61E5150D-5ED8-4F64-9DB9-E2770C8769C8}" dt="2021-09-24T15:18:27.363" v="3458" actId="1076"/>
          <ac:spMkLst>
            <pc:docMk/>
            <pc:sldMk cId="4111006451" sldId="1324"/>
            <ac:spMk id="5" creationId="{330BF89E-CCF6-454D-9595-233E95E51A24}"/>
          </ac:spMkLst>
        </pc:spChg>
        <pc:spChg chg="del mod">
          <ac:chgData name="Ieva Dzene" userId="36e850b3-6b13-42b6-8b78-9778956e69b6" providerId="ADAL" clId="{61E5150D-5ED8-4F64-9DB9-E2770C8769C8}" dt="2021-09-24T12:19:29.993" v="1587" actId="478"/>
          <ac:spMkLst>
            <pc:docMk/>
            <pc:sldMk cId="4111006451" sldId="1324"/>
            <ac:spMk id="6" creationId="{24C51926-07C1-4C29-8E06-B0BC2253D7E0}"/>
          </ac:spMkLst>
        </pc:spChg>
        <pc:spChg chg="del mod">
          <ac:chgData name="Ieva Dzene" userId="36e850b3-6b13-42b6-8b78-9778956e69b6" providerId="ADAL" clId="{61E5150D-5ED8-4F64-9DB9-E2770C8769C8}" dt="2021-09-24T12:19:31.726" v="1589" actId="478"/>
          <ac:spMkLst>
            <pc:docMk/>
            <pc:sldMk cId="4111006451" sldId="1324"/>
            <ac:spMk id="7" creationId="{37A5A9D5-8CF9-4C73-B217-63C519579A0C}"/>
          </ac:spMkLst>
        </pc:spChg>
        <pc:spChg chg="del mod">
          <ac:chgData name="Ieva Dzene" userId="36e850b3-6b13-42b6-8b78-9778956e69b6" providerId="ADAL" clId="{61E5150D-5ED8-4F64-9DB9-E2770C8769C8}" dt="2021-09-24T12:19:33.960" v="1591" actId="478"/>
          <ac:spMkLst>
            <pc:docMk/>
            <pc:sldMk cId="4111006451" sldId="1324"/>
            <ac:spMk id="8" creationId="{E1EDA43C-A110-4513-B414-49B3CAC28541}"/>
          </ac:spMkLst>
        </pc:spChg>
        <pc:spChg chg="del mod">
          <ac:chgData name="Ieva Dzene" userId="36e850b3-6b13-42b6-8b78-9778956e69b6" providerId="ADAL" clId="{61E5150D-5ED8-4F64-9DB9-E2770C8769C8}" dt="2021-09-24T12:04:17.934" v="1189" actId="478"/>
          <ac:spMkLst>
            <pc:docMk/>
            <pc:sldMk cId="4111006451" sldId="1324"/>
            <ac:spMk id="9" creationId="{6D06195E-516D-425E-A45E-A1B79126269F}"/>
          </ac:spMkLst>
        </pc:spChg>
        <pc:spChg chg="del mod">
          <ac:chgData name="Ieva Dzene" userId="36e850b3-6b13-42b6-8b78-9778956e69b6" providerId="ADAL" clId="{61E5150D-5ED8-4F64-9DB9-E2770C8769C8}" dt="2021-09-24T12:04:19.157" v="1190" actId="478"/>
          <ac:spMkLst>
            <pc:docMk/>
            <pc:sldMk cId="4111006451" sldId="1324"/>
            <ac:spMk id="10" creationId="{1FE6A017-82EB-46AA-B474-2067568B7CA4}"/>
          </ac:spMkLst>
        </pc:spChg>
        <pc:spChg chg="del mod">
          <ac:chgData name="Ieva Dzene" userId="36e850b3-6b13-42b6-8b78-9778956e69b6" providerId="ADAL" clId="{61E5150D-5ED8-4F64-9DB9-E2770C8769C8}" dt="2021-09-24T12:04:21.191" v="1191" actId="478"/>
          <ac:spMkLst>
            <pc:docMk/>
            <pc:sldMk cId="4111006451" sldId="1324"/>
            <ac:spMk id="11" creationId="{38EAB98D-93E2-41F8-9A43-3FC1ACD552DC}"/>
          </ac:spMkLst>
        </pc:spChg>
        <pc:spChg chg="del mod">
          <ac:chgData name="Ieva Dzene" userId="36e850b3-6b13-42b6-8b78-9778956e69b6" providerId="ADAL" clId="{61E5150D-5ED8-4F64-9DB9-E2770C8769C8}" dt="2021-09-24T12:04:22.389" v="1192" actId="478"/>
          <ac:spMkLst>
            <pc:docMk/>
            <pc:sldMk cId="4111006451" sldId="1324"/>
            <ac:spMk id="12" creationId="{5E2EED88-5E77-4B7E-BF3D-40BC371C2C3E}"/>
          </ac:spMkLst>
        </pc:spChg>
        <pc:spChg chg="mod">
          <ac:chgData name="Ieva Dzene" userId="36e850b3-6b13-42b6-8b78-9778956e69b6" providerId="ADAL" clId="{61E5150D-5ED8-4F64-9DB9-E2770C8769C8}" dt="2021-09-24T15:22:06.465" v="3508" actId="1076"/>
          <ac:spMkLst>
            <pc:docMk/>
            <pc:sldMk cId="4111006451" sldId="1324"/>
            <ac:spMk id="17" creationId="{DEDF0172-92F5-4A2C-AB3C-6B6D1B0E59CE}"/>
          </ac:spMkLst>
        </pc:spChg>
        <pc:spChg chg="mod">
          <ac:chgData name="Ieva Dzene" userId="36e850b3-6b13-42b6-8b78-9778956e69b6" providerId="ADAL" clId="{61E5150D-5ED8-4F64-9DB9-E2770C8769C8}" dt="2021-09-24T15:56:02.066" v="3649" actId="1076"/>
          <ac:spMkLst>
            <pc:docMk/>
            <pc:sldMk cId="4111006451" sldId="1324"/>
            <ac:spMk id="22" creationId="{38724302-9537-4436-BE71-4E03214DF0E3}"/>
          </ac:spMkLst>
        </pc:spChg>
        <pc:spChg chg="del mod">
          <ac:chgData name="Ieva Dzene" userId="36e850b3-6b13-42b6-8b78-9778956e69b6" providerId="ADAL" clId="{61E5150D-5ED8-4F64-9DB9-E2770C8769C8}" dt="2021-09-24T11:39:45.292" v="810"/>
          <ac:spMkLst>
            <pc:docMk/>
            <pc:sldMk cId="4111006451" sldId="1324"/>
            <ac:spMk id="24" creationId="{09EBE80F-22C5-4C34-96D9-C1A84EC76495}"/>
          </ac:spMkLst>
        </pc:spChg>
        <pc:spChg chg="add del mod">
          <ac:chgData name="Ieva Dzene" userId="36e850b3-6b13-42b6-8b78-9778956e69b6" providerId="ADAL" clId="{61E5150D-5ED8-4F64-9DB9-E2770C8769C8}" dt="2021-09-24T11:39:58.406" v="814" actId="478"/>
          <ac:spMkLst>
            <pc:docMk/>
            <pc:sldMk cId="4111006451" sldId="1324"/>
            <ac:spMk id="25" creationId="{0A2CBC70-B873-4376-8A46-5DC2ED109017}"/>
          </ac:spMkLst>
        </pc:spChg>
        <pc:spChg chg="add mod">
          <ac:chgData name="Ieva Dzene" userId="36e850b3-6b13-42b6-8b78-9778956e69b6" providerId="ADAL" clId="{61E5150D-5ED8-4F64-9DB9-E2770C8769C8}" dt="2021-09-24T16:44:18.071" v="4522" actId="20577"/>
          <ac:spMkLst>
            <pc:docMk/>
            <pc:sldMk cId="4111006451" sldId="1324"/>
            <ac:spMk id="29" creationId="{59F01D03-06BE-4275-8301-B3A0E931BFF6}"/>
          </ac:spMkLst>
        </pc:spChg>
        <pc:spChg chg="add del mod">
          <ac:chgData name="Ieva Dzene" userId="36e850b3-6b13-42b6-8b78-9778956e69b6" providerId="ADAL" clId="{61E5150D-5ED8-4F64-9DB9-E2770C8769C8}" dt="2021-09-24T15:17:59.027" v="3452" actId="478"/>
          <ac:spMkLst>
            <pc:docMk/>
            <pc:sldMk cId="4111006451" sldId="1324"/>
            <ac:spMk id="40" creationId="{54C79CFF-611D-4DE9-9BE8-009A9AD24882}"/>
          </ac:spMkLst>
        </pc:spChg>
        <pc:spChg chg="add del mod">
          <ac:chgData name="Ieva Dzene" userId="36e850b3-6b13-42b6-8b78-9778956e69b6" providerId="ADAL" clId="{61E5150D-5ED8-4F64-9DB9-E2770C8769C8}" dt="2021-09-24T15:18:46.378" v="3460" actId="478"/>
          <ac:spMkLst>
            <pc:docMk/>
            <pc:sldMk cId="4111006451" sldId="1324"/>
            <ac:spMk id="44" creationId="{92D6AE71-F1D2-4717-AC8A-9F6B8CD7F132}"/>
          </ac:spMkLst>
        </pc:spChg>
        <pc:spChg chg="add mod">
          <ac:chgData name="Ieva Dzene" userId="36e850b3-6b13-42b6-8b78-9778956e69b6" providerId="ADAL" clId="{61E5150D-5ED8-4F64-9DB9-E2770C8769C8}" dt="2021-09-24T15:34:53.966" v="3595" actId="1076"/>
          <ac:spMkLst>
            <pc:docMk/>
            <pc:sldMk cId="4111006451" sldId="1324"/>
            <ac:spMk id="46" creationId="{0F4E37C0-9CBB-49E6-9E4C-F23750A45287}"/>
          </ac:spMkLst>
        </pc:spChg>
        <pc:spChg chg="add mod">
          <ac:chgData name="Ieva Dzene" userId="36e850b3-6b13-42b6-8b78-9778956e69b6" providerId="ADAL" clId="{61E5150D-5ED8-4F64-9DB9-E2770C8769C8}" dt="2021-09-24T15:39:09.617" v="3615" actId="1076"/>
          <ac:spMkLst>
            <pc:docMk/>
            <pc:sldMk cId="4111006451" sldId="1324"/>
            <ac:spMk id="50" creationId="{6D65CDE5-E83B-47BB-B8DE-502412BD2202}"/>
          </ac:spMkLst>
        </pc:spChg>
        <pc:spChg chg="add mod">
          <ac:chgData name="Ieva Dzene" userId="36e850b3-6b13-42b6-8b78-9778956e69b6" providerId="ADAL" clId="{61E5150D-5ED8-4F64-9DB9-E2770C8769C8}" dt="2021-09-24T15:39:06.773" v="3614" actId="1076"/>
          <ac:spMkLst>
            <pc:docMk/>
            <pc:sldMk cId="4111006451" sldId="1324"/>
            <ac:spMk id="52" creationId="{7A144B66-8198-4E51-A363-32DBA82D3F4C}"/>
          </ac:spMkLst>
        </pc:spChg>
        <pc:spChg chg="add del">
          <ac:chgData name="Ieva Dzene" userId="36e850b3-6b13-42b6-8b78-9778956e69b6" providerId="ADAL" clId="{61E5150D-5ED8-4F64-9DB9-E2770C8769C8}" dt="2021-09-24T12:26:43.938" v="1612" actId="11529"/>
          <ac:spMkLst>
            <pc:docMk/>
            <pc:sldMk cId="4111006451" sldId="1324"/>
            <ac:spMk id="59" creationId="{20C9BAFC-B272-4E80-BF4F-495879BF7530}"/>
          </ac:spMkLst>
        </pc:spChg>
        <pc:spChg chg="add del">
          <ac:chgData name="Ieva Dzene" userId="36e850b3-6b13-42b6-8b78-9778956e69b6" providerId="ADAL" clId="{61E5150D-5ED8-4F64-9DB9-E2770C8769C8}" dt="2021-09-24T12:27:05.141" v="1614" actId="11529"/>
          <ac:spMkLst>
            <pc:docMk/>
            <pc:sldMk cId="4111006451" sldId="1324"/>
            <ac:spMk id="60" creationId="{CF0523D5-8480-49E9-A328-71CC715BAAAA}"/>
          </ac:spMkLst>
        </pc:spChg>
        <pc:spChg chg="add del mod">
          <ac:chgData name="Ieva Dzene" userId="36e850b3-6b13-42b6-8b78-9778956e69b6" providerId="ADAL" clId="{61E5150D-5ED8-4F64-9DB9-E2770C8769C8}" dt="2021-09-24T12:29:08.823" v="1632" actId="478"/>
          <ac:spMkLst>
            <pc:docMk/>
            <pc:sldMk cId="4111006451" sldId="1324"/>
            <ac:spMk id="61" creationId="{75E04949-24AA-4CDD-98DD-570E7563D208}"/>
          </ac:spMkLst>
        </pc:spChg>
        <pc:spChg chg="add del">
          <ac:chgData name="Ieva Dzene" userId="36e850b3-6b13-42b6-8b78-9778956e69b6" providerId="ADAL" clId="{61E5150D-5ED8-4F64-9DB9-E2770C8769C8}" dt="2021-09-24T12:31:17.908" v="1646" actId="11529"/>
          <ac:spMkLst>
            <pc:docMk/>
            <pc:sldMk cId="4111006451" sldId="1324"/>
            <ac:spMk id="62" creationId="{CF23C8DF-6A3A-4E6C-ABA9-D9D533C6EB7F}"/>
          </ac:spMkLst>
        </pc:spChg>
        <pc:spChg chg="add del mod">
          <ac:chgData name="Ieva Dzene" userId="36e850b3-6b13-42b6-8b78-9778956e69b6" providerId="ADAL" clId="{61E5150D-5ED8-4F64-9DB9-E2770C8769C8}" dt="2021-09-24T14:50:05.036" v="3058" actId="478"/>
          <ac:spMkLst>
            <pc:docMk/>
            <pc:sldMk cId="4111006451" sldId="1324"/>
            <ac:spMk id="64" creationId="{7D9B0AE1-9509-467B-95DA-5E3A62832BB9}"/>
          </ac:spMkLst>
        </pc:spChg>
        <pc:spChg chg="add del mod">
          <ac:chgData name="Ieva Dzene" userId="36e850b3-6b13-42b6-8b78-9778956e69b6" providerId="ADAL" clId="{61E5150D-5ED8-4F64-9DB9-E2770C8769C8}" dt="2021-09-24T15:02:08.659" v="3347" actId="478"/>
          <ac:spMkLst>
            <pc:docMk/>
            <pc:sldMk cId="4111006451" sldId="1324"/>
            <ac:spMk id="66" creationId="{6A67AAFF-712D-4093-AA32-CC97212FF2E4}"/>
          </ac:spMkLst>
        </pc:spChg>
        <pc:spChg chg="add mod">
          <ac:chgData name="Ieva Dzene" userId="36e850b3-6b13-42b6-8b78-9778956e69b6" providerId="ADAL" clId="{61E5150D-5ED8-4F64-9DB9-E2770C8769C8}" dt="2021-09-27T07:46:08.676" v="4892" actId="20577"/>
          <ac:spMkLst>
            <pc:docMk/>
            <pc:sldMk cId="4111006451" sldId="1324"/>
            <ac:spMk id="67" creationId="{2C45D741-938D-437E-B004-8FC3E016AAD2}"/>
          </ac:spMkLst>
        </pc:spChg>
        <pc:spChg chg="add mod ord">
          <ac:chgData name="Ieva Dzene" userId="36e850b3-6b13-42b6-8b78-9778956e69b6" providerId="ADAL" clId="{61E5150D-5ED8-4F64-9DB9-E2770C8769C8}" dt="2021-09-27T07:46:05.356" v="4888" actId="20577"/>
          <ac:spMkLst>
            <pc:docMk/>
            <pc:sldMk cId="4111006451" sldId="1324"/>
            <ac:spMk id="68" creationId="{43530EBD-0B8D-4A35-A653-7EC71BB326E8}"/>
          </ac:spMkLst>
        </pc:spChg>
        <pc:spChg chg="add mod">
          <ac:chgData name="Ieva Dzene" userId="36e850b3-6b13-42b6-8b78-9778956e69b6" providerId="ADAL" clId="{61E5150D-5ED8-4F64-9DB9-E2770C8769C8}" dt="2021-09-27T06:48:47.498" v="4535" actId="20577"/>
          <ac:spMkLst>
            <pc:docMk/>
            <pc:sldMk cId="4111006451" sldId="1324"/>
            <ac:spMk id="93" creationId="{1D2FB84E-A477-4E7D-9F6A-AEB247CBA51C}"/>
          </ac:spMkLst>
        </pc:spChg>
        <pc:spChg chg="add mod">
          <ac:chgData name="Ieva Dzene" userId="36e850b3-6b13-42b6-8b78-9778956e69b6" providerId="ADAL" clId="{61E5150D-5ED8-4F64-9DB9-E2770C8769C8}" dt="2021-09-24T15:19:25.232" v="3469" actId="1076"/>
          <ac:spMkLst>
            <pc:docMk/>
            <pc:sldMk cId="4111006451" sldId="1324"/>
            <ac:spMk id="94" creationId="{0E58DF0B-847A-4D38-ABC7-F754B6382F8F}"/>
          </ac:spMkLst>
        </pc:spChg>
        <pc:picChg chg="add mod">
          <ac:chgData name="Ieva Dzene" userId="36e850b3-6b13-42b6-8b78-9778956e69b6" providerId="ADAL" clId="{61E5150D-5ED8-4F64-9DB9-E2770C8769C8}" dt="2021-09-24T15:56:04.539" v="3650" actId="1076"/>
          <ac:picMkLst>
            <pc:docMk/>
            <pc:sldMk cId="4111006451" sldId="1324"/>
            <ac:picMk id="56" creationId="{3D24A7CC-F576-4D92-BC79-5E0316DF3585}"/>
          </ac:picMkLst>
        </pc:picChg>
        <pc:picChg chg="add del mod">
          <ac:chgData name="Ieva Dzene" userId="36e850b3-6b13-42b6-8b78-9778956e69b6" providerId="ADAL" clId="{61E5150D-5ED8-4F64-9DB9-E2770C8769C8}" dt="2021-09-24T15:29:12.153" v="3567" actId="478"/>
          <ac:picMkLst>
            <pc:docMk/>
            <pc:sldMk cId="4111006451" sldId="1324"/>
            <ac:picMk id="124" creationId="{B346452B-F001-4EE5-AE9B-FCAC115CD98E}"/>
          </ac:picMkLst>
        </pc:picChg>
        <pc:picChg chg="add mod modCrop">
          <ac:chgData name="Ieva Dzene" userId="36e850b3-6b13-42b6-8b78-9778956e69b6" providerId="ADAL" clId="{61E5150D-5ED8-4F64-9DB9-E2770C8769C8}" dt="2021-09-24T15:56:13.314" v="3653" actId="1076"/>
          <ac:picMkLst>
            <pc:docMk/>
            <pc:sldMk cId="4111006451" sldId="1324"/>
            <ac:picMk id="126" creationId="{F28076E2-F461-4E52-9870-1E5E3E7F5906}"/>
          </ac:picMkLst>
        </pc:picChg>
        <pc:picChg chg="add mod modCrop">
          <ac:chgData name="Ieva Dzene" userId="36e850b3-6b13-42b6-8b78-9778956e69b6" providerId="ADAL" clId="{61E5150D-5ED8-4F64-9DB9-E2770C8769C8}" dt="2021-09-24T15:56:15.785" v="3654" actId="1076"/>
          <ac:picMkLst>
            <pc:docMk/>
            <pc:sldMk cId="4111006451" sldId="1324"/>
            <ac:picMk id="128" creationId="{66E8979B-50E1-416F-BE49-574E72A81E36}"/>
          </ac:picMkLst>
        </pc:picChg>
        <pc:picChg chg="add mod modCrop">
          <ac:chgData name="Ieva Dzene" userId="36e850b3-6b13-42b6-8b78-9778956e69b6" providerId="ADAL" clId="{61E5150D-5ED8-4F64-9DB9-E2770C8769C8}" dt="2021-09-24T15:55:37.885" v="3643" actId="1076"/>
          <ac:picMkLst>
            <pc:docMk/>
            <pc:sldMk cId="4111006451" sldId="1324"/>
            <ac:picMk id="130" creationId="{E25B4841-BA94-43AE-A53A-A44A3435A64F}"/>
          </ac:picMkLst>
        </pc:picChg>
        <pc:picChg chg="add del mod">
          <ac:chgData name="Ieva Dzene" userId="36e850b3-6b13-42b6-8b78-9778956e69b6" providerId="ADAL" clId="{61E5150D-5ED8-4F64-9DB9-E2770C8769C8}" dt="2021-09-24T15:53:39.437" v="3620" actId="478"/>
          <ac:picMkLst>
            <pc:docMk/>
            <pc:sldMk cId="4111006451" sldId="1324"/>
            <ac:picMk id="133" creationId="{2A2B2437-527C-414C-9EC4-D09B8A5BF6AA}"/>
          </ac:picMkLst>
        </pc:picChg>
        <pc:picChg chg="add mod modCrop">
          <ac:chgData name="Ieva Dzene" userId="36e850b3-6b13-42b6-8b78-9778956e69b6" providerId="ADAL" clId="{61E5150D-5ED8-4F64-9DB9-E2770C8769C8}" dt="2021-09-24T15:55:12.083" v="3638" actId="1076"/>
          <ac:picMkLst>
            <pc:docMk/>
            <pc:sldMk cId="4111006451" sldId="1324"/>
            <ac:picMk id="137" creationId="{14EAD180-6EEE-4886-AED6-FE90425BE79E}"/>
          </ac:picMkLst>
        </pc:picChg>
        <pc:picChg chg="add mod modCrop">
          <ac:chgData name="Ieva Dzene" userId="36e850b3-6b13-42b6-8b78-9778956e69b6" providerId="ADAL" clId="{61E5150D-5ED8-4F64-9DB9-E2770C8769C8}" dt="2021-09-24T15:55:35.380" v="3642" actId="1076"/>
          <ac:picMkLst>
            <pc:docMk/>
            <pc:sldMk cId="4111006451" sldId="1324"/>
            <ac:picMk id="139" creationId="{4E7F8C58-AD94-48CC-92B1-309EFC0CA752}"/>
          </ac:picMkLst>
        </pc:picChg>
        <pc:cxnChg chg="del mod">
          <ac:chgData name="Ieva Dzene" userId="36e850b3-6b13-42b6-8b78-9778956e69b6" providerId="ADAL" clId="{61E5150D-5ED8-4F64-9DB9-E2770C8769C8}" dt="2021-09-24T12:19:30.924" v="1588" actId="478"/>
          <ac:cxnSpMkLst>
            <pc:docMk/>
            <pc:sldMk cId="4111006451" sldId="1324"/>
            <ac:cxnSpMk id="13" creationId="{601B98EF-4F3E-47BF-B3FB-4F7158FF3174}"/>
          </ac:cxnSpMkLst>
        </pc:cxnChg>
        <pc:cxnChg chg="del mod">
          <ac:chgData name="Ieva Dzene" userId="36e850b3-6b13-42b6-8b78-9778956e69b6" providerId="ADAL" clId="{61E5150D-5ED8-4F64-9DB9-E2770C8769C8}" dt="2021-09-24T12:01:11.643" v="1122" actId="478"/>
          <ac:cxnSpMkLst>
            <pc:docMk/>
            <pc:sldMk cId="4111006451" sldId="1324"/>
            <ac:cxnSpMk id="14" creationId="{D8976D6E-530A-4472-B73D-7E7E64066082}"/>
          </ac:cxnSpMkLst>
        </pc:cxnChg>
        <pc:cxnChg chg="del mod">
          <ac:chgData name="Ieva Dzene" userId="36e850b3-6b13-42b6-8b78-9778956e69b6" providerId="ADAL" clId="{61E5150D-5ED8-4F64-9DB9-E2770C8769C8}" dt="2021-09-24T12:19:33.112" v="1590" actId="478"/>
          <ac:cxnSpMkLst>
            <pc:docMk/>
            <pc:sldMk cId="4111006451" sldId="1324"/>
            <ac:cxnSpMk id="15" creationId="{738D01D9-1150-4ED4-B430-4D344E898D7D}"/>
          </ac:cxnSpMkLst>
        </pc:cxnChg>
        <pc:cxnChg chg="del mod">
          <ac:chgData name="Ieva Dzene" userId="36e850b3-6b13-42b6-8b78-9778956e69b6" providerId="ADAL" clId="{61E5150D-5ED8-4F64-9DB9-E2770C8769C8}" dt="2021-09-24T12:01:14.361" v="1123" actId="478"/>
          <ac:cxnSpMkLst>
            <pc:docMk/>
            <pc:sldMk cId="4111006451" sldId="1324"/>
            <ac:cxnSpMk id="16" creationId="{ECA78B77-D962-4F5A-9DF9-75B1D5F4AE5A}"/>
          </ac:cxnSpMkLst>
        </pc:cxnChg>
        <pc:cxnChg chg="del mod">
          <ac:chgData name="Ieva Dzene" userId="36e850b3-6b13-42b6-8b78-9778956e69b6" providerId="ADAL" clId="{61E5150D-5ED8-4F64-9DB9-E2770C8769C8}" dt="2021-09-24T12:01:15.832" v="1124" actId="478"/>
          <ac:cxnSpMkLst>
            <pc:docMk/>
            <pc:sldMk cId="4111006451" sldId="1324"/>
            <ac:cxnSpMk id="18" creationId="{DE1684F3-7C9C-4233-9923-2298393EFE72}"/>
          </ac:cxnSpMkLst>
        </pc:cxnChg>
        <pc:cxnChg chg="del mod">
          <ac:chgData name="Ieva Dzene" userId="36e850b3-6b13-42b6-8b78-9778956e69b6" providerId="ADAL" clId="{61E5150D-5ED8-4F64-9DB9-E2770C8769C8}" dt="2021-09-24T12:01:18.266" v="1126" actId="478"/>
          <ac:cxnSpMkLst>
            <pc:docMk/>
            <pc:sldMk cId="4111006451" sldId="1324"/>
            <ac:cxnSpMk id="19" creationId="{73988BB1-69C8-42E7-811F-5B952E8B268F}"/>
          </ac:cxnSpMkLst>
        </pc:cxnChg>
        <pc:cxnChg chg="del mod">
          <ac:chgData name="Ieva Dzene" userId="36e850b3-6b13-42b6-8b78-9778956e69b6" providerId="ADAL" clId="{61E5150D-5ED8-4F64-9DB9-E2770C8769C8}" dt="2021-09-24T12:01:16.664" v="1125" actId="478"/>
          <ac:cxnSpMkLst>
            <pc:docMk/>
            <pc:sldMk cId="4111006451" sldId="1324"/>
            <ac:cxnSpMk id="20" creationId="{D07B7843-8095-483E-9B11-FEE318D71A30}"/>
          </ac:cxnSpMkLst>
        </pc:cxnChg>
        <pc:cxnChg chg="del mod">
          <ac:chgData name="Ieva Dzene" userId="36e850b3-6b13-42b6-8b78-9778956e69b6" providerId="ADAL" clId="{61E5150D-5ED8-4F64-9DB9-E2770C8769C8}" dt="2021-09-24T12:04:23.437" v="1193" actId="478"/>
          <ac:cxnSpMkLst>
            <pc:docMk/>
            <pc:sldMk cId="4111006451" sldId="1324"/>
            <ac:cxnSpMk id="21" creationId="{01E66132-1624-467F-9B59-1C3D6D12995E}"/>
          </ac:cxnSpMkLst>
        </pc:cxnChg>
        <pc:cxnChg chg="del mod">
          <ac:chgData name="Ieva Dzene" userId="36e850b3-6b13-42b6-8b78-9778956e69b6" providerId="ADAL" clId="{61E5150D-5ED8-4F64-9DB9-E2770C8769C8}" dt="2021-09-24T12:04:25.156" v="1194" actId="478"/>
          <ac:cxnSpMkLst>
            <pc:docMk/>
            <pc:sldMk cId="4111006451" sldId="1324"/>
            <ac:cxnSpMk id="23" creationId="{F9E321CE-D65C-4EEE-9080-8F59E796FD8D}"/>
          </ac:cxnSpMkLst>
        </pc:cxnChg>
        <pc:cxnChg chg="add del mod">
          <ac:chgData name="Ieva Dzene" userId="36e850b3-6b13-42b6-8b78-9778956e69b6" providerId="ADAL" clId="{61E5150D-5ED8-4F64-9DB9-E2770C8769C8}" dt="2021-09-24T15:19:50.491" v="3473" actId="478"/>
          <ac:cxnSpMkLst>
            <pc:docMk/>
            <pc:sldMk cId="4111006451" sldId="1324"/>
            <ac:cxnSpMk id="30" creationId="{10C0AD74-04C3-4C0D-B44C-F51AD6F481E5}"/>
          </ac:cxnSpMkLst>
        </pc:cxnChg>
        <pc:cxnChg chg="add del mod">
          <ac:chgData name="Ieva Dzene" userId="36e850b3-6b13-42b6-8b78-9778956e69b6" providerId="ADAL" clId="{61E5150D-5ED8-4F64-9DB9-E2770C8769C8}" dt="2021-09-24T12:05:15.299" v="1198" actId="478"/>
          <ac:cxnSpMkLst>
            <pc:docMk/>
            <pc:sldMk cId="4111006451" sldId="1324"/>
            <ac:cxnSpMk id="39" creationId="{D6B94DE4-11A7-43C4-A124-E07CDE90D48E}"/>
          </ac:cxnSpMkLst>
        </pc:cxnChg>
        <pc:cxnChg chg="add del mod">
          <ac:chgData name="Ieva Dzene" userId="36e850b3-6b13-42b6-8b78-9778956e69b6" providerId="ADAL" clId="{61E5150D-5ED8-4F64-9DB9-E2770C8769C8}" dt="2021-09-24T15:17:36.508" v="3448" actId="478"/>
          <ac:cxnSpMkLst>
            <pc:docMk/>
            <pc:sldMk cId="4111006451" sldId="1324"/>
            <ac:cxnSpMk id="42" creationId="{69431369-8BF6-4838-8056-FDD9E297E659}"/>
          </ac:cxnSpMkLst>
        </pc:cxnChg>
        <pc:cxnChg chg="add del mod">
          <ac:chgData name="Ieva Dzene" userId="36e850b3-6b13-42b6-8b78-9778956e69b6" providerId="ADAL" clId="{61E5150D-5ED8-4F64-9DB9-E2770C8769C8}" dt="2021-09-24T12:05:42.178" v="1228"/>
          <ac:cxnSpMkLst>
            <pc:docMk/>
            <pc:sldMk cId="4111006451" sldId="1324"/>
            <ac:cxnSpMk id="43" creationId="{1F128CDD-D5F2-48B0-833E-734395D0571D}"/>
          </ac:cxnSpMkLst>
        </pc:cxnChg>
        <pc:cxnChg chg="add del mod">
          <ac:chgData name="Ieva Dzene" userId="36e850b3-6b13-42b6-8b78-9778956e69b6" providerId="ADAL" clId="{61E5150D-5ED8-4F64-9DB9-E2770C8769C8}" dt="2021-09-24T15:18:19.201" v="3457" actId="478"/>
          <ac:cxnSpMkLst>
            <pc:docMk/>
            <pc:sldMk cId="4111006451" sldId="1324"/>
            <ac:cxnSpMk id="45" creationId="{776329EF-E7E9-4D49-9761-ACAECDD60EFD}"/>
          </ac:cxnSpMkLst>
        </pc:cxnChg>
        <pc:cxnChg chg="add mod">
          <ac:chgData name="Ieva Dzene" userId="36e850b3-6b13-42b6-8b78-9778956e69b6" providerId="ADAL" clId="{61E5150D-5ED8-4F64-9DB9-E2770C8769C8}" dt="2021-09-24T16:44:13.645" v="4520" actId="14100"/>
          <ac:cxnSpMkLst>
            <pc:docMk/>
            <pc:sldMk cId="4111006451" sldId="1324"/>
            <ac:cxnSpMk id="47" creationId="{CBD8DE33-4E29-4238-AF0B-F9AA88865380}"/>
          </ac:cxnSpMkLst>
        </pc:cxnChg>
        <pc:cxnChg chg="add mod">
          <ac:chgData name="Ieva Dzene" userId="36e850b3-6b13-42b6-8b78-9778956e69b6" providerId="ADAL" clId="{61E5150D-5ED8-4F64-9DB9-E2770C8769C8}" dt="2021-09-24T16:44:13.645" v="4520" actId="14100"/>
          <ac:cxnSpMkLst>
            <pc:docMk/>
            <pc:sldMk cId="4111006451" sldId="1324"/>
            <ac:cxnSpMk id="49" creationId="{86081F27-D347-4403-A04E-C19C3DB869F4}"/>
          </ac:cxnSpMkLst>
        </pc:cxnChg>
        <pc:cxnChg chg="add del mod">
          <ac:chgData name="Ieva Dzene" userId="36e850b3-6b13-42b6-8b78-9778956e69b6" providerId="ADAL" clId="{61E5150D-5ED8-4F64-9DB9-E2770C8769C8}" dt="2021-09-24T15:22:48.907" v="3518" actId="478"/>
          <ac:cxnSpMkLst>
            <pc:docMk/>
            <pc:sldMk cId="4111006451" sldId="1324"/>
            <ac:cxnSpMk id="51" creationId="{A30CB6B6-0EF2-4E8A-AA05-69D56A42ED0A}"/>
          </ac:cxnSpMkLst>
        </pc:cxnChg>
        <pc:cxnChg chg="add del mod">
          <ac:chgData name="Ieva Dzene" userId="36e850b3-6b13-42b6-8b78-9778956e69b6" providerId="ADAL" clId="{61E5150D-5ED8-4F64-9DB9-E2770C8769C8}" dt="2021-09-24T15:22:50.073" v="3519" actId="478"/>
          <ac:cxnSpMkLst>
            <pc:docMk/>
            <pc:sldMk cId="4111006451" sldId="1324"/>
            <ac:cxnSpMk id="53" creationId="{41B05C31-62FF-4F71-91B4-D64F13D6D326}"/>
          </ac:cxnSpMkLst>
        </pc:cxnChg>
        <pc:cxnChg chg="add del">
          <ac:chgData name="Ieva Dzene" userId="36e850b3-6b13-42b6-8b78-9778956e69b6" providerId="ADAL" clId="{61E5150D-5ED8-4F64-9DB9-E2770C8769C8}" dt="2021-09-24T12:26:28.538" v="1610" actId="11529"/>
          <ac:cxnSpMkLst>
            <pc:docMk/>
            <pc:sldMk cId="4111006451" sldId="1324"/>
            <ac:cxnSpMk id="58" creationId="{7AB55409-FA41-48EF-A13E-CE2BB15968C8}"/>
          </ac:cxnSpMkLst>
        </pc:cxnChg>
        <pc:cxnChg chg="add del mod">
          <ac:chgData name="Ieva Dzene" userId="36e850b3-6b13-42b6-8b78-9778956e69b6" providerId="ADAL" clId="{61E5150D-5ED8-4F64-9DB9-E2770C8769C8}" dt="2021-09-24T15:22:51.691" v="3520" actId="478"/>
          <ac:cxnSpMkLst>
            <pc:docMk/>
            <pc:sldMk cId="4111006451" sldId="1324"/>
            <ac:cxnSpMk id="65" creationId="{AE7A0F49-3B7A-4A42-A7E4-30FF2B282926}"/>
          </ac:cxnSpMkLst>
        </pc:cxnChg>
        <pc:cxnChg chg="add del mod">
          <ac:chgData name="Ieva Dzene" userId="36e850b3-6b13-42b6-8b78-9778956e69b6" providerId="ADAL" clId="{61E5150D-5ED8-4F64-9DB9-E2770C8769C8}" dt="2021-09-24T15:19:53.593" v="3474" actId="478"/>
          <ac:cxnSpMkLst>
            <pc:docMk/>
            <pc:sldMk cId="4111006451" sldId="1324"/>
            <ac:cxnSpMk id="72" creationId="{CAA138A7-A117-4AD3-8582-B805F36EC81E}"/>
          </ac:cxnSpMkLst>
        </pc:cxnChg>
        <pc:cxnChg chg="add mod">
          <ac:chgData name="Ieva Dzene" userId="36e850b3-6b13-42b6-8b78-9778956e69b6" providerId="ADAL" clId="{61E5150D-5ED8-4F64-9DB9-E2770C8769C8}" dt="2021-09-24T15:19:08.982" v="3466" actId="14100"/>
          <ac:cxnSpMkLst>
            <pc:docMk/>
            <pc:sldMk cId="4111006451" sldId="1324"/>
            <ac:cxnSpMk id="95" creationId="{52EF4124-B645-4592-82BB-C611225807D1}"/>
          </ac:cxnSpMkLst>
        </pc:cxnChg>
        <pc:cxnChg chg="add mod">
          <ac:chgData name="Ieva Dzene" userId="36e850b3-6b13-42b6-8b78-9778956e69b6" providerId="ADAL" clId="{61E5150D-5ED8-4F64-9DB9-E2770C8769C8}" dt="2021-09-24T15:19:23.197" v="3468" actId="1076"/>
          <ac:cxnSpMkLst>
            <pc:docMk/>
            <pc:sldMk cId="4111006451" sldId="1324"/>
            <ac:cxnSpMk id="98" creationId="{08F5CA4D-9198-475A-9107-B2A20F5D4148}"/>
          </ac:cxnSpMkLst>
        </pc:cxnChg>
        <pc:cxnChg chg="add del mod">
          <ac:chgData name="Ieva Dzene" userId="36e850b3-6b13-42b6-8b78-9778956e69b6" providerId="ADAL" clId="{61E5150D-5ED8-4F64-9DB9-E2770C8769C8}" dt="2021-09-24T15:20:41.482" v="3482" actId="478"/>
          <ac:cxnSpMkLst>
            <pc:docMk/>
            <pc:sldMk cId="4111006451" sldId="1324"/>
            <ac:cxnSpMk id="100" creationId="{F33DF177-EEC8-4353-AE09-5B8F8BB52AB6}"/>
          </ac:cxnSpMkLst>
        </pc:cxnChg>
        <pc:cxnChg chg="add del mod">
          <ac:chgData name="Ieva Dzene" userId="36e850b3-6b13-42b6-8b78-9778956e69b6" providerId="ADAL" clId="{61E5150D-5ED8-4F64-9DB9-E2770C8769C8}" dt="2021-09-24T15:26:04.435" v="3554" actId="478"/>
          <ac:cxnSpMkLst>
            <pc:docMk/>
            <pc:sldMk cId="4111006451" sldId="1324"/>
            <ac:cxnSpMk id="102" creationId="{2932E860-2B38-4E7D-9E6A-07B3AEB36377}"/>
          </ac:cxnSpMkLst>
        </pc:cxnChg>
        <pc:cxnChg chg="add mod">
          <ac:chgData name="Ieva Dzene" userId="36e850b3-6b13-42b6-8b78-9778956e69b6" providerId="ADAL" clId="{61E5150D-5ED8-4F64-9DB9-E2770C8769C8}" dt="2021-09-24T16:43:57.138" v="4518" actId="1076"/>
          <ac:cxnSpMkLst>
            <pc:docMk/>
            <pc:sldMk cId="4111006451" sldId="1324"/>
            <ac:cxnSpMk id="105" creationId="{F4D0B576-3200-436F-8A28-CBA161464E0D}"/>
          </ac:cxnSpMkLst>
        </pc:cxnChg>
        <pc:cxnChg chg="add del mod">
          <ac:chgData name="Ieva Dzene" userId="36e850b3-6b13-42b6-8b78-9778956e69b6" providerId="ADAL" clId="{61E5150D-5ED8-4F64-9DB9-E2770C8769C8}" dt="2021-09-24T15:24:18.715" v="3538" actId="478"/>
          <ac:cxnSpMkLst>
            <pc:docMk/>
            <pc:sldMk cId="4111006451" sldId="1324"/>
            <ac:cxnSpMk id="111" creationId="{D77AC742-6FD8-4BD7-9C0A-2AF1534A39EF}"/>
          </ac:cxnSpMkLst>
        </pc:cxnChg>
        <pc:cxnChg chg="add del mod">
          <ac:chgData name="Ieva Dzene" userId="36e850b3-6b13-42b6-8b78-9778956e69b6" providerId="ADAL" clId="{61E5150D-5ED8-4F64-9DB9-E2770C8769C8}" dt="2021-09-24T15:24:20.483" v="3539" actId="478"/>
          <ac:cxnSpMkLst>
            <pc:docMk/>
            <pc:sldMk cId="4111006451" sldId="1324"/>
            <ac:cxnSpMk id="112" creationId="{1906D8D4-93A0-4B13-BEE1-7DCE470D9EBB}"/>
          </ac:cxnSpMkLst>
        </pc:cxnChg>
        <pc:cxnChg chg="add mod">
          <ac:chgData name="Ieva Dzene" userId="36e850b3-6b13-42b6-8b78-9778956e69b6" providerId="ADAL" clId="{61E5150D-5ED8-4F64-9DB9-E2770C8769C8}" dt="2021-09-24T15:56:32.888" v="3658" actId="14100"/>
          <ac:cxnSpMkLst>
            <pc:docMk/>
            <pc:sldMk cId="4111006451" sldId="1324"/>
            <ac:cxnSpMk id="113" creationId="{EAA7236C-F0A3-4E32-BF1F-41826A7A3D0A}"/>
          </ac:cxnSpMkLst>
        </pc:cxnChg>
        <pc:cxnChg chg="add mod">
          <ac:chgData name="Ieva Dzene" userId="36e850b3-6b13-42b6-8b78-9778956e69b6" providerId="ADAL" clId="{61E5150D-5ED8-4F64-9DB9-E2770C8769C8}" dt="2021-09-24T15:56:27.404" v="3656" actId="14100"/>
          <ac:cxnSpMkLst>
            <pc:docMk/>
            <pc:sldMk cId="4111006451" sldId="1324"/>
            <ac:cxnSpMk id="114" creationId="{CB68D07C-C7FE-473A-B72C-E8F8542DB8B4}"/>
          </ac:cxnSpMkLst>
        </pc:cxnChg>
        <pc:cxnChg chg="add mod">
          <ac:chgData name="Ieva Dzene" userId="36e850b3-6b13-42b6-8b78-9778956e69b6" providerId="ADAL" clId="{61E5150D-5ED8-4F64-9DB9-E2770C8769C8}" dt="2021-09-24T15:58:56.620" v="3677" actId="1076"/>
          <ac:cxnSpMkLst>
            <pc:docMk/>
            <pc:sldMk cId="4111006451" sldId="1324"/>
            <ac:cxnSpMk id="116" creationId="{6A9193E6-48BA-4482-893B-8688B7522AE7}"/>
          </ac:cxnSpMkLst>
        </pc:cxnChg>
        <pc:cxnChg chg="add mod">
          <ac:chgData name="Ieva Dzene" userId="36e850b3-6b13-42b6-8b78-9778956e69b6" providerId="ADAL" clId="{61E5150D-5ED8-4F64-9DB9-E2770C8769C8}" dt="2021-09-24T15:34:53.966" v="3595" actId="1076"/>
          <ac:cxnSpMkLst>
            <pc:docMk/>
            <pc:sldMk cId="4111006451" sldId="1324"/>
            <ac:cxnSpMk id="119" creationId="{27EB29A0-4ACD-4380-B54F-391614B3068D}"/>
          </ac:cxnSpMkLst>
        </pc:cxnChg>
      </pc:sldChg>
      <pc:sldChg chg="addSp delSp modSp add mod ord">
        <pc:chgData name="Ieva Dzene" userId="36e850b3-6b13-42b6-8b78-9778956e69b6" providerId="ADAL" clId="{61E5150D-5ED8-4F64-9DB9-E2770C8769C8}" dt="2021-09-27T07:44:37.347" v="4870" actId="20577"/>
        <pc:sldMkLst>
          <pc:docMk/>
          <pc:sldMk cId="4234639976" sldId="1325"/>
        </pc:sldMkLst>
        <pc:spChg chg="del">
          <ac:chgData name="Ieva Dzene" userId="36e850b3-6b13-42b6-8b78-9778956e69b6" providerId="ADAL" clId="{61E5150D-5ED8-4F64-9DB9-E2770C8769C8}" dt="2021-09-24T11:41:28.393" v="817" actId="478"/>
          <ac:spMkLst>
            <pc:docMk/>
            <pc:sldMk cId="4234639976" sldId="1325"/>
            <ac:spMk id="2" creationId="{250ABDA2-9B2E-471E-A9AB-028649FAA23D}"/>
          </ac:spMkLst>
        </pc:spChg>
        <pc:spChg chg="mod">
          <ac:chgData name="Ieva Dzene" userId="36e850b3-6b13-42b6-8b78-9778956e69b6" providerId="ADAL" clId="{61E5150D-5ED8-4F64-9DB9-E2770C8769C8}" dt="2021-09-27T07:36:02.560" v="4783"/>
          <ac:spMkLst>
            <pc:docMk/>
            <pc:sldMk cId="4234639976" sldId="1325"/>
            <ac:spMk id="4" creationId="{DADD9E0F-ED1C-4F82-BD9D-F0239A2E7022}"/>
          </ac:spMkLst>
        </pc:spChg>
        <pc:spChg chg="del mod">
          <ac:chgData name="Ieva Dzene" userId="36e850b3-6b13-42b6-8b78-9778956e69b6" providerId="ADAL" clId="{61E5150D-5ED8-4F64-9DB9-E2770C8769C8}" dt="2021-09-24T12:37:37.179" v="1648" actId="478"/>
          <ac:spMkLst>
            <pc:docMk/>
            <pc:sldMk cId="4234639976" sldId="1325"/>
            <ac:spMk id="5" creationId="{330BF89E-CCF6-454D-9595-233E95E51A24}"/>
          </ac:spMkLst>
        </pc:spChg>
        <pc:spChg chg="del">
          <ac:chgData name="Ieva Dzene" userId="36e850b3-6b13-42b6-8b78-9778956e69b6" providerId="ADAL" clId="{61E5150D-5ED8-4F64-9DB9-E2770C8769C8}" dt="2021-09-24T12:37:37.179" v="1648" actId="478"/>
          <ac:spMkLst>
            <pc:docMk/>
            <pc:sldMk cId="4234639976" sldId="1325"/>
            <ac:spMk id="6" creationId="{24C51926-07C1-4C29-8E06-B0BC2253D7E0}"/>
          </ac:spMkLst>
        </pc:spChg>
        <pc:spChg chg="del mod">
          <ac:chgData name="Ieva Dzene" userId="36e850b3-6b13-42b6-8b78-9778956e69b6" providerId="ADAL" clId="{61E5150D-5ED8-4F64-9DB9-E2770C8769C8}" dt="2021-09-24T12:37:37.179" v="1648" actId="478"/>
          <ac:spMkLst>
            <pc:docMk/>
            <pc:sldMk cId="4234639976" sldId="1325"/>
            <ac:spMk id="7" creationId="{37A5A9D5-8CF9-4C73-B217-63C519579A0C}"/>
          </ac:spMkLst>
        </pc:spChg>
        <pc:spChg chg="del">
          <ac:chgData name="Ieva Dzene" userId="36e850b3-6b13-42b6-8b78-9778956e69b6" providerId="ADAL" clId="{61E5150D-5ED8-4F64-9DB9-E2770C8769C8}" dt="2021-09-24T11:31:05.304" v="697" actId="478"/>
          <ac:spMkLst>
            <pc:docMk/>
            <pc:sldMk cId="4234639976" sldId="1325"/>
            <ac:spMk id="8" creationId="{E1EDA43C-A110-4513-B414-49B3CAC28541}"/>
          </ac:spMkLst>
        </pc:spChg>
        <pc:spChg chg="del mod">
          <ac:chgData name="Ieva Dzene" userId="36e850b3-6b13-42b6-8b78-9778956e69b6" providerId="ADAL" clId="{61E5150D-5ED8-4F64-9DB9-E2770C8769C8}" dt="2021-09-24T12:37:37.179" v="1648" actId="478"/>
          <ac:spMkLst>
            <pc:docMk/>
            <pc:sldMk cId="4234639976" sldId="1325"/>
            <ac:spMk id="9" creationId="{6D06195E-516D-425E-A45E-A1B79126269F}"/>
          </ac:spMkLst>
        </pc:spChg>
        <pc:spChg chg="del">
          <ac:chgData name="Ieva Dzene" userId="36e850b3-6b13-42b6-8b78-9778956e69b6" providerId="ADAL" clId="{61E5150D-5ED8-4F64-9DB9-E2770C8769C8}" dt="2021-09-24T11:31:42.374" v="718" actId="478"/>
          <ac:spMkLst>
            <pc:docMk/>
            <pc:sldMk cId="4234639976" sldId="1325"/>
            <ac:spMk id="10" creationId="{1FE6A017-82EB-46AA-B474-2067568B7CA4}"/>
          </ac:spMkLst>
        </pc:spChg>
        <pc:spChg chg="del">
          <ac:chgData name="Ieva Dzene" userId="36e850b3-6b13-42b6-8b78-9778956e69b6" providerId="ADAL" clId="{61E5150D-5ED8-4F64-9DB9-E2770C8769C8}" dt="2021-09-24T11:31:47.244" v="720" actId="478"/>
          <ac:spMkLst>
            <pc:docMk/>
            <pc:sldMk cId="4234639976" sldId="1325"/>
            <ac:spMk id="11" creationId="{38EAB98D-93E2-41F8-9A43-3FC1ACD552DC}"/>
          </ac:spMkLst>
        </pc:spChg>
        <pc:spChg chg="del">
          <ac:chgData name="Ieva Dzene" userId="36e850b3-6b13-42b6-8b78-9778956e69b6" providerId="ADAL" clId="{61E5150D-5ED8-4F64-9DB9-E2770C8769C8}" dt="2021-09-24T11:31:49.590" v="722" actId="478"/>
          <ac:spMkLst>
            <pc:docMk/>
            <pc:sldMk cId="4234639976" sldId="1325"/>
            <ac:spMk id="12" creationId="{5E2EED88-5E77-4B7E-BF3D-40BC371C2C3E}"/>
          </ac:spMkLst>
        </pc:spChg>
        <pc:spChg chg="del">
          <ac:chgData name="Ieva Dzene" userId="36e850b3-6b13-42b6-8b78-9778956e69b6" providerId="ADAL" clId="{61E5150D-5ED8-4F64-9DB9-E2770C8769C8}" dt="2021-09-24T11:31:07.622" v="698" actId="478"/>
          <ac:spMkLst>
            <pc:docMk/>
            <pc:sldMk cId="4234639976" sldId="1325"/>
            <ac:spMk id="17" creationId="{DEDF0172-92F5-4A2C-AB3C-6B6D1B0E59CE}"/>
          </ac:spMkLst>
        </pc:spChg>
        <pc:spChg chg="del">
          <ac:chgData name="Ieva Dzene" userId="36e850b3-6b13-42b6-8b78-9778956e69b6" providerId="ADAL" clId="{61E5150D-5ED8-4F64-9DB9-E2770C8769C8}" dt="2021-09-24T11:31:11.876" v="700" actId="478"/>
          <ac:spMkLst>
            <pc:docMk/>
            <pc:sldMk cId="4234639976" sldId="1325"/>
            <ac:spMk id="22" creationId="{38724302-9537-4436-BE71-4E03214DF0E3}"/>
          </ac:spMkLst>
        </pc:spChg>
        <pc:spChg chg="del mod">
          <ac:chgData name="Ieva Dzene" userId="36e850b3-6b13-42b6-8b78-9778956e69b6" providerId="ADAL" clId="{61E5150D-5ED8-4F64-9DB9-E2770C8769C8}" dt="2021-09-24T11:41:31.913" v="819" actId="478"/>
          <ac:spMkLst>
            <pc:docMk/>
            <pc:sldMk cId="4234639976" sldId="1325"/>
            <ac:spMk id="24" creationId="{09EBE80F-22C5-4C34-96D9-C1A84EC76495}"/>
          </ac:spMkLst>
        </pc:spChg>
        <pc:spChg chg="add del mod">
          <ac:chgData name="Ieva Dzene" userId="36e850b3-6b13-42b6-8b78-9778956e69b6" providerId="ADAL" clId="{61E5150D-5ED8-4F64-9DB9-E2770C8769C8}" dt="2021-09-24T11:41:30.394" v="818" actId="478"/>
          <ac:spMkLst>
            <pc:docMk/>
            <pc:sldMk cId="4234639976" sldId="1325"/>
            <ac:spMk id="31" creationId="{1B729B08-857B-4530-A2FF-87DD88ECB9AD}"/>
          </ac:spMkLst>
        </pc:spChg>
        <pc:spChg chg="add mod">
          <ac:chgData name="Ieva Dzene" userId="36e850b3-6b13-42b6-8b78-9778956e69b6" providerId="ADAL" clId="{61E5150D-5ED8-4F64-9DB9-E2770C8769C8}" dt="2021-09-24T15:59:13.136" v="3679" actId="12788"/>
          <ac:spMkLst>
            <pc:docMk/>
            <pc:sldMk cId="4234639976" sldId="1325"/>
            <ac:spMk id="32" creationId="{C13CAF7E-4401-4DF3-ABFD-72AC52876AAD}"/>
          </ac:spMkLst>
        </pc:spChg>
        <pc:spChg chg="add mod">
          <ac:chgData name="Ieva Dzene" userId="36e850b3-6b13-42b6-8b78-9778956e69b6" providerId="ADAL" clId="{61E5150D-5ED8-4F64-9DB9-E2770C8769C8}" dt="2021-09-24T16:00:10.426" v="3687" actId="1076"/>
          <ac:spMkLst>
            <pc:docMk/>
            <pc:sldMk cId="4234639976" sldId="1325"/>
            <ac:spMk id="33" creationId="{AA05424E-DE3B-4646-98C7-F9C57541FD68}"/>
          </ac:spMkLst>
        </pc:spChg>
        <pc:spChg chg="add mod">
          <ac:chgData name="Ieva Dzene" userId="36e850b3-6b13-42b6-8b78-9778956e69b6" providerId="ADAL" clId="{61E5150D-5ED8-4F64-9DB9-E2770C8769C8}" dt="2021-09-24T15:59:32.824" v="3684" actId="1076"/>
          <ac:spMkLst>
            <pc:docMk/>
            <pc:sldMk cId="4234639976" sldId="1325"/>
            <ac:spMk id="34" creationId="{507FEDC6-FE64-412B-986A-D54771006B3A}"/>
          </ac:spMkLst>
        </pc:spChg>
        <pc:spChg chg="add mod">
          <ac:chgData name="Ieva Dzene" userId="36e850b3-6b13-42b6-8b78-9778956e69b6" providerId="ADAL" clId="{61E5150D-5ED8-4F64-9DB9-E2770C8769C8}" dt="2021-09-24T15:59:13.136" v="3679" actId="12788"/>
          <ac:spMkLst>
            <pc:docMk/>
            <pc:sldMk cId="4234639976" sldId="1325"/>
            <ac:spMk id="35" creationId="{D70C8913-48E1-429B-8490-3E07D83B469A}"/>
          </ac:spMkLst>
        </pc:spChg>
        <pc:spChg chg="add mod">
          <ac:chgData name="Ieva Dzene" userId="36e850b3-6b13-42b6-8b78-9778956e69b6" providerId="ADAL" clId="{61E5150D-5ED8-4F64-9DB9-E2770C8769C8}" dt="2021-09-24T15:59:13.136" v="3679" actId="12788"/>
          <ac:spMkLst>
            <pc:docMk/>
            <pc:sldMk cId="4234639976" sldId="1325"/>
            <ac:spMk id="37" creationId="{62B2C0E5-1E49-46B7-9D63-D70708FFF90A}"/>
          </ac:spMkLst>
        </pc:spChg>
        <pc:spChg chg="add mod">
          <ac:chgData name="Ieva Dzene" userId="36e850b3-6b13-42b6-8b78-9778956e69b6" providerId="ADAL" clId="{61E5150D-5ED8-4F64-9DB9-E2770C8769C8}" dt="2021-09-24T15:59:13.136" v="3679" actId="12788"/>
          <ac:spMkLst>
            <pc:docMk/>
            <pc:sldMk cId="4234639976" sldId="1325"/>
            <ac:spMk id="39" creationId="{0E4B00EC-B4E6-4182-A152-214FD41C2EF5}"/>
          </ac:spMkLst>
        </pc:spChg>
        <pc:spChg chg="add mod">
          <ac:chgData name="Ieva Dzene" userId="36e850b3-6b13-42b6-8b78-9778956e69b6" providerId="ADAL" clId="{61E5150D-5ED8-4F64-9DB9-E2770C8769C8}" dt="2021-09-24T15:59:13.136" v="3679" actId="12788"/>
          <ac:spMkLst>
            <pc:docMk/>
            <pc:sldMk cId="4234639976" sldId="1325"/>
            <ac:spMk id="41" creationId="{128A5BC4-B742-4918-9B06-5B51E5E94CA6}"/>
          </ac:spMkLst>
        </pc:spChg>
        <pc:spChg chg="add mod">
          <ac:chgData name="Ieva Dzene" userId="36e850b3-6b13-42b6-8b78-9778956e69b6" providerId="ADAL" clId="{61E5150D-5ED8-4F64-9DB9-E2770C8769C8}" dt="2021-09-24T15:59:13.136" v="3679" actId="12788"/>
          <ac:spMkLst>
            <pc:docMk/>
            <pc:sldMk cId="4234639976" sldId="1325"/>
            <ac:spMk id="44" creationId="{33946089-3A95-4E6B-A93E-600FF49F457D}"/>
          </ac:spMkLst>
        </pc:spChg>
        <pc:spChg chg="add del mod">
          <ac:chgData name="Ieva Dzene" userId="36e850b3-6b13-42b6-8b78-9778956e69b6" providerId="ADAL" clId="{61E5150D-5ED8-4F64-9DB9-E2770C8769C8}" dt="2021-09-24T12:54:37.389" v="1733" actId="478"/>
          <ac:spMkLst>
            <pc:docMk/>
            <pc:sldMk cId="4234639976" sldId="1325"/>
            <ac:spMk id="46" creationId="{1501BD1E-B4E0-49AB-BED1-0892F73B6B57}"/>
          </ac:spMkLst>
        </pc:spChg>
        <pc:spChg chg="add del mod">
          <ac:chgData name="Ieva Dzene" userId="36e850b3-6b13-42b6-8b78-9778956e69b6" providerId="ADAL" clId="{61E5150D-5ED8-4F64-9DB9-E2770C8769C8}" dt="2021-09-24T14:52:22.541" v="3106" actId="478"/>
          <ac:spMkLst>
            <pc:docMk/>
            <pc:sldMk cId="4234639976" sldId="1325"/>
            <ac:spMk id="48" creationId="{4DF813A6-352E-4DBA-A991-BBFAD15B155F}"/>
          </ac:spMkLst>
        </pc:spChg>
        <pc:spChg chg="add del mod">
          <ac:chgData name="Ieva Dzene" userId="36e850b3-6b13-42b6-8b78-9778956e69b6" providerId="ADAL" clId="{61E5150D-5ED8-4F64-9DB9-E2770C8769C8}" dt="2021-09-24T14:56:40.351" v="3148" actId="478"/>
          <ac:spMkLst>
            <pc:docMk/>
            <pc:sldMk cId="4234639976" sldId="1325"/>
            <ac:spMk id="50" creationId="{B6DB36EE-9C54-4AF2-8A78-C8B073A6BE48}"/>
          </ac:spMkLst>
        </pc:spChg>
        <pc:spChg chg="add mod">
          <ac:chgData name="Ieva Dzene" userId="36e850b3-6b13-42b6-8b78-9778956e69b6" providerId="ADAL" clId="{61E5150D-5ED8-4F64-9DB9-E2770C8769C8}" dt="2021-09-27T07:44:37.347" v="4870" actId="20577"/>
          <ac:spMkLst>
            <pc:docMk/>
            <pc:sldMk cId="4234639976" sldId="1325"/>
            <ac:spMk id="51" creationId="{35A9178D-AC02-4F3A-A418-F3B6E1591C9D}"/>
          </ac:spMkLst>
        </pc:spChg>
        <pc:spChg chg="add mod">
          <ac:chgData name="Ieva Dzene" userId="36e850b3-6b13-42b6-8b78-9778956e69b6" providerId="ADAL" clId="{61E5150D-5ED8-4F64-9DB9-E2770C8769C8}" dt="2021-09-27T07:43:48.483" v="4866" actId="1076"/>
          <ac:spMkLst>
            <pc:docMk/>
            <pc:sldMk cId="4234639976" sldId="1325"/>
            <ac:spMk id="53" creationId="{EE8E498C-3BB6-480D-AA3C-4686016755F9}"/>
          </ac:spMkLst>
        </pc:spChg>
        <pc:cxnChg chg="del mod">
          <ac:chgData name="Ieva Dzene" userId="36e850b3-6b13-42b6-8b78-9778956e69b6" providerId="ADAL" clId="{61E5150D-5ED8-4F64-9DB9-E2770C8769C8}" dt="2021-09-24T12:37:37.179" v="1648" actId="478"/>
          <ac:cxnSpMkLst>
            <pc:docMk/>
            <pc:sldMk cId="4234639976" sldId="1325"/>
            <ac:cxnSpMk id="13" creationId="{601B98EF-4F3E-47BF-B3FB-4F7158FF3174}"/>
          </ac:cxnSpMkLst>
        </pc:cxnChg>
        <pc:cxnChg chg="del mod">
          <ac:chgData name="Ieva Dzene" userId="36e850b3-6b13-42b6-8b78-9778956e69b6" providerId="ADAL" clId="{61E5150D-5ED8-4F64-9DB9-E2770C8769C8}" dt="2021-09-24T12:37:37.179" v="1648" actId="478"/>
          <ac:cxnSpMkLst>
            <pc:docMk/>
            <pc:sldMk cId="4234639976" sldId="1325"/>
            <ac:cxnSpMk id="14" creationId="{D8976D6E-530A-4472-B73D-7E7E64066082}"/>
          </ac:cxnSpMkLst>
        </pc:cxnChg>
        <pc:cxnChg chg="del mod">
          <ac:chgData name="Ieva Dzene" userId="36e850b3-6b13-42b6-8b78-9778956e69b6" providerId="ADAL" clId="{61E5150D-5ED8-4F64-9DB9-E2770C8769C8}" dt="2021-09-24T11:31:09.207" v="699" actId="478"/>
          <ac:cxnSpMkLst>
            <pc:docMk/>
            <pc:sldMk cId="4234639976" sldId="1325"/>
            <ac:cxnSpMk id="15" creationId="{738D01D9-1150-4ED4-B430-4D344E898D7D}"/>
          </ac:cxnSpMkLst>
        </pc:cxnChg>
        <pc:cxnChg chg="del mod">
          <ac:chgData name="Ieva Dzene" userId="36e850b3-6b13-42b6-8b78-9778956e69b6" providerId="ADAL" clId="{61E5150D-5ED8-4F64-9DB9-E2770C8769C8}" dt="2021-09-24T12:37:37.179" v="1648" actId="478"/>
          <ac:cxnSpMkLst>
            <pc:docMk/>
            <pc:sldMk cId="4234639976" sldId="1325"/>
            <ac:cxnSpMk id="16" creationId="{ECA78B77-D962-4F5A-9DF9-75B1D5F4AE5A}"/>
          </ac:cxnSpMkLst>
        </pc:cxnChg>
        <pc:cxnChg chg="del mod">
          <ac:chgData name="Ieva Dzene" userId="36e850b3-6b13-42b6-8b78-9778956e69b6" providerId="ADAL" clId="{61E5150D-5ED8-4F64-9DB9-E2770C8769C8}" dt="2021-09-24T11:31:13.178" v="701" actId="478"/>
          <ac:cxnSpMkLst>
            <pc:docMk/>
            <pc:sldMk cId="4234639976" sldId="1325"/>
            <ac:cxnSpMk id="18" creationId="{DE1684F3-7C9C-4233-9923-2298393EFE72}"/>
          </ac:cxnSpMkLst>
        </pc:cxnChg>
        <pc:cxnChg chg="del mod">
          <ac:chgData name="Ieva Dzene" userId="36e850b3-6b13-42b6-8b78-9778956e69b6" providerId="ADAL" clId="{61E5150D-5ED8-4F64-9DB9-E2770C8769C8}" dt="2021-09-24T11:31:44.157" v="719" actId="478"/>
          <ac:cxnSpMkLst>
            <pc:docMk/>
            <pc:sldMk cId="4234639976" sldId="1325"/>
            <ac:cxnSpMk id="19" creationId="{73988BB1-69C8-42E7-811F-5B952E8B268F}"/>
          </ac:cxnSpMkLst>
        </pc:cxnChg>
        <pc:cxnChg chg="del mod">
          <ac:chgData name="Ieva Dzene" userId="36e850b3-6b13-42b6-8b78-9778956e69b6" providerId="ADAL" clId="{61E5150D-5ED8-4F64-9DB9-E2770C8769C8}" dt="2021-09-24T12:37:37.179" v="1648" actId="478"/>
          <ac:cxnSpMkLst>
            <pc:docMk/>
            <pc:sldMk cId="4234639976" sldId="1325"/>
            <ac:cxnSpMk id="20" creationId="{D07B7843-8095-483E-9B11-FEE318D71A30}"/>
          </ac:cxnSpMkLst>
        </pc:cxnChg>
        <pc:cxnChg chg="del mod">
          <ac:chgData name="Ieva Dzene" userId="36e850b3-6b13-42b6-8b78-9778956e69b6" providerId="ADAL" clId="{61E5150D-5ED8-4F64-9DB9-E2770C8769C8}" dt="2021-09-24T11:31:48.727" v="721" actId="478"/>
          <ac:cxnSpMkLst>
            <pc:docMk/>
            <pc:sldMk cId="4234639976" sldId="1325"/>
            <ac:cxnSpMk id="21" creationId="{01E66132-1624-467F-9B59-1C3D6D12995E}"/>
          </ac:cxnSpMkLst>
        </pc:cxnChg>
        <pc:cxnChg chg="del">
          <ac:chgData name="Ieva Dzene" userId="36e850b3-6b13-42b6-8b78-9778956e69b6" providerId="ADAL" clId="{61E5150D-5ED8-4F64-9DB9-E2770C8769C8}" dt="2021-09-24T11:31:15.071" v="702" actId="478"/>
          <ac:cxnSpMkLst>
            <pc:docMk/>
            <pc:sldMk cId="4234639976" sldId="1325"/>
            <ac:cxnSpMk id="23" creationId="{F9E321CE-D65C-4EEE-9080-8F59E796FD8D}"/>
          </ac:cxnSpMkLst>
        </pc:cxnChg>
        <pc:cxnChg chg="add mod">
          <ac:chgData name="Ieva Dzene" userId="36e850b3-6b13-42b6-8b78-9778956e69b6" providerId="ADAL" clId="{61E5150D-5ED8-4F64-9DB9-E2770C8769C8}" dt="2021-09-24T15:59:51.226" v="3685" actId="14100"/>
          <ac:cxnSpMkLst>
            <pc:docMk/>
            <pc:sldMk cId="4234639976" sldId="1325"/>
            <ac:cxnSpMk id="36" creationId="{ED637ACF-0DE7-4D2F-8A8D-D4C8FE39A371}"/>
          </ac:cxnSpMkLst>
        </pc:cxnChg>
        <pc:cxnChg chg="add mod">
          <ac:chgData name="Ieva Dzene" userId="36e850b3-6b13-42b6-8b78-9778956e69b6" providerId="ADAL" clId="{61E5150D-5ED8-4F64-9DB9-E2770C8769C8}" dt="2021-09-24T15:59:13.136" v="3679" actId="12788"/>
          <ac:cxnSpMkLst>
            <pc:docMk/>
            <pc:sldMk cId="4234639976" sldId="1325"/>
            <ac:cxnSpMk id="38" creationId="{1C9EAC73-EFC7-47A6-BCB5-AC89AAFD65A5}"/>
          </ac:cxnSpMkLst>
        </pc:cxnChg>
        <pc:cxnChg chg="add mod">
          <ac:chgData name="Ieva Dzene" userId="36e850b3-6b13-42b6-8b78-9778956e69b6" providerId="ADAL" clId="{61E5150D-5ED8-4F64-9DB9-E2770C8769C8}" dt="2021-09-24T15:59:13.136" v="3679" actId="12788"/>
          <ac:cxnSpMkLst>
            <pc:docMk/>
            <pc:sldMk cId="4234639976" sldId="1325"/>
            <ac:cxnSpMk id="40" creationId="{7FD07104-A459-4CED-A2AE-CF300E9C046B}"/>
          </ac:cxnSpMkLst>
        </pc:cxnChg>
        <pc:cxnChg chg="add mod">
          <ac:chgData name="Ieva Dzene" userId="36e850b3-6b13-42b6-8b78-9778956e69b6" providerId="ADAL" clId="{61E5150D-5ED8-4F64-9DB9-E2770C8769C8}" dt="2021-09-24T15:59:13.136" v="3679" actId="12788"/>
          <ac:cxnSpMkLst>
            <pc:docMk/>
            <pc:sldMk cId="4234639976" sldId="1325"/>
            <ac:cxnSpMk id="42" creationId="{C152B7FD-36A0-4715-AEF4-83F1CE33035E}"/>
          </ac:cxnSpMkLst>
        </pc:cxnChg>
        <pc:cxnChg chg="add mod">
          <ac:chgData name="Ieva Dzene" userId="36e850b3-6b13-42b6-8b78-9778956e69b6" providerId="ADAL" clId="{61E5150D-5ED8-4F64-9DB9-E2770C8769C8}" dt="2021-09-24T15:59:22.902" v="3682" actId="14100"/>
          <ac:cxnSpMkLst>
            <pc:docMk/>
            <pc:sldMk cId="4234639976" sldId="1325"/>
            <ac:cxnSpMk id="43" creationId="{AD6374B6-F0F2-4B59-87D9-0C9F3AC50B34}"/>
          </ac:cxnSpMkLst>
        </pc:cxnChg>
        <pc:cxnChg chg="add mod">
          <ac:chgData name="Ieva Dzene" userId="36e850b3-6b13-42b6-8b78-9778956e69b6" providerId="ADAL" clId="{61E5150D-5ED8-4F64-9DB9-E2770C8769C8}" dt="2021-09-24T15:59:13.136" v="3679" actId="12788"/>
          <ac:cxnSpMkLst>
            <pc:docMk/>
            <pc:sldMk cId="4234639976" sldId="1325"/>
            <ac:cxnSpMk id="45" creationId="{EB831992-A3DF-45A4-89A7-9D8A8BEA2758}"/>
          </ac:cxnSpMkLst>
        </pc:cxnChg>
        <pc:cxnChg chg="add del mod">
          <ac:chgData name="Ieva Dzene" userId="36e850b3-6b13-42b6-8b78-9778956e69b6" providerId="ADAL" clId="{61E5150D-5ED8-4F64-9DB9-E2770C8769C8}" dt="2021-09-24T12:54:38.677" v="1734" actId="478"/>
          <ac:cxnSpMkLst>
            <pc:docMk/>
            <pc:sldMk cId="4234639976" sldId="1325"/>
            <ac:cxnSpMk id="47" creationId="{9DF7096A-4341-493C-9B85-5541732B0602}"/>
          </ac:cxnSpMkLst>
        </pc:cxnChg>
        <pc:cxnChg chg="add del mod">
          <ac:chgData name="Ieva Dzene" userId="36e850b3-6b13-42b6-8b78-9778956e69b6" providerId="ADAL" clId="{61E5150D-5ED8-4F64-9DB9-E2770C8769C8}" dt="2021-09-24T15:59:13.136" v="3679" actId="12788"/>
          <ac:cxnSpMkLst>
            <pc:docMk/>
            <pc:sldMk cId="4234639976" sldId="1325"/>
            <ac:cxnSpMk id="49" creationId="{9B3DBB1C-306F-48F7-A331-99ABA8535366}"/>
          </ac:cxnSpMkLst>
        </pc:cxnChg>
        <pc:cxnChg chg="add mod">
          <ac:chgData name="Ieva Dzene" userId="36e850b3-6b13-42b6-8b78-9778956e69b6" providerId="ADAL" clId="{61E5150D-5ED8-4F64-9DB9-E2770C8769C8}" dt="2021-09-24T15:59:13.136" v="3679" actId="12788"/>
          <ac:cxnSpMkLst>
            <pc:docMk/>
            <pc:sldMk cId="4234639976" sldId="1325"/>
            <ac:cxnSpMk id="54" creationId="{28DB09A5-7289-48EA-BAA0-EFD48655989C}"/>
          </ac:cxnSpMkLst>
        </pc:cxnChg>
      </pc:sldChg>
      <pc:sldChg chg="addSp delSp modSp add mod">
        <pc:chgData name="Ieva Dzene" userId="36e850b3-6b13-42b6-8b78-9778956e69b6" providerId="ADAL" clId="{61E5150D-5ED8-4F64-9DB9-E2770C8769C8}" dt="2021-09-27T07:45:50.793" v="4884" actId="20577"/>
        <pc:sldMkLst>
          <pc:docMk/>
          <pc:sldMk cId="1271215293" sldId="1326"/>
        </pc:sldMkLst>
        <pc:spChg chg="mod">
          <ac:chgData name="Ieva Dzene" userId="36e850b3-6b13-42b6-8b78-9778956e69b6" providerId="ADAL" clId="{61E5150D-5ED8-4F64-9DB9-E2770C8769C8}" dt="2021-09-27T07:36:10.528" v="4794"/>
          <ac:spMkLst>
            <pc:docMk/>
            <pc:sldMk cId="1271215293" sldId="1326"/>
            <ac:spMk id="4" creationId="{DADD9E0F-ED1C-4F82-BD9D-F0239A2E7022}"/>
          </ac:spMkLst>
        </pc:spChg>
        <pc:spChg chg="del mod">
          <ac:chgData name="Ieva Dzene" userId="36e850b3-6b13-42b6-8b78-9778956e69b6" providerId="ADAL" clId="{61E5150D-5ED8-4F64-9DB9-E2770C8769C8}" dt="2021-09-24T13:22:04.487" v="1945" actId="478"/>
          <ac:spMkLst>
            <pc:docMk/>
            <pc:sldMk cId="1271215293" sldId="1326"/>
            <ac:spMk id="5" creationId="{330BF89E-CCF6-454D-9595-233E95E51A24}"/>
          </ac:spMkLst>
        </pc:spChg>
        <pc:spChg chg="del mod">
          <ac:chgData name="Ieva Dzene" userId="36e850b3-6b13-42b6-8b78-9778956e69b6" providerId="ADAL" clId="{61E5150D-5ED8-4F64-9DB9-E2770C8769C8}" dt="2021-09-24T13:22:04.487" v="1945" actId="478"/>
          <ac:spMkLst>
            <pc:docMk/>
            <pc:sldMk cId="1271215293" sldId="1326"/>
            <ac:spMk id="6" creationId="{24C51926-07C1-4C29-8E06-B0BC2253D7E0}"/>
          </ac:spMkLst>
        </pc:spChg>
        <pc:spChg chg="del mod">
          <ac:chgData name="Ieva Dzene" userId="36e850b3-6b13-42b6-8b78-9778956e69b6" providerId="ADAL" clId="{61E5150D-5ED8-4F64-9DB9-E2770C8769C8}" dt="2021-09-24T13:22:04.487" v="1945" actId="478"/>
          <ac:spMkLst>
            <pc:docMk/>
            <pc:sldMk cId="1271215293" sldId="1326"/>
            <ac:spMk id="7" creationId="{37A5A9D5-8CF9-4C73-B217-63C519579A0C}"/>
          </ac:spMkLst>
        </pc:spChg>
        <pc:spChg chg="del mod">
          <ac:chgData name="Ieva Dzene" userId="36e850b3-6b13-42b6-8b78-9778956e69b6" providerId="ADAL" clId="{61E5150D-5ED8-4F64-9DB9-E2770C8769C8}" dt="2021-09-24T13:22:04.487" v="1945" actId="478"/>
          <ac:spMkLst>
            <pc:docMk/>
            <pc:sldMk cId="1271215293" sldId="1326"/>
            <ac:spMk id="9" creationId="{6D06195E-516D-425E-A45E-A1B79126269F}"/>
          </ac:spMkLst>
        </pc:spChg>
        <pc:spChg chg="add del mod">
          <ac:chgData name="Ieva Dzene" userId="36e850b3-6b13-42b6-8b78-9778956e69b6" providerId="ADAL" clId="{61E5150D-5ED8-4F64-9DB9-E2770C8769C8}" dt="2021-09-24T11:42:39.769" v="895" actId="478"/>
          <ac:spMkLst>
            <pc:docMk/>
            <pc:sldMk cId="1271215293" sldId="1326"/>
            <ac:spMk id="12" creationId="{4C5DF593-107A-4F58-8F39-52C1DEB84B31}"/>
          </ac:spMkLst>
        </pc:spChg>
        <pc:spChg chg="add mod">
          <ac:chgData name="Ieva Dzene" userId="36e850b3-6b13-42b6-8b78-9778956e69b6" providerId="ADAL" clId="{61E5150D-5ED8-4F64-9DB9-E2770C8769C8}" dt="2021-09-24T16:02:46.764" v="3755" actId="1076"/>
          <ac:spMkLst>
            <pc:docMk/>
            <pc:sldMk cId="1271215293" sldId="1326"/>
            <ac:spMk id="15" creationId="{47243BA3-2990-4F85-BD0D-16DD7D3B84F2}"/>
          </ac:spMkLst>
        </pc:spChg>
        <pc:spChg chg="add del mod">
          <ac:chgData name="Ieva Dzene" userId="36e850b3-6b13-42b6-8b78-9778956e69b6" providerId="ADAL" clId="{61E5150D-5ED8-4F64-9DB9-E2770C8769C8}" dt="2021-09-24T12:56:40.653" v="1762" actId="478"/>
          <ac:spMkLst>
            <pc:docMk/>
            <pc:sldMk cId="1271215293" sldId="1326"/>
            <ac:spMk id="17" creationId="{503A49A5-DA2E-49D7-A96F-2B8D13D2F881}"/>
          </ac:spMkLst>
        </pc:spChg>
        <pc:spChg chg="add del mod">
          <ac:chgData name="Ieva Dzene" userId="36e850b3-6b13-42b6-8b78-9778956e69b6" providerId="ADAL" clId="{61E5150D-5ED8-4F64-9DB9-E2770C8769C8}" dt="2021-09-24T12:56:43.391" v="1764" actId="478"/>
          <ac:spMkLst>
            <pc:docMk/>
            <pc:sldMk cId="1271215293" sldId="1326"/>
            <ac:spMk id="18" creationId="{A9CB23ED-4FB4-4F03-A58A-F5F27C8DF518}"/>
          </ac:spMkLst>
        </pc:spChg>
        <pc:spChg chg="add del mod">
          <ac:chgData name="Ieva Dzene" userId="36e850b3-6b13-42b6-8b78-9778956e69b6" providerId="ADAL" clId="{61E5150D-5ED8-4F64-9DB9-E2770C8769C8}" dt="2021-09-24T12:56:37.741" v="1760" actId="478"/>
          <ac:spMkLst>
            <pc:docMk/>
            <pc:sldMk cId="1271215293" sldId="1326"/>
            <ac:spMk id="19" creationId="{01EC1C99-5ECA-4563-8E94-37A6AD6DEB65}"/>
          </ac:spMkLst>
        </pc:spChg>
        <pc:spChg chg="add mod">
          <ac:chgData name="Ieva Dzene" userId="36e850b3-6b13-42b6-8b78-9778956e69b6" providerId="ADAL" clId="{61E5150D-5ED8-4F64-9DB9-E2770C8769C8}" dt="2021-09-24T16:02:46.764" v="3755" actId="1076"/>
          <ac:spMkLst>
            <pc:docMk/>
            <pc:sldMk cId="1271215293" sldId="1326"/>
            <ac:spMk id="22" creationId="{F5260FC9-FA5A-40DB-A841-9B108A33AA6D}"/>
          </ac:spMkLst>
        </pc:spChg>
        <pc:spChg chg="add del mod">
          <ac:chgData name="Ieva Dzene" userId="36e850b3-6b13-42b6-8b78-9778956e69b6" providerId="ADAL" clId="{61E5150D-5ED8-4F64-9DB9-E2770C8769C8}" dt="2021-09-24T13:04:10.463" v="1821" actId="478"/>
          <ac:spMkLst>
            <pc:docMk/>
            <pc:sldMk cId="1271215293" sldId="1326"/>
            <ac:spMk id="24" creationId="{7184DFFE-87B9-497E-B1CC-0708788D81FE}"/>
          </ac:spMkLst>
        </pc:spChg>
        <pc:spChg chg="add del mod">
          <ac:chgData name="Ieva Dzene" userId="36e850b3-6b13-42b6-8b78-9778956e69b6" providerId="ADAL" clId="{61E5150D-5ED8-4F64-9DB9-E2770C8769C8}" dt="2021-09-24T13:04:10.463" v="1821" actId="478"/>
          <ac:spMkLst>
            <pc:docMk/>
            <pc:sldMk cId="1271215293" sldId="1326"/>
            <ac:spMk id="26" creationId="{FB769CE9-CE51-4496-82A3-EA17897D7F70}"/>
          </ac:spMkLst>
        </pc:spChg>
        <pc:spChg chg="add del mod">
          <ac:chgData name="Ieva Dzene" userId="36e850b3-6b13-42b6-8b78-9778956e69b6" providerId="ADAL" clId="{61E5150D-5ED8-4F64-9DB9-E2770C8769C8}" dt="2021-09-24T13:04:10.463" v="1821" actId="478"/>
          <ac:spMkLst>
            <pc:docMk/>
            <pc:sldMk cId="1271215293" sldId="1326"/>
            <ac:spMk id="29" creationId="{F414A77B-9A04-4CD7-8FDD-12410DB9705D}"/>
          </ac:spMkLst>
        </pc:spChg>
        <pc:spChg chg="add del mod">
          <ac:chgData name="Ieva Dzene" userId="36e850b3-6b13-42b6-8b78-9778956e69b6" providerId="ADAL" clId="{61E5150D-5ED8-4F64-9DB9-E2770C8769C8}" dt="2021-09-24T13:04:15.465" v="1823" actId="478"/>
          <ac:spMkLst>
            <pc:docMk/>
            <pc:sldMk cId="1271215293" sldId="1326"/>
            <ac:spMk id="31" creationId="{619AAFFA-D066-483C-B6F9-FA6A2D5205D9}"/>
          </ac:spMkLst>
        </pc:spChg>
        <pc:spChg chg="add del mod">
          <ac:chgData name="Ieva Dzene" userId="36e850b3-6b13-42b6-8b78-9778956e69b6" providerId="ADAL" clId="{61E5150D-5ED8-4F64-9DB9-E2770C8769C8}" dt="2021-09-24T13:49:02.128" v="2327" actId="21"/>
          <ac:spMkLst>
            <pc:docMk/>
            <pc:sldMk cId="1271215293" sldId="1326"/>
            <ac:spMk id="33" creationId="{55AC6E10-7488-4F35-8E22-455A62E6A8FD}"/>
          </ac:spMkLst>
        </pc:spChg>
        <pc:spChg chg="add mod">
          <ac:chgData name="Ieva Dzene" userId="36e850b3-6b13-42b6-8b78-9778956e69b6" providerId="ADAL" clId="{61E5150D-5ED8-4F64-9DB9-E2770C8769C8}" dt="2021-09-24T16:08:01.298" v="3809" actId="1076"/>
          <ac:spMkLst>
            <pc:docMk/>
            <pc:sldMk cId="1271215293" sldId="1326"/>
            <ac:spMk id="34" creationId="{7F68CFC7-0A34-439C-AC54-653D06DDCA0C}"/>
          </ac:spMkLst>
        </pc:spChg>
        <pc:spChg chg="add mod">
          <ac:chgData name="Ieva Dzene" userId="36e850b3-6b13-42b6-8b78-9778956e69b6" providerId="ADAL" clId="{61E5150D-5ED8-4F64-9DB9-E2770C8769C8}" dt="2021-09-24T16:02:46.764" v="3755" actId="1076"/>
          <ac:spMkLst>
            <pc:docMk/>
            <pc:sldMk cId="1271215293" sldId="1326"/>
            <ac:spMk id="35" creationId="{FC1CC548-6367-4408-8A6F-ECDC6F18EA34}"/>
          </ac:spMkLst>
        </pc:spChg>
        <pc:spChg chg="add mod">
          <ac:chgData name="Ieva Dzene" userId="36e850b3-6b13-42b6-8b78-9778956e69b6" providerId="ADAL" clId="{61E5150D-5ED8-4F64-9DB9-E2770C8769C8}" dt="2021-09-24T16:07:24.023" v="3800" actId="1076"/>
          <ac:spMkLst>
            <pc:docMk/>
            <pc:sldMk cId="1271215293" sldId="1326"/>
            <ac:spMk id="38" creationId="{591A5E30-2820-4FEF-A606-C7F36A899FB8}"/>
          </ac:spMkLst>
        </pc:spChg>
        <pc:spChg chg="add mod">
          <ac:chgData name="Ieva Dzene" userId="36e850b3-6b13-42b6-8b78-9778956e69b6" providerId="ADAL" clId="{61E5150D-5ED8-4F64-9DB9-E2770C8769C8}" dt="2021-09-24T16:07:24.023" v="3800" actId="1076"/>
          <ac:spMkLst>
            <pc:docMk/>
            <pc:sldMk cId="1271215293" sldId="1326"/>
            <ac:spMk id="39" creationId="{17EA580B-F935-4861-9493-9E58C4321313}"/>
          </ac:spMkLst>
        </pc:spChg>
        <pc:spChg chg="add mod">
          <ac:chgData name="Ieva Dzene" userId="36e850b3-6b13-42b6-8b78-9778956e69b6" providerId="ADAL" clId="{61E5150D-5ED8-4F64-9DB9-E2770C8769C8}" dt="2021-09-24T16:07:24.023" v="3800" actId="1076"/>
          <ac:spMkLst>
            <pc:docMk/>
            <pc:sldMk cId="1271215293" sldId="1326"/>
            <ac:spMk id="41" creationId="{CB6FEC06-F76D-4793-A86E-BB8BEAD07175}"/>
          </ac:spMkLst>
        </pc:spChg>
        <pc:spChg chg="add mod">
          <ac:chgData name="Ieva Dzene" userId="36e850b3-6b13-42b6-8b78-9778956e69b6" providerId="ADAL" clId="{61E5150D-5ED8-4F64-9DB9-E2770C8769C8}" dt="2021-09-24T16:07:24.023" v="3800" actId="1076"/>
          <ac:spMkLst>
            <pc:docMk/>
            <pc:sldMk cId="1271215293" sldId="1326"/>
            <ac:spMk id="43" creationId="{F35091B8-5AF7-4838-9CC8-25BC6C2B4946}"/>
          </ac:spMkLst>
        </pc:spChg>
        <pc:spChg chg="add mod">
          <ac:chgData name="Ieva Dzene" userId="36e850b3-6b13-42b6-8b78-9778956e69b6" providerId="ADAL" clId="{61E5150D-5ED8-4F64-9DB9-E2770C8769C8}" dt="2021-09-24T16:07:24.023" v="3800" actId="1076"/>
          <ac:spMkLst>
            <pc:docMk/>
            <pc:sldMk cId="1271215293" sldId="1326"/>
            <ac:spMk id="45" creationId="{D0AB6765-0315-44FF-A0CE-37BAE05F8825}"/>
          </ac:spMkLst>
        </pc:spChg>
        <pc:spChg chg="add mod">
          <ac:chgData name="Ieva Dzene" userId="36e850b3-6b13-42b6-8b78-9778956e69b6" providerId="ADAL" clId="{61E5150D-5ED8-4F64-9DB9-E2770C8769C8}" dt="2021-09-24T16:09:24.799" v="3829" actId="1076"/>
          <ac:spMkLst>
            <pc:docMk/>
            <pc:sldMk cId="1271215293" sldId="1326"/>
            <ac:spMk id="46" creationId="{78C5B243-8445-4FF9-8E32-E618706F0FE7}"/>
          </ac:spMkLst>
        </pc:spChg>
        <pc:spChg chg="add mod">
          <ac:chgData name="Ieva Dzene" userId="36e850b3-6b13-42b6-8b78-9778956e69b6" providerId="ADAL" clId="{61E5150D-5ED8-4F64-9DB9-E2770C8769C8}" dt="2021-09-24T16:10:17.509" v="3843" actId="1076"/>
          <ac:spMkLst>
            <pc:docMk/>
            <pc:sldMk cId="1271215293" sldId="1326"/>
            <ac:spMk id="48" creationId="{BDFE37B0-8C2C-47C0-A583-A6DA574491A7}"/>
          </ac:spMkLst>
        </pc:spChg>
        <pc:spChg chg="add del mod">
          <ac:chgData name="Ieva Dzene" userId="36e850b3-6b13-42b6-8b78-9778956e69b6" providerId="ADAL" clId="{61E5150D-5ED8-4F64-9DB9-E2770C8769C8}" dt="2021-09-24T16:01:24.499" v="3695" actId="478"/>
          <ac:spMkLst>
            <pc:docMk/>
            <pc:sldMk cId="1271215293" sldId="1326"/>
            <ac:spMk id="56" creationId="{77C71490-DECB-47E1-9679-324D8668FD44}"/>
          </ac:spMkLst>
        </pc:spChg>
        <pc:spChg chg="add del mod">
          <ac:chgData name="Ieva Dzene" userId="36e850b3-6b13-42b6-8b78-9778956e69b6" providerId="ADAL" clId="{61E5150D-5ED8-4F64-9DB9-E2770C8769C8}" dt="2021-09-24T13:49:08.175" v="2329" actId="21"/>
          <ac:spMkLst>
            <pc:docMk/>
            <pc:sldMk cId="1271215293" sldId="1326"/>
            <ac:spMk id="61" creationId="{A06C3930-A5BF-4724-925F-055876FF212B}"/>
          </ac:spMkLst>
        </pc:spChg>
        <pc:spChg chg="add mod">
          <ac:chgData name="Ieva Dzene" userId="36e850b3-6b13-42b6-8b78-9778956e69b6" providerId="ADAL" clId="{61E5150D-5ED8-4F64-9DB9-E2770C8769C8}" dt="2021-09-24T16:07:56.754" v="3808" actId="1076"/>
          <ac:spMkLst>
            <pc:docMk/>
            <pc:sldMk cId="1271215293" sldId="1326"/>
            <ac:spMk id="67" creationId="{23A714C3-CFC7-448E-9597-12156906FD13}"/>
          </ac:spMkLst>
        </pc:spChg>
        <pc:spChg chg="add del mod">
          <ac:chgData name="Ieva Dzene" userId="36e850b3-6b13-42b6-8b78-9778956e69b6" providerId="ADAL" clId="{61E5150D-5ED8-4F64-9DB9-E2770C8769C8}" dt="2021-09-24T16:01:23.064" v="3694" actId="478"/>
          <ac:spMkLst>
            <pc:docMk/>
            <pc:sldMk cId="1271215293" sldId="1326"/>
            <ac:spMk id="76" creationId="{9E7E68EF-4320-4D5F-B09B-561DA9C2F670}"/>
          </ac:spMkLst>
        </pc:spChg>
        <pc:spChg chg="add del mod">
          <ac:chgData name="Ieva Dzene" userId="36e850b3-6b13-42b6-8b78-9778956e69b6" providerId="ADAL" clId="{61E5150D-5ED8-4F64-9DB9-E2770C8769C8}" dt="2021-09-24T16:01:22.280" v="3693" actId="478"/>
          <ac:spMkLst>
            <pc:docMk/>
            <pc:sldMk cId="1271215293" sldId="1326"/>
            <ac:spMk id="77" creationId="{8144C3A0-9D84-4399-9799-A71A32C07BD3}"/>
          </ac:spMkLst>
        </pc:spChg>
        <pc:spChg chg="add mod">
          <ac:chgData name="Ieva Dzene" userId="36e850b3-6b13-42b6-8b78-9778956e69b6" providerId="ADAL" clId="{61E5150D-5ED8-4F64-9DB9-E2770C8769C8}" dt="2021-09-27T07:44:58.045" v="4876" actId="1076"/>
          <ac:spMkLst>
            <pc:docMk/>
            <pc:sldMk cId="1271215293" sldId="1326"/>
            <ac:spMk id="78" creationId="{051DA0E1-D2EB-4E25-A6AF-0B67157CE3C8}"/>
          </ac:spMkLst>
        </pc:spChg>
        <pc:spChg chg="add mod">
          <ac:chgData name="Ieva Dzene" userId="36e850b3-6b13-42b6-8b78-9778956e69b6" providerId="ADAL" clId="{61E5150D-5ED8-4F64-9DB9-E2770C8769C8}" dt="2021-09-27T07:45:50.793" v="4884" actId="20577"/>
          <ac:spMkLst>
            <pc:docMk/>
            <pc:sldMk cId="1271215293" sldId="1326"/>
            <ac:spMk id="79" creationId="{3A359687-2016-44B7-ACAA-482CD4102B66}"/>
          </ac:spMkLst>
        </pc:spChg>
        <pc:cxnChg chg="add mod">
          <ac:chgData name="Ieva Dzene" userId="36e850b3-6b13-42b6-8b78-9778956e69b6" providerId="ADAL" clId="{61E5150D-5ED8-4F64-9DB9-E2770C8769C8}" dt="2021-09-24T16:07:39.794" v="3804" actId="14100"/>
          <ac:cxnSpMkLst>
            <pc:docMk/>
            <pc:sldMk cId="1271215293" sldId="1326"/>
            <ac:cxnSpMk id="8" creationId="{81E42687-A5E6-4386-A5F7-C963184B8FA2}"/>
          </ac:cxnSpMkLst>
        </pc:cxnChg>
        <pc:cxnChg chg="del mod">
          <ac:chgData name="Ieva Dzene" userId="36e850b3-6b13-42b6-8b78-9778956e69b6" providerId="ADAL" clId="{61E5150D-5ED8-4F64-9DB9-E2770C8769C8}" dt="2021-09-24T13:22:04.487" v="1945" actId="478"/>
          <ac:cxnSpMkLst>
            <pc:docMk/>
            <pc:sldMk cId="1271215293" sldId="1326"/>
            <ac:cxnSpMk id="13" creationId="{601B98EF-4F3E-47BF-B3FB-4F7158FF3174}"/>
          </ac:cxnSpMkLst>
        </pc:cxnChg>
        <pc:cxnChg chg="del mod">
          <ac:chgData name="Ieva Dzene" userId="36e850b3-6b13-42b6-8b78-9778956e69b6" providerId="ADAL" clId="{61E5150D-5ED8-4F64-9DB9-E2770C8769C8}" dt="2021-09-24T13:22:04.487" v="1945" actId="478"/>
          <ac:cxnSpMkLst>
            <pc:docMk/>
            <pc:sldMk cId="1271215293" sldId="1326"/>
            <ac:cxnSpMk id="14" creationId="{D8976D6E-530A-4472-B73D-7E7E64066082}"/>
          </ac:cxnSpMkLst>
        </pc:cxnChg>
        <pc:cxnChg chg="del mod">
          <ac:chgData name="Ieva Dzene" userId="36e850b3-6b13-42b6-8b78-9778956e69b6" providerId="ADAL" clId="{61E5150D-5ED8-4F64-9DB9-E2770C8769C8}" dt="2021-09-24T13:22:04.487" v="1945" actId="478"/>
          <ac:cxnSpMkLst>
            <pc:docMk/>
            <pc:sldMk cId="1271215293" sldId="1326"/>
            <ac:cxnSpMk id="16" creationId="{ECA78B77-D962-4F5A-9DF9-75B1D5F4AE5A}"/>
          </ac:cxnSpMkLst>
        </pc:cxnChg>
        <pc:cxnChg chg="del mod">
          <ac:chgData name="Ieva Dzene" userId="36e850b3-6b13-42b6-8b78-9778956e69b6" providerId="ADAL" clId="{61E5150D-5ED8-4F64-9DB9-E2770C8769C8}" dt="2021-09-24T13:22:04.487" v="1945" actId="478"/>
          <ac:cxnSpMkLst>
            <pc:docMk/>
            <pc:sldMk cId="1271215293" sldId="1326"/>
            <ac:cxnSpMk id="20" creationId="{D07B7843-8095-483E-9B11-FEE318D71A30}"/>
          </ac:cxnSpMkLst>
        </pc:cxnChg>
        <pc:cxnChg chg="add del mod">
          <ac:chgData name="Ieva Dzene" userId="36e850b3-6b13-42b6-8b78-9778956e69b6" providerId="ADAL" clId="{61E5150D-5ED8-4F64-9DB9-E2770C8769C8}" dt="2021-09-24T12:56:39.117" v="1761" actId="478"/>
          <ac:cxnSpMkLst>
            <pc:docMk/>
            <pc:sldMk cId="1271215293" sldId="1326"/>
            <ac:cxnSpMk id="21" creationId="{4D17CF0C-3CFB-4EFF-89FD-8620E63D509E}"/>
          </ac:cxnSpMkLst>
        </pc:cxnChg>
        <pc:cxnChg chg="add mod">
          <ac:chgData name="Ieva Dzene" userId="36e850b3-6b13-42b6-8b78-9778956e69b6" providerId="ADAL" clId="{61E5150D-5ED8-4F64-9DB9-E2770C8769C8}" dt="2021-09-24T16:02:46.764" v="3755" actId="1076"/>
          <ac:cxnSpMkLst>
            <pc:docMk/>
            <pc:sldMk cId="1271215293" sldId="1326"/>
            <ac:cxnSpMk id="23" creationId="{530CCB4F-7610-4860-B76F-4A8567559A2D}"/>
          </ac:cxnSpMkLst>
        </pc:cxnChg>
        <pc:cxnChg chg="add mod">
          <ac:chgData name="Ieva Dzene" userId="36e850b3-6b13-42b6-8b78-9778956e69b6" providerId="ADAL" clId="{61E5150D-5ED8-4F64-9DB9-E2770C8769C8}" dt="2021-09-24T16:02:46.764" v="3755" actId="1076"/>
          <ac:cxnSpMkLst>
            <pc:docMk/>
            <pc:sldMk cId="1271215293" sldId="1326"/>
            <ac:cxnSpMk id="25" creationId="{0F0E2E3E-DBC6-4212-AB2B-6727C7567BAA}"/>
          </ac:cxnSpMkLst>
        </pc:cxnChg>
        <pc:cxnChg chg="add del mod">
          <ac:chgData name="Ieva Dzene" userId="36e850b3-6b13-42b6-8b78-9778956e69b6" providerId="ADAL" clId="{61E5150D-5ED8-4F64-9DB9-E2770C8769C8}" dt="2021-09-24T13:04:10.463" v="1821" actId="478"/>
          <ac:cxnSpMkLst>
            <pc:docMk/>
            <pc:sldMk cId="1271215293" sldId="1326"/>
            <ac:cxnSpMk id="27" creationId="{EC861105-AE0A-4B34-8635-9A5421E2DAD1}"/>
          </ac:cxnSpMkLst>
        </pc:cxnChg>
        <pc:cxnChg chg="add del mod">
          <ac:chgData name="Ieva Dzene" userId="36e850b3-6b13-42b6-8b78-9778956e69b6" providerId="ADAL" clId="{61E5150D-5ED8-4F64-9DB9-E2770C8769C8}" dt="2021-09-24T12:56:42.205" v="1763" actId="478"/>
          <ac:cxnSpMkLst>
            <pc:docMk/>
            <pc:sldMk cId="1271215293" sldId="1326"/>
            <ac:cxnSpMk id="28" creationId="{B2E1864B-4301-4861-B2A6-BAC312843694}"/>
          </ac:cxnSpMkLst>
        </pc:cxnChg>
        <pc:cxnChg chg="add del mod">
          <ac:chgData name="Ieva Dzene" userId="36e850b3-6b13-42b6-8b78-9778956e69b6" providerId="ADAL" clId="{61E5150D-5ED8-4F64-9DB9-E2770C8769C8}" dt="2021-09-24T13:04:10.463" v="1821" actId="478"/>
          <ac:cxnSpMkLst>
            <pc:docMk/>
            <pc:sldMk cId="1271215293" sldId="1326"/>
            <ac:cxnSpMk id="30" creationId="{E946D812-D85C-42F2-942F-57499DB0A122}"/>
          </ac:cxnSpMkLst>
        </pc:cxnChg>
        <pc:cxnChg chg="add del mod">
          <ac:chgData name="Ieva Dzene" userId="36e850b3-6b13-42b6-8b78-9778956e69b6" providerId="ADAL" clId="{61E5150D-5ED8-4F64-9DB9-E2770C8769C8}" dt="2021-09-24T13:04:10.463" v="1821" actId="478"/>
          <ac:cxnSpMkLst>
            <pc:docMk/>
            <pc:sldMk cId="1271215293" sldId="1326"/>
            <ac:cxnSpMk id="32" creationId="{12B376F5-4308-49FD-9518-E1A232E5694C}"/>
          </ac:cxnSpMkLst>
        </pc:cxnChg>
        <pc:cxnChg chg="add del mod">
          <ac:chgData name="Ieva Dzene" userId="36e850b3-6b13-42b6-8b78-9778956e69b6" providerId="ADAL" clId="{61E5150D-5ED8-4F64-9DB9-E2770C8769C8}" dt="2021-09-24T13:17:23.023" v="1840" actId="478"/>
          <ac:cxnSpMkLst>
            <pc:docMk/>
            <pc:sldMk cId="1271215293" sldId="1326"/>
            <ac:cxnSpMk id="36" creationId="{A456462D-FB46-4D92-B02F-03EA441FB5C2}"/>
          </ac:cxnSpMkLst>
        </pc:cxnChg>
        <pc:cxnChg chg="add mod">
          <ac:chgData name="Ieva Dzene" userId="36e850b3-6b13-42b6-8b78-9778956e69b6" providerId="ADAL" clId="{61E5150D-5ED8-4F64-9DB9-E2770C8769C8}" dt="2021-09-24T16:07:50.188" v="3807" actId="1076"/>
          <ac:cxnSpMkLst>
            <pc:docMk/>
            <pc:sldMk cId="1271215293" sldId="1326"/>
            <ac:cxnSpMk id="37" creationId="{C7B35F22-BA49-417B-86CB-E70F3ACC93AC}"/>
          </ac:cxnSpMkLst>
        </pc:cxnChg>
        <pc:cxnChg chg="add mod">
          <ac:chgData name="Ieva Dzene" userId="36e850b3-6b13-42b6-8b78-9778956e69b6" providerId="ADAL" clId="{61E5150D-5ED8-4F64-9DB9-E2770C8769C8}" dt="2021-09-24T16:07:24.023" v="3800" actId="1076"/>
          <ac:cxnSpMkLst>
            <pc:docMk/>
            <pc:sldMk cId="1271215293" sldId="1326"/>
            <ac:cxnSpMk id="40" creationId="{FC990A98-777B-43F8-843B-CDCC10EAB5D6}"/>
          </ac:cxnSpMkLst>
        </pc:cxnChg>
        <pc:cxnChg chg="add mod">
          <ac:chgData name="Ieva Dzene" userId="36e850b3-6b13-42b6-8b78-9778956e69b6" providerId="ADAL" clId="{61E5150D-5ED8-4F64-9DB9-E2770C8769C8}" dt="2021-09-24T16:07:24.023" v="3800" actId="1076"/>
          <ac:cxnSpMkLst>
            <pc:docMk/>
            <pc:sldMk cId="1271215293" sldId="1326"/>
            <ac:cxnSpMk id="42" creationId="{C4167C87-A7E0-4970-8CD0-7354B6D73770}"/>
          </ac:cxnSpMkLst>
        </pc:cxnChg>
        <pc:cxnChg chg="add del mod">
          <ac:chgData name="Ieva Dzene" userId="36e850b3-6b13-42b6-8b78-9778956e69b6" providerId="ADAL" clId="{61E5150D-5ED8-4F64-9DB9-E2770C8769C8}" dt="2021-09-24T13:53:43.580" v="2374" actId="478"/>
          <ac:cxnSpMkLst>
            <pc:docMk/>
            <pc:sldMk cId="1271215293" sldId="1326"/>
            <ac:cxnSpMk id="44" creationId="{D0CA5883-5120-4530-B6C0-E2E219CA5C9C}"/>
          </ac:cxnSpMkLst>
        </pc:cxnChg>
        <pc:cxnChg chg="add del mod">
          <ac:chgData name="Ieva Dzene" userId="36e850b3-6b13-42b6-8b78-9778956e69b6" providerId="ADAL" clId="{61E5150D-5ED8-4F64-9DB9-E2770C8769C8}" dt="2021-09-24T16:08:59.684" v="3820" actId="478"/>
          <ac:cxnSpMkLst>
            <pc:docMk/>
            <pc:sldMk cId="1271215293" sldId="1326"/>
            <ac:cxnSpMk id="47" creationId="{565A5A95-30A7-4D19-8BE4-BCE0F288606A}"/>
          </ac:cxnSpMkLst>
        </pc:cxnChg>
        <pc:cxnChg chg="add del mod">
          <ac:chgData name="Ieva Dzene" userId="36e850b3-6b13-42b6-8b78-9778956e69b6" providerId="ADAL" clId="{61E5150D-5ED8-4F64-9DB9-E2770C8769C8}" dt="2021-09-24T16:09:01.874" v="3822" actId="478"/>
          <ac:cxnSpMkLst>
            <pc:docMk/>
            <pc:sldMk cId="1271215293" sldId="1326"/>
            <ac:cxnSpMk id="49" creationId="{A5EC3342-07F6-4936-975D-A4330CD36404}"/>
          </ac:cxnSpMkLst>
        </pc:cxnChg>
        <pc:cxnChg chg="add del mod">
          <ac:chgData name="Ieva Dzene" userId="36e850b3-6b13-42b6-8b78-9778956e69b6" providerId="ADAL" clId="{61E5150D-5ED8-4F64-9DB9-E2770C8769C8}" dt="2021-09-24T16:06:34.217" v="3789" actId="478"/>
          <ac:cxnSpMkLst>
            <pc:docMk/>
            <pc:sldMk cId="1271215293" sldId="1326"/>
            <ac:cxnSpMk id="64" creationId="{84D236DC-865D-4590-B3D7-CA87F651BE6B}"/>
          </ac:cxnSpMkLst>
        </pc:cxnChg>
        <pc:cxnChg chg="add del mod">
          <ac:chgData name="Ieva Dzene" userId="36e850b3-6b13-42b6-8b78-9778956e69b6" providerId="ADAL" clId="{61E5150D-5ED8-4F64-9DB9-E2770C8769C8}" dt="2021-09-24T16:03:37.856" v="3766" actId="478"/>
          <ac:cxnSpMkLst>
            <pc:docMk/>
            <pc:sldMk cId="1271215293" sldId="1326"/>
            <ac:cxnSpMk id="66" creationId="{6C128830-0844-4801-91E8-BA480B9CB6A4}"/>
          </ac:cxnSpMkLst>
        </pc:cxnChg>
        <pc:cxnChg chg="add mod">
          <ac:chgData name="Ieva Dzene" userId="36e850b3-6b13-42b6-8b78-9778956e69b6" providerId="ADAL" clId="{61E5150D-5ED8-4F64-9DB9-E2770C8769C8}" dt="2021-09-24T16:07:24.023" v="3800" actId="1076"/>
          <ac:cxnSpMkLst>
            <pc:docMk/>
            <pc:sldMk cId="1271215293" sldId="1326"/>
            <ac:cxnSpMk id="75" creationId="{655ACD9D-9AFE-4BBA-8B09-D1B0B2A4C156}"/>
          </ac:cxnSpMkLst>
        </pc:cxnChg>
        <pc:cxnChg chg="add mod">
          <ac:chgData name="Ieva Dzene" userId="36e850b3-6b13-42b6-8b78-9778956e69b6" providerId="ADAL" clId="{61E5150D-5ED8-4F64-9DB9-E2770C8769C8}" dt="2021-09-24T16:10:17.509" v="3843" actId="1076"/>
          <ac:cxnSpMkLst>
            <pc:docMk/>
            <pc:sldMk cId="1271215293" sldId="1326"/>
            <ac:cxnSpMk id="89" creationId="{F261D284-FBF7-40DA-AC96-C7F922904529}"/>
          </ac:cxnSpMkLst>
        </pc:cxnChg>
        <pc:cxnChg chg="add mod">
          <ac:chgData name="Ieva Dzene" userId="36e850b3-6b13-42b6-8b78-9778956e69b6" providerId="ADAL" clId="{61E5150D-5ED8-4F64-9DB9-E2770C8769C8}" dt="2021-09-24T16:07:28.982" v="3801" actId="1076"/>
          <ac:cxnSpMkLst>
            <pc:docMk/>
            <pc:sldMk cId="1271215293" sldId="1326"/>
            <ac:cxnSpMk id="92" creationId="{7F913D27-1927-49A8-9057-91E6549E3593}"/>
          </ac:cxnSpMkLst>
        </pc:cxnChg>
        <pc:cxnChg chg="add mod">
          <ac:chgData name="Ieva Dzene" userId="36e850b3-6b13-42b6-8b78-9778956e69b6" providerId="ADAL" clId="{61E5150D-5ED8-4F64-9DB9-E2770C8769C8}" dt="2021-09-24T16:09:25.847" v="3831" actId="1076"/>
          <ac:cxnSpMkLst>
            <pc:docMk/>
            <pc:sldMk cId="1271215293" sldId="1326"/>
            <ac:cxnSpMk id="107" creationId="{5A1E8E5D-D2D0-46C7-8C38-5F3C46BB6975}"/>
          </ac:cxnSpMkLst>
        </pc:cxnChg>
        <pc:cxnChg chg="add mod">
          <ac:chgData name="Ieva Dzene" userId="36e850b3-6b13-42b6-8b78-9778956e69b6" providerId="ADAL" clId="{61E5150D-5ED8-4F64-9DB9-E2770C8769C8}" dt="2021-09-24T16:09:49.570" v="3836" actId="14100"/>
          <ac:cxnSpMkLst>
            <pc:docMk/>
            <pc:sldMk cId="1271215293" sldId="1326"/>
            <ac:cxnSpMk id="110" creationId="{96BF69EB-D092-49D4-90BC-2C1249E5672D}"/>
          </ac:cxnSpMkLst>
        </pc:cxnChg>
        <pc:cxnChg chg="add mod">
          <ac:chgData name="Ieva Dzene" userId="36e850b3-6b13-42b6-8b78-9778956e69b6" providerId="ADAL" clId="{61E5150D-5ED8-4F64-9DB9-E2770C8769C8}" dt="2021-09-24T16:10:29.892" v="3845" actId="14100"/>
          <ac:cxnSpMkLst>
            <pc:docMk/>
            <pc:sldMk cId="1271215293" sldId="1326"/>
            <ac:cxnSpMk id="113" creationId="{5448F9F0-7308-4C58-B46B-EABE7EEFC62E}"/>
          </ac:cxnSpMkLst>
        </pc:cxnChg>
        <pc:cxnChg chg="add mod">
          <ac:chgData name="Ieva Dzene" userId="36e850b3-6b13-42b6-8b78-9778956e69b6" providerId="ADAL" clId="{61E5150D-5ED8-4F64-9DB9-E2770C8769C8}" dt="2021-09-27T07:45:15.617" v="4880" actId="14100"/>
          <ac:cxnSpMkLst>
            <pc:docMk/>
            <pc:sldMk cId="1271215293" sldId="1326"/>
            <ac:cxnSpMk id="120" creationId="{071915FA-B6CC-4B1B-AF1F-06CE23C369FD}"/>
          </ac:cxnSpMkLst>
        </pc:cxnChg>
      </pc:sldChg>
      <pc:sldChg chg="addSp delSp modSp add mod modShow">
        <pc:chgData name="Ieva Dzene" userId="36e850b3-6b13-42b6-8b78-9778956e69b6" providerId="ADAL" clId="{61E5150D-5ED8-4F64-9DB9-E2770C8769C8}" dt="2021-09-27T07:46:34.670" v="4900" actId="20577"/>
        <pc:sldMkLst>
          <pc:docMk/>
          <pc:sldMk cId="175430894" sldId="1327"/>
        </pc:sldMkLst>
        <pc:spChg chg="add del mod">
          <ac:chgData name="Ieva Dzene" userId="36e850b3-6b13-42b6-8b78-9778956e69b6" providerId="ADAL" clId="{61E5150D-5ED8-4F64-9DB9-E2770C8769C8}" dt="2021-09-24T14:42:44.715" v="2826" actId="478"/>
          <ac:spMkLst>
            <pc:docMk/>
            <pc:sldMk cId="175430894" sldId="1327"/>
            <ac:spMk id="3" creationId="{55B6E617-F155-4EB3-A309-B853174E92D3}"/>
          </ac:spMkLst>
        </pc:spChg>
        <pc:spChg chg="mod">
          <ac:chgData name="Ieva Dzene" userId="36e850b3-6b13-42b6-8b78-9778956e69b6" providerId="ADAL" clId="{61E5150D-5ED8-4F64-9DB9-E2770C8769C8}" dt="2021-09-27T07:36:18.514" v="4805"/>
          <ac:spMkLst>
            <pc:docMk/>
            <pc:sldMk cId="175430894" sldId="1327"/>
            <ac:spMk id="4" creationId="{DADD9E0F-ED1C-4F82-BD9D-F0239A2E7022}"/>
          </ac:spMkLst>
        </pc:spChg>
        <pc:spChg chg="del">
          <ac:chgData name="Ieva Dzene" userId="36e850b3-6b13-42b6-8b78-9778956e69b6" providerId="ADAL" clId="{61E5150D-5ED8-4F64-9DB9-E2770C8769C8}" dt="2021-09-24T13:39:03.452" v="2114" actId="478"/>
          <ac:spMkLst>
            <pc:docMk/>
            <pc:sldMk cId="175430894" sldId="1327"/>
            <ac:spMk id="5" creationId="{330BF89E-CCF6-454D-9595-233E95E51A24}"/>
          </ac:spMkLst>
        </pc:spChg>
        <pc:spChg chg="del">
          <ac:chgData name="Ieva Dzene" userId="36e850b3-6b13-42b6-8b78-9778956e69b6" providerId="ADAL" clId="{61E5150D-5ED8-4F64-9DB9-E2770C8769C8}" dt="2021-09-24T13:39:03.452" v="2114" actId="478"/>
          <ac:spMkLst>
            <pc:docMk/>
            <pc:sldMk cId="175430894" sldId="1327"/>
            <ac:spMk id="6" creationId="{24C51926-07C1-4C29-8E06-B0BC2253D7E0}"/>
          </ac:spMkLst>
        </pc:spChg>
        <pc:spChg chg="del">
          <ac:chgData name="Ieva Dzene" userId="36e850b3-6b13-42b6-8b78-9778956e69b6" providerId="ADAL" clId="{61E5150D-5ED8-4F64-9DB9-E2770C8769C8}" dt="2021-09-24T13:39:03.452" v="2114" actId="478"/>
          <ac:spMkLst>
            <pc:docMk/>
            <pc:sldMk cId="175430894" sldId="1327"/>
            <ac:spMk id="7" creationId="{37A5A9D5-8CF9-4C73-B217-63C519579A0C}"/>
          </ac:spMkLst>
        </pc:spChg>
        <pc:spChg chg="add mod">
          <ac:chgData name="Ieva Dzene" userId="36e850b3-6b13-42b6-8b78-9778956e69b6" providerId="ADAL" clId="{61E5150D-5ED8-4F64-9DB9-E2770C8769C8}" dt="2021-09-24T16:17:15.404" v="3946" actId="1076"/>
          <ac:spMkLst>
            <pc:docMk/>
            <pc:sldMk cId="175430894" sldId="1327"/>
            <ac:spMk id="8" creationId="{39AE1A71-3304-43AD-97E2-0D97E4C5151B}"/>
          </ac:spMkLst>
        </pc:spChg>
        <pc:spChg chg="del">
          <ac:chgData name="Ieva Dzene" userId="36e850b3-6b13-42b6-8b78-9778956e69b6" providerId="ADAL" clId="{61E5150D-5ED8-4F64-9DB9-E2770C8769C8}" dt="2021-09-24T13:39:03.452" v="2114" actId="478"/>
          <ac:spMkLst>
            <pc:docMk/>
            <pc:sldMk cId="175430894" sldId="1327"/>
            <ac:spMk id="9" creationId="{6D06195E-516D-425E-A45E-A1B79126269F}"/>
          </ac:spMkLst>
        </pc:spChg>
        <pc:spChg chg="add del mod">
          <ac:chgData name="Ieva Dzene" userId="36e850b3-6b13-42b6-8b78-9778956e69b6" providerId="ADAL" clId="{61E5150D-5ED8-4F64-9DB9-E2770C8769C8}" dt="2021-09-24T11:43:15.345" v="945" actId="478"/>
          <ac:spMkLst>
            <pc:docMk/>
            <pc:sldMk cId="175430894" sldId="1327"/>
            <ac:spMk id="12" creationId="{8A7DA8F0-9FB4-4776-ADC9-99059582D2F7}"/>
          </ac:spMkLst>
        </pc:spChg>
        <pc:spChg chg="add mod">
          <ac:chgData name="Ieva Dzene" userId="36e850b3-6b13-42b6-8b78-9778956e69b6" providerId="ADAL" clId="{61E5150D-5ED8-4F64-9DB9-E2770C8769C8}" dt="2021-09-27T07:16:02.774" v="4657" actId="20577"/>
          <ac:spMkLst>
            <pc:docMk/>
            <pc:sldMk cId="175430894" sldId="1327"/>
            <ac:spMk id="15" creationId="{07A4308F-6E0C-4FE4-B1CC-28E68C7CD55B}"/>
          </ac:spMkLst>
        </pc:spChg>
        <pc:spChg chg="add mod">
          <ac:chgData name="Ieva Dzene" userId="36e850b3-6b13-42b6-8b78-9778956e69b6" providerId="ADAL" clId="{61E5150D-5ED8-4F64-9DB9-E2770C8769C8}" dt="2021-09-27T07:15:55.716" v="4644" actId="20577"/>
          <ac:spMkLst>
            <pc:docMk/>
            <pc:sldMk cId="175430894" sldId="1327"/>
            <ac:spMk id="17" creationId="{0F463DB7-32E3-48FC-ADE5-6255B0C76CDF}"/>
          </ac:spMkLst>
        </pc:spChg>
        <pc:spChg chg="add del mod">
          <ac:chgData name="Ieva Dzene" userId="36e850b3-6b13-42b6-8b78-9778956e69b6" providerId="ADAL" clId="{61E5150D-5ED8-4F64-9DB9-E2770C8769C8}" dt="2021-09-24T14:45:45.098" v="2925" actId="478"/>
          <ac:spMkLst>
            <pc:docMk/>
            <pc:sldMk cId="175430894" sldId="1327"/>
            <ac:spMk id="19" creationId="{9F5EF0F0-3B7C-4865-9164-FCFE99FE0F92}"/>
          </ac:spMkLst>
        </pc:spChg>
        <pc:spChg chg="add del mod">
          <ac:chgData name="Ieva Dzene" userId="36e850b3-6b13-42b6-8b78-9778956e69b6" providerId="ADAL" clId="{61E5150D-5ED8-4F64-9DB9-E2770C8769C8}" dt="2021-09-24T14:42:35.877" v="2823" actId="478"/>
          <ac:spMkLst>
            <pc:docMk/>
            <pc:sldMk cId="175430894" sldId="1327"/>
            <ac:spMk id="22" creationId="{E33C5A8D-CF0D-471E-9B15-A1A2B655867B}"/>
          </ac:spMkLst>
        </pc:spChg>
        <pc:spChg chg="add mod">
          <ac:chgData name="Ieva Dzene" userId="36e850b3-6b13-42b6-8b78-9778956e69b6" providerId="ADAL" clId="{61E5150D-5ED8-4F64-9DB9-E2770C8769C8}" dt="2021-09-27T07:46:34.670" v="4900" actId="20577"/>
          <ac:spMkLst>
            <pc:docMk/>
            <pc:sldMk cId="175430894" sldId="1327"/>
            <ac:spMk id="25" creationId="{DFAB3307-E065-4DF7-8830-1CAAEACD6D0C}"/>
          </ac:spMkLst>
        </pc:spChg>
        <pc:picChg chg="add mod modCrop">
          <ac:chgData name="Ieva Dzene" userId="36e850b3-6b13-42b6-8b78-9778956e69b6" providerId="ADAL" clId="{61E5150D-5ED8-4F64-9DB9-E2770C8769C8}" dt="2021-09-24T16:43:06.537" v="4516" actId="1076"/>
          <ac:picMkLst>
            <pc:docMk/>
            <pc:sldMk cId="175430894" sldId="1327"/>
            <ac:picMk id="27" creationId="{0DBC9BD6-0A42-4DEE-A220-6B4550B916B5}"/>
          </ac:picMkLst>
        </pc:picChg>
        <pc:picChg chg="add del mod ord">
          <ac:chgData name="Ieva Dzene" userId="36e850b3-6b13-42b6-8b78-9778956e69b6" providerId="ADAL" clId="{61E5150D-5ED8-4F64-9DB9-E2770C8769C8}" dt="2021-09-24T16:16:56.836" v="3941" actId="478"/>
          <ac:picMkLst>
            <pc:docMk/>
            <pc:sldMk cId="175430894" sldId="1327"/>
            <ac:picMk id="29" creationId="{C3CE00BF-057B-4773-A6A5-0A7EA2CF1261}"/>
          </ac:picMkLst>
        </pc:picChg>
        <pc:picChg chg="add mod">
          <ac:chgData name="Ieva Dzene" userId="36e850b3-6b13-42b6-8b78-9778956e69b6" providerId="ADAL" clId="{61E5150D-5ED8-4F64-9DB9-E2770C8769C8}" dt="2021-09-24T16:21:45.794" v="3990" actId="1076"/>
          <ac:picMkLst>
            <pc:docMk/>
            <pc:sldMk cId="175430894" sldId="1327"/>
            <ac:picMk id="31" creationId="{2E97CBD3-99C3-4351-B724-DD1CDF235130}"/>
          </ac:picMkLst>
        </pc:picChg>
        <pc:cxnChg chg="del mod">
          <ac:chgData name="Ieva Dzene" userId="36e850b3-6b13-42b6-8b78-9778956e69b6" providerId="ADAL" clId="{61E5150D-5ED8-4F64-9DB9-E2770C8769C8}" dt="2021-09-24T13:39:03.452" v="2114" actId="478"/>
          <ac:cxnSpMkLst>
            <pc:docMk/>
            <pc:sldMk cId="175430894" sldId="1327"/>
            <ac:cxnSpMk id="13" creationId="{601B98EF-4F3E-47BF-B3FB-4F7158FF3174}"/>
          </ac:cxnSpMkLst>
        </pc:cxnChg>
        <pc:cxnChg chg="del">
          <ac:chgData name="Ieva Dzene" userId="36e850b3-6b13-42b6-8b78-9778956e69b6" providerId="ADAL" clId="{61E5150D-5ED8-4F64-9DB9-E2770C8769C8}" dt="2021-09-24T13:39:03.452" v="2114" actId="478"/>
          <ac:cxnSpMkLst>
            <pc:docMk/>
            <pc:sldMk cId="175430894" sldId="1327"/>
            <ac:cxnSpMk id="14" creationId="{D8976D6E-530A-4472-B73D-7E7E64066082}"/>
          </ac:cxnSpMkLst>
        </pc:cxnChg>
        <pc:cxnChg chg="del">
          <ac:chgData name="Ieva Dzene" userId="36e850b3-6b13-42b6-8b78-9778956e69b6" providerId="ADAL" clId="{61E5150D-5ED8-4F64-9DB9-E2770C8769C8}" dt="2021-09-24T13:39:03.452" v="2114" actId="478"/>
          <ac:cxnSpMkLst>
            <pc:docMk/>
            <pc:sldMk cId="175430894" sldId="1327"/>
            <ac:cxnSpMk id="16" creationId="{ECA78B77-D962-4F5A-9DF9-75B1D5F4AE5A}"/>
          </ac:cxnSpMkLst>
        </pc:cxnChg>
        <pc:cxnChg chg="add del mod">
          <ac:chgData name="Ieva Dzene" userId="36e850b3-6b13-42b6-8b78-9778956e69b6" providerId="ADAL" clId="{61E5150D-5ED8-4F64-9DB9-E2770C8769C8}" dt="2021-09-24T16:21:17.589" v="3988" actId="478"/>
          <ac:cxnSpMkLst>
            <pc:docMk/>
            <pc:sldMk cId="175430894" sldId="1327"/>
            <ac:cxnSpMk id="18" creationId="{CD0F77AA-DC01-49BE-86FE-8DE7DF67A282}"/>
          </ac:cxnSpMkLst>
        </pc:cxnChg>
        <pc:cxnChg chg="del">
          <ac:chgData name="Ieva Dzene" userId="36e850b3-6b13-42b6-8b78-9778956e69b6" providerId="ADAL" clId="{61E5150D-5ED8-4F64-9DB9-E2770C8769C8}" dt="2021-09-24T13:39:03.452" v="2114" actId="478"/>
          <ac:cxnSpMkLst>
            <pc:docMk/>
            <pc:sldMk cId="175430894" sldId="1327"/>
            <ac:cxnSpMk id="20" creationId="{D07B7843-8095-483E-9B11-FEE318D71A30}"/>
          </ac:cxnSpMkLst>
        </pc:cxnChg>
        <pc:cxnChg chg="add del mod">
          <ac:chgData name="Ieva Dzene" userId="36e850b3-6b13-42b6-8b78-9778956e69b6" providerId="ADAL" clId="{61E5150D-5ED8-4F64-9DB9-E2770C8769C8}" dt="2021-09-24T16:21:00.346" v="3984" actId="14100"/>
          <ac:cxnSpMkLst>
            <pc:docMk/>
            <pc:sldMk cId="175430894" sldId="1327"/>
            <ac:cxnSpMk id="21" creationId="{FE8A48D1-ADF7-436F-9A1A-47BE6DB3FBD8}"/>
          </ac:cxnSpMkLst>
        </pc:cxnChg>
        <pc:cxnChg chg="add del mod">
          <ac:chgData name="Ieva Dzene" userId="36e850b3-6b13-42b6-8b78-9778956e69b6" providerId="ADAL" clId="{61E5150D-5ED8-4F64-9DB9-E2770C8769C8}" dt="2021-09-24T14:43:57.994" v="2878" actId="478"/>
          <ac:cxnSpMkLst>
            <pc:docMk/>
            <pc:sldMk cId="175430894" sldId="1327"/>
            <ac:cxnSpMk id="23" creationId="{21AE7DE9-85AE-444C-AE1C-438E72139FFF}"/>
          </ac:cxnSpMkLst>
        </pc:cxnChg>
        <pc:cxnChg chg="add mod">
          <ac:chgData name="Ieva Dzene" userId="36e850b3-6b13-42b6-8b78-9778956e69b6" providerId="ADAL" clId="{61E5150D-5ED8-4F64-9DB9-E2770C8769C8}" dt="2021-09-24T16:21:12.531" v="3987" actId="1076"/>
          <ac:cxnSpMkLst>
            <pc:docMk/>
            <pc:sldMk cId="175430894" sldId="1327"/>
            <ac:cxnSpMk id="24" creationId="{5A13B0B3-6E70-45D6-AD44-5E8C9908E4BD}"/>
          </ac:cxnSpMkLst>
        </pc:cxnChg>
        <pc:cxnChg chg="add del mod">
          <ac:chgData name="Ieva Dzene" userId="36e850b3-6b13-42b6-8b78-9778956e69b6" providerId="ADAL" clId="{61E5150D-5ED8-4F64-9DB9-E2770C8769C8}" dt="2021-09-24T14:45:46.784" v="2926" actId="478"/>
          <ac:cxnSpMkLst>
            <pc:docMk/>
            <pc:sldMk cId="175430894" sldId="1327"/>
            <ac:cxnSpMk id="26" creationId="{280FFE1D-D0FA-4375-BCA5-E7A70E4CBC81}"/>
          </ac:cxnSpMkLst>
        </pc:cxnChg>
        <pc:cxnChg chg="add mod">
          <ac:chgData name="Ieva Dzene" userId="36e850b3-6b13-42b6-8b78-9778956e69b6" providerId="ADAL" clId="{61E5150D-5ED8-4F64-9DB9-E2770C8769C8}" dt="2021-09-24T16:21:12.531" v="3987" actId="1076"/>
          <ac:cxnSpMkLst>
            <pc:docMk/>
            <pc:sldMk cId="175430894" sldId="1327"/>
            <ac:cxnSpMk id="35" creationId="{7A60A4FA-BF34-4A1B-AE34-4921E845C143}"/>
          </ac:cxnSpMkLst>
        </pc:cxnChg>
      </pc:sldChg>
      <pc:sldChg chg="addSp delSp modSp add mod">
        <pc:chgData name="Ieva Dzene" userId="36e850b3-6b13-42b6-8b78-9778956e69b6" providerId="ADAL" clId="{61E5150D-5ED8-4F64-9DB9-E2770C8769C8}" dt="2021-09-27T07:47:17.145" v="4905" actId="14100"/>
        <pc:sldMkLst>
          <pc:docMk/>
          <pc:sldMk cId="1747923309" sldId="1328"/>
        </pc:sldMkLst>
        <pc:spChg chg="mod">
          <ac:chgData name="Ieva Dzene" userId="36e850b3-6b13-42b6-8b78-9778956e69b6" providerId="ADAL" clId="{61E5150D-5ED8-4F64-9DB9-E2770C8769C8}" dt="2021-09-27T07:25:05.664" v="4723"/>
          <ac:spMkLst>
            <pc:docMk/>
            <pc:sldMk cId="1747923309" sldId="1328"/>
            <ac:spMk id="4" creationId="{DADD9E0F-ED1C-4F82-BD9D-F0239A2E7022}"/>
          </ac:spMkLst>
        </pc:spChg>
        <pc:spChg chg="del">
          <ac:chgData name="Ieva Dzene" userId="36e850b3-6b13-42b6-8b78-9778956e69b6" providerId="ADAL" clId="{61E5150D-5ED8-4F64-9DB9-E2770C8769C8}" dt="2021-09-24T13:47:24.674" v="2316" actId="478"/>
          <ac:spMkLst>
            <pc:docMk/>
            <pc:sldMk cId="1747923309" sldId="1328"/>
            <ac:spMk id="5" creationId="{330BF89E-CCF6-454D-9595-233E95E51A24}"/>
          </ac:spMkLst>
        </pc:spChg>
        <pc:spChg chg="del">
          <ac:chgData name="Ieva Dzene" userId="36e850b3-6b13-42b6-8b78-9778956e69b6" providerId="ADAL" clId="{61E5150D-5ED8-4F64-9DB9-E2770C8769C8}" dt="2021-09-24T13:47:24.674" v="2316" actId="478"/>
          <ac:spMkLst>
            <pc:docMk/>
            <pc:sldMk cId="1747923309" sldId="1328"/>
            <ac:spMk id="6" creationId="{24C51926-07C1-4C29-8E06-B0BC2253D7E0}"/>
          </ac:spMkLst>
        </pc:spChg>
        <pc:spChg chg="del">
          <ac:chgData name="Ieva Dzene" userId="36e850b3-6b13-42b6-8b78-9778956e69b6" providerId="ADAL" clId="{61E5150D-5ED8-4F64-9DB9-E2770C8769C8}" dt="2021-09-24T13:47:24.674" v="2316" actId="478"/>
          <ac:spMkLst>
            <pc:docMk/>
            <pc:sldMk cId="1747923309" sldId="1328"/>
            <ac:spMk id="7" creationId="{37A5A9D5-8CF9-4C73-B217-63C519579A0C}"/>
          </ac:spMkLst>
        </pc:spChg>
        <pc:spChg chg="del">
          <ac:chgData name="Ieva Dzene" userId="36e850b3-6b13-42b6-8b78-9778956e69b6" providerId="ADAL" clId="{61E5150D-5ED8-4F64-9DB9-E2770C8769C8}" dt="2021-09-24T13:47:24.674" v="2316" actId="478"/>
          <ac:spMkLst>
            <pc:docMk/>
            <pc:sldMk cId="1747923309" sldId="1328"/>
            <ac:spMk id="9" creationId="{6D06195E-516D-425E-A45E-A1B79126269F}"/>
          </ac:spMkLst>
        </pc:spChg>
        <pc:spChg chg="add del mod">
          <ac:chgData name="Ieva Dzene" userId="36e850b3-6b13-42b6-8b78-9778956e69b6" providerId="ADAL" clId="{61E5150D-5ED8-4F64-9DB9-E2770C8769C8}" dt="2021-09-24T11:44:29.305" v="1044" actId="478"/>
          <ac:spMkLst>
            <pc:docMk/>
            <pc:sldMk cId="1747923309" sldId="1328"/>
            <ac:spMk id="12" creationId="{B37F3C74-7958-49D7-96C6-A46AF7DBA3AD}"/>
          </ac:spMkLst>
        </pc:spChg>
        <pc:spChg chg="add mod">
          <ac:chgData name="Ieva Dzene" userId="36e850b3-6b13-42b6-8b78-9778956e69b6" providerId="ADAL" clId="{61E5150D-5ED8-4F64-9DB9-E2770C8769C8}" dt="2021-09-24T16:37:22.840" v="4453" actId="1076"/>
          <ac:spMkLst>
            <pc:docMk/>
            <pc:sldMk cId="1747923309" sldId="1328"/>
            <ac:spMk id="15" creationId="{76D8FCF7-4826-4AA2-A38F-22344541C486}"/>
          </ac:spMkLst>
        </pc:spChg>
        <pc:spChg chg="add del mod">
          <ac:chgData name="Ieva Dzene" userId="36e850b3-6b13-42b6-8b78-9778956e69b6" providerId="ADAL" clId="{61E5150D-5ED8-4F64-9DB9-E2770C8769C8}" dt="2021-09-24T14:34:32.532" v="2718" actId="478"/>
          <ac:spMkLst>
            <pc:docMk/>
            <pc:sldMk cId="1747923309" sldId="1328"/>
            <ac:spMk id="17" creationId="{737821ED-39CD-4289-BF03-C0E48983C371}"/>
          </ac:spMkLst>
        </pc:spChg>
        <pc:spChg chg="add del mod">
          <ac:chgData name="Ieva Dzene" userId="36e850b3-6b13-42b6-8b78-9778956e69b6" providerId="ADAL" clId="{61E5150D-5ED8-4F64-9DB9-E2770C8769C8}" dt="2021-09-24T14:34:32.532" v="2718" actId="478"/>
          <ac:spMkLst>
            <pc:docMk/>
            <pc:sldMk cId="1747923309" sldId="1328"/>
            <ac:spMk id="19" creationId="{0E2818E6-97A4-4062-A58B-92E584488F5B}"/>
          </ac:spMkLst>
        </pc:spChg>
        <pc:spChg chg="add del mod">
          <ac:chgData name="Ieva Dzene" userId="36e850b3-6b13-42b6-8b78-9778956e69b6" providerId="ADAL" clId="{61E5150D-5ED8-4F64-9DB9-E2770C8769C8}" dt="2021-09-24T14:26:54.613" v="2650" actId="478"/>
          <ac:spMkLst>
            <pc:docMk/>
            <pc:sldMk cId="1747923309" sldId="1328"/>
            <ac:spMk id="23" creationId="{89BA55D7-812D-4776-BB11-5E0785793F54}"/>
          </ac:spMkLst>
        </pc:spChg>
        <pc:spChg chg="add del mod">
          <ac:chgData name="Ieva Dzene" userId="36e850b3-6b13-42b6-8b78-9778956e69b6" providerId="ADAL" clId="{61E5150D-5ED8-4F64-9DB9-E2770C8769C8}" dt="2021-09-24T14:26:54.613" v="2650" actId="478"/>
          <ac:spMkLst>
            <pc:docMk/>
            <pc:sldMk cId="1747923309" sldId="1328"/>
            <ac:spMk id="24" creationId="{CBA9AF2C-EC62-4329-9338-9D63E7A63DF3}"/>
          </ac:spMkLst>
        </pc:spChg>
        <pc:spChg chg="add del mod">
          <ac:chgData name="Ieva Dzene" userId="36e850b3-6b13-42b6-8b78-9778956e69b6" providerId="ADAL" clId="{61E5150D-5ED8-4F64-9DB9-E2770C8769C8}" dt="2021-09-24T14:26:54.613" v="2650" actId="478"/>
          <ac:spMkLst>
            <pc:docMk/>
            <pc:sldMk cId="1747923309" sldId="1328"/>
            <ac:spMk id="25" creationId="{994E101E-77BC-432D-B348-3BCF91634F83}"/>
          </ac:spMkLst>
        </pc:spChg>
        <pc:spChg chg="add del mod">
          <ac:chgData name="Ieva Dzene" userId="36e850b3-6b13-42b6-8b78-9778956e69b6" providerId="ADAL" clId="{61E5150D-5ED8-4F64-9DB9-E2770C8769C8}" dt="2021-09-24T14:26:54.613" v="2650" actId="478"/>
          <ac:spMkLst>
            <pc:docMk/>
            <pc:sldMk cId="1747923309" sldId="1328"/>
            <ac:spMk id="26" creationId="{61FDC98A-55EE-48FD-AD09-679ED8C77A97}"/>
          </ac:spMkLst>
        </pc:spChg>
        <pc:spChg chg="add del mod">
          <ac:chgData name="Ieva Dzene" userId="36e850b3-6b13-42b6-8b78-9778956e69b6" providerId="ADAL" clId="{61E5150D-5ED8-4F64-9DB9-E2770C8769C8}" dt="2021-09-24T14:26:54.613" v="2650" actId="478"/>
          <ac:spMkLst>
            <pc:docMk/>
            <pc:sldMk cId="1747923309" sldId="1328"/>
            <ac:spMk id="27" creationId="{77062AF7-FF26-4478-A94D-145A58174733}"/>
          </ac:spMkLst>
        </pc:spChg>
        <pc:spChg chg="add del mod">
          <ac:chgData name="Ieva Dzene" userId="36e850b3-6b13-42b6-8b78-9778956e69b6" providerId="ADAL" clId="{61E5150D-5ED8-4F64-9DB9-E2770C8769C8}" dt="2021-09-24T14:26:54.613" v="2650" actId="478"/>
          <ac:spMkLst>
            <pc:docMk/>
            <pc:sldMk cId="1747923309" sldId="1328"/>
            <ac:spMk id="29" creationId="{1AD0D9F3-D39B-48E1-BC7B-AE1CB51F031F}"/>
          </ac:spMkLst>
        </pc:spChg>
        <pc:spChg chg="add del mod">
          <ac:chgData name="Ieva Dzene" userId="36e850b3-6b13-42b6-8b78-9778956e69b6" providerId="ADAL" clId="{61E5150D-5ED8-4F64-9DB9-E2770C8769C8}" dt="2021-09-24T14:26:54.613" v="2650" actId="478"/>
          <ac:spMkLst>
            <pc:docMk/>
            <pc:sldMk cId="1747923309" sldId="1328"/>
            <ac:spMk id="31" creationId="{5401ABCD-1F6F-445B-A235-336701E1A9E2}"/>
          </ac:spMkLst>
        </pc:spChg>
        <pc:spChg chg="add del mod">
          <ac:chgData name="Ieva Dzene" userId="36e850b3-6b13-42b6-8b78-9778956e69b6" providerId="ADAL" clId="{61E5150D-5ED8-4F64-9DB9-E2770C8769C8}" dt="2021-09-24T16:25:27.391" v="4098" actId="478"/>
          <ac:spMkLst>
            <pc:docMk/>
            <pc:sldMk cId="1747923309" sldId="1328"/>
            <ac:spMk id="34" creationId="{0309ECA6-F644-4E94-8E8C-6CB0B70F7931}"/>
          </ac:spMkLst>
        </pc:spChg>
        <pc:spChg chg="add del mod">
          <ac:chgData name="Ieva Dzene" userId="36e850b3-6b13-42b6-8b78-9778956e69b6" providerId="ADAL" clId="{61E5150D-5ED8-4F64-9DB9-E2770C8769C8}" dt="2021-09-24T14:34:32.532" v="2718" actId="478"/>
          <ac:spMkLst>
            <pc:docMk/>
            <pc:sldMk cId="1747923309" sldId="1328"/>
            <ac:spMk id="36" creationId="{8B00AA59-678B-43D7-B60F-7596C094B8E8}"/>
          </ac:spMkLst>
        </pc:spChg>
        <pc:spChg chg="add mod">
          <ac:chgData name="Ieva Dzene" userId="36e850b3-6b13-42b6-8b78-9778956e69b6" providerId="ADAL" clId="{61E5150D-5ED8-4F64-9DB9-E2770C8769C8}" dt="2021-09-24T16:37:22.840" v="4453" actId="1076"/>
          <ac:spMkLst>
            <pc:docMk/>
            <pc:sldMk cId="1747923309" sldId="1328"/>
            <ac:spMk id="39" creationId="{C26A1586-51CB-429B-BF9B-D7834A199362}"/>
          </ac:spMkLst>
        </pc:spChg>
        <pc:spChg chg="add mod">
          <ac:chgData name="Ieva Dzene" userId="36e850b3-6b13-42b6-8b78-9778956e69b6" providerId="ADAL" clId="{61E5150D-5ED8-4F64-9DB9-E2770C8769C8}" dt="2021-09-24T16:37:22.840" v="4453" actId="1076"/>
          <ac:spMkLst>
            <pc:docMk/>
            <pc:sldMk cId="1747923309" sldId="1328"/>
            <ac:spMk id="40" creationId="{500E7DBC-E020-4841-8DF6-D3B8FF3633BB}"/>
          </ac:spMkLst>
        </pc:spChg>
        <pc:spChg chg="add mod">
          <ac:chgData name="Ieva Dzene" userId="36e850b3-6b13-42b6-8b78-9778956e69b6" providerId="ADAL" clId="{61E5150D-5ED8-4F64-9DB9-E2770C8769C8}" dt="2021-09-24T16:37:22.840" v="4453" actId="1076"/>
          <ac:spMkLst>
            <pc:docMk/>
            <pc:sldMk cId="1747923309" sldId="1328"/>
            <ac:spMk id="41" creationId="{D2E01880-43F6-480D-B973-27064236B9CA}"/>
          </ac:spMkLst>
        </pc:spChg>
        <pc:spChg chg="add mod">
          <ac:chgData name="Ieva Dzene" userId="36e850b3-6b13-42b6-8b78-9778956e69b6" providerId="ADAL" clId="{61E5150D-5ED8-4F64-9DB9-E2770C8769C8}" dt="2021-09-24T16:37:22.840" v="4453" actId="1076"/>
          <ac:spMkLst>
            <pc:docMk/>
            <pc:sldMk cId="1747923309" sldId="1328"/>
            <ac:spMk id="43" creationId="{0B4A204F-1BA9-4F1C-9C85-1C1C7A64B22E}"/>
          </ac:spMkLst>
        </pc:spChg>
        <pc:spChg chg="add mod">
          <ac:chgData name="Ieva Dzene" userId="36e850b3-6b13-42b6-8b78-9778956e69b6" providerId="ADAL" clId="{61E5150D-5ED8-4F64-9DB9-E2770C8769C8}" dt="2021-09-24T16:37:22.840" v="4453" actId="1076"/>
          <ac:spMkLst>
            <pc:docMk/>
            <pc:sldMk cId="1747923309" sldId="1328"/>
            <ac:spMk id="45" creationId="{C011B289-F94A-4524-A61C-7F681B5BCC17}"/>
          </ac:spMkLst>
        </pc:spChg>
        <pc:spChg chg="add del mod">
          <ac:chgData name="Ieva Dzene" userId="36e850b3-6b13-42b6-8b78-9778956e69b6" providerId="ADAL" clId="{61E5150D-5ED8-4F64-9DB9-E2770C8769C8}" dt="2021-09-24T16:25:46.523" v="4102" actId="478"/>
          <ac:spMkLst>
            <pc:docMk/>
            <pc:sldMk cId="1747923309" sldId="1328"/>
            <ac:spMk id="47" creationId="{5D6D7B75-B8C8-49E3-B75B-0CA3C087BDD7}"/>
          </ac:spMkLst>
        </pc:spChg>
        <pc:spChg chg="add del mod">
          <ac:chgData name="Ieva Dzene" userId="36e850b3-6b13-42b6-8b78-9778956e69b6" providerId="ADAL" clId="{61E5150D-5ED8-4F64-9DB9-E2770C8769C8}" dt="2021-09-24T16:23:21.802" v="3993" actId="478"/>
          <ac:spMkLst>
            <pc:docMk/>
            <pc:sldMk cId="1747923309" sldId="1328"/>
            <ac:spMk id="51" creationId="{8CA9E9A7-FBA7-4DA2-83F0-80E7094CDC8F}"/>
          </ac:spMkLst>
        </pc:spChg>
        <pc:spChg chg="add del mod">
          <ac:chgData name="Ieva Dzene" userId="36e850b3-6b13-42b6-8b78-9778956e69b6" providerId="ADAL" clId="{61E5150D-5ED8-4F64-9DB9-E2770C8769C8}" dt="2021-09-24T16:23:22.666" v="3994" actId="478"/>
          <ac:spMkLst>
            <pc:docMk/>
            <pc:sldMk cId="1747923309" sldId="1328"/>
            <ac:spMk id="52" creationId="{BA25AFAE-00FE-4DEB-8EF7-2E7AC74E7B17}"/>
          </ac:spMkLst>
        </pc:spChg>
        <pc:spChg chg="add mod">
          <ac:chgData name="Ieva Dzene" userId="36e850b3-6b13-42b6-8b78-9778956e69b6" providerId="ADAL" clId="{61E5150D-5ED8-4F64-9DB9-E2770C8769C8}" dt="2021-09-24T16:37:22.840" v="4453" actId="1076"/>
          <ac:spMkLst>
            <pc:docMk/>
            <pc:sldMk cId="1747923309" sldId="1328"/>
            <ac:spMk id="53" creationId="{5362D682-2C83-4FA7-BA2E-5452756E2545}"/>
          </ac:spMkLst>
        </pc:spChg>
        <pc:spChg chg="add mod">
          <ac:chgData name="Ieva Dzene" userId="36e850b3-6b13-42b6-8b78-9778956e69b6" providerId="ADAL" clId="{61E5150D-5ED8-4F64-9DB9-E2770C8769C8}" dt="2021-09-27T07:47:11.869" v="4904" actId="20577"/>
          <ac:spMkLst>
            <pc:docMk/>
            <pc:sldMk cId="1747923309" sldId="1328"/>
            <ac:spMk id="54" creationId="{B821EB63-2491-4163-A87C-D62D113B4101}"/>
          </ac:spMkLst>
        </pc:spChg>
        <pc:spChg chg="mod">
          <ac:chgData name="Ieva Dzene" userId="36e850b3-6b13-42b6-8b78-9778956e69b6" providerId="ADAL" clId="{61E5150D-5ED8-4F64-9DB9-E2770C8769C8}" dt="2021-09-24T16:28:58.474" v="4131"/>
          <ac:spMkLst>
            <pc:docMk/>
            <pc:sldMk cId="1747923309" sldId="1328"/>
            <ac:spMk id="57" creationId="{56D77545-6B5D-4F45-9A9C-06698ECA158B}"/>
          </ac:spMkLst>
        </pc:spChg>
        <pc:spChg chg="mod">
          <ac:chgData name="Ieva Dzene" userId="36e850b3-6b13-42b6-8b78-9778956e69b6" providerId="ADAL" clId="{61E5150D-5ED8-4F64-9DB9-E2770C8769C8}" dt="2021-09-24T16:28:58.474" v="4131"/>
          <ac:spMkLst>
            <pc:docMk/>
            <pc:sldMk cId="1747923309" sldId="1328"/>
            <ac:spMk id="58" creationId="{C8E8FBAA-5781-4CF6-BE90-710726AA5803}"/>
          </ac:spMkLst>
        </pc:spChg>
        <pc:spChg chg="mod">
          <ac:chgData name="Ieva Dzene" userId="36e850b3-6b13-42b6-8b78-9778956e69b6" providerId="ADAL" clId="{61E5150D-5ED8-4F64-9DB9-E2770C8769C8}" dt="2021-09-24T16:28:58.474" v="4131"/>
          <ac:spMkLst>
            <pc:docMk/>
            <pc:sldMk cId="1747923309" sldId="1328"/>
            <ac:spMk id="59" creationId="{91367E7D-278D-423E-AC9A-1405D58DC40A}"/>
          </ac:spMkLst>
        </pc:spChg>
        <pc:spChg chg="mod">
          <ac:chgData name="Ieva Dzene" userId="36e850b3-6b13-42b6-8b78-9778956e69b6" providerId="ADAL" clId="{61E5150D-5ED8-4F64-9DB9-E2770C8769C8}" dt="2021-09-24T16:28:58.474" v="4131"/>
          <ac:spMkLst>
            <pc:docMk/>
            <pc:sldMk cId="1747923309" sldId="1328"/>
            <ac:spMk id="60" creationId="{592D33D3-F796-4EBF-B082-8780A2CB73ED}"/>
          </ac:spMkLst>
        </pc:spChg>
        <pc:spChg chg="mod">
          <ac:chgData name="Ieva Dzene" userId="36e850b3-6b13-42b6-8b78-9778956e69b6" providerId="ADAL" clId="{61E5150D-5ED8-4F64-9DB9-E2770C8769C8}" dt="2021-09-24T16:28:58.474" v="4131"/>
          <ac:spMkLst>
            <pc:docMk/>
            <pc:sldMk cId="1747923309" sldId="1328"/>
            <ac:spMk id="61" creationId="{F600A9C1-EC06-4CAB-9534-9DDAF779AA2D}"/>
          </ac:spMkLst>
        </pc:spChg>
        <pc:spChg chg="mod">
          <ac:chgData name="Ieva Dzene" userId="36e850b3-6b13-42b6-8b78-9778956e69b6" providerId="ADAL" clId="{61E5150D-5ED8-4F64-9DB9-E2770C8769C8}" dt="2021-09-24T16:28:58.474" v="4131"/>
          <ac:spMkLst>
            <pc:docMk/>
            <pc:sldMk cId="1747923309" sldId="1328"/>
            <ac:spMk id="62" creationId="{23DFAAFC-B967-45A0-A9B8-510BCE40D3C1}"/>
          </ac:spMkLst>
        </pc:spChg>
        <pc:spChg chg="mod">
          <ac:chgData name="Ieva Dzene" userId="36e850b3-6b13-42b6-8b78-9778956e69b6" providerId="ADAL" clId="{61E5150D-5ED8-4F64-9DB9-E2770C8769C8}" dt="2021-09-24T16:28:58.474" v="4131"/>
          <ac:spMkLst>
            <pc:docMk/>
            <pc:sldMk cId="1747923309" sldId="1328"/>
            <ac:spMk id="64" creationId="{27B27139-6AAE-43DB-8273-B0DFA3B4BC76}"/>
          </ac:spMkLst>
        </pc:spChg>
        <pc:spChg chg="add mod">
          <ac:chgData name="Ieva Dzene" userId="36e850b3-6b13-42b6-8b78-9778956e69b6" providerId="ADAL" clId="{61E5150D-5ED8-4F64-9DB9-E2770C8769C8}" dt="2021-09-24T16:41:59.482" v="4514" actId="14100"/>
          <ac:spMkLst>
            <pc:docMk/>
            <pc:sldMk cId="1747923309" sldId="1328"/>
            <ac:spMk id="65" creationId="{E424FD0E-254E-45E5-89C9-E0CBF00E3BE9}"/>
          </ac:spMkLst>
        </pc:spChg>
        <pc:spChg chg="add del mod">
          <ac:chgData name="Ieva Dzene" userId="36e850b3-6b13-42b6-8b78-9778956e69b6" providerId="ADAL" clId="{61E5150D-5ED8-4F64-9DB9-E2770C8769C8}" dt="2021-09-24T16:30:07.709" v="4194" actId="478"/>
          <ac:spMkLst>
            <pc:docMk/>
            <pc:sldMk cId="1747923309" sldId="1328"/>
            <ac:spMk id="66" creationId="{17CA4D86-F7F2-4FE8-A81E-4C6A7CC70C4F}"/>
          </ac:spMkLst>
        </pc:spChg>
        <pc:spChg chg="add mod">
          <ac:chgData name="Ieva Dzene" userId="36e850b3-6b13-42b6-8b78-9778956e69b6" providerId="ADAL" clId="{61E5150D-5ED8-4F64-9DB9-E2770C8769C8}" dt="2021-09-27T07:16:47.750" v="4659" actId="20577"/>
          <ac:spMkLst>
            <pc:docMk/>
            <pc:sldMk cId="1747923309" sldId="1328"/>
            <ac:spMk id="67" creationId="{3FE15374-5006-48E3-99A3-1ED0D346AB29}"/>
          </ac:spMkLst>
        </pc:spChg>
        <pc:spChg chg="add mod">
          <ac:chgData name="Ieva Dzene" userId="36e850b3-6b13-42b6-8b78-9778956e69b6" providerId="ADAL" clId="{61E5150D-5ED8-4F64-9DB9-E2770C8769C8}" dt="2021-09-24T16:42:02.375" v="4515" actId="14100"/>
          <ac:spMkLst>
            <pc:docMk/>
            <pc:sldMk cId="1747923309" sldId="1328"/>
            <ac:spMk id="68" creationId="{1E95C3CA-0462-46D5-997E-525C5E618DE9}"/>
          </ac:spMkLst>
        </pc:spChg>
        <pc:spChg chg="add mod">
          <ac:chgData name="Ieva Dzene" userId="36e850b3-6b13-42b6-8b78-9778956e69b6" providerId="ADAL" clId="{61E5150D-5ED8-4F64-9DB9-E2770C8769C8}" dt="2021-09-24T16:40:16.898" v="4478" actId="1076"/>
          <ac:spMkLst>
            <pc:docMk/>
            <pc:sldMk cId="1747923309" sldId="1328"/>
            <ac:spMk id="73" creationId="{40453F49-0566-4180-8E9F-2D6AAE81E0A3}"/>
          </ac:spMkLst>
        </pc:spChg>
        <pc:grpChg chg="add del mod">
          <ac:chgData name="Ieva Dzene" userId="36e850b3-6b13-42b6-8b78-9778956e69b6" providerId="ADAL" clId="{61E5150D-5ED8-4F64-9DB9-E2770C8769C8}" dt="2021-09-24T16:34:01.630" v="4432" actId="478"/>
          <ac:grpSpMkLst>
            <pc:docMk/>
            <pc:sldMk cId="1747923309" sldId="1328"/>
            <ac:grpSpMk id="55" creationId="{E0184924-CA85-4E3E-A0BA-2E318EE4E05D}"/>
          </ac:grpSpMkLst>
        </pc:grpChg>
        <pc:grpChg chg="mod">
          <ac:chgData name="Ieva Dzene" userId="36e850b3-6b13-42b6-8b78-9778956e69b6" providerId="ADAL" clId="{61E5150D-5ED8-4F64-9DB9-E2770C8769C8}" dt="2021-09-24T16:28:58.474" v="4131"/>
          <ac:grpSpMkLst>
            <pc:docMk/>
            <pc:sldMk cId="1747923309" sldId="1328"/>
            <ac:grpSpMk id="56" creationId="{C578F78D-BCD1-44CC-B34E-4686E9BDF0F8}"/>
          </ac:grpSpMkLst>
        </pc:grpChg>
        <pc:picChg chg="add del mod">
          <ac:chgData name="Ieva Dzene" userId="36e850b3-6b13-42b6-8b78-9778956e69b6" providerId="ADAL" clId="{61E5150D-5ED8-4F64-9DB9-E2770C8769C8}" dt="2021-09-24T14:26:54.613" v="2650" actId="478"/>
          <ac:picMkLst>
            <pc:docMk/>
            <pc:sldMk cId="1747923309" sldId="1328"/>
            <ac:picMk id="22" creationId="{B2222D25-85B8-4D40-9D7F-659F56F7968B}"/>
          </ac:picMkLst>
        </pc:picChg>
        <pc:picChg chg="mod">
          <ac:chgData name="Ieva Dzene" userId="36e850b3-6b13-42b6-8b78-9778956e69b6" providerId="ADAL" clId="{61E5150D-5ED8-4F64-9DB9-E2770C8769C8}" dt="2021-09-24T16:28:58.474" v="4131"/>
          <ac:picMkLst>
            <pc:docMk/>
            <pc:sldMk cId="1747923309" sldId="1328"/>
            <ac:picMk id="63" creationId="{B313EEA6-C7D6-4244-B29E-7BF50D6685FD}"/>
          </ac:picMkLst>
        </pc:picChg>
        <pc:cxnChg chg="del mod">
          <ac:chgData name="Ieva Dzene" userId="36e850b3-6b13-42b6-8b78-9778956e69b6" providerId="ADAL" clId="{61E5150D-5ED8-4F64-9DB9-E2770C8769C8}" dt="2021-09-24T13:47:24.674" v="2316" actId="478"/>
          <ac:cxnSpMkLst>
            <pc:docMk/>
            <pc:sldMk cId="1747923309" sldId="1328"/>
            <ac:cxnSpMk id="13" creationId="{601B98EF-4F3E-47BF-B3FB-4F7158FF3174}"/>
          </ac:cxnSpMkLst>
        </pc:cxnChg>
        <pc:cxnChg chg="del">
          <ac:chgData name="Ieva Dzene" userId="36e850b3-6b13-42b6-8b78-9778956e69b6" providerId="ADAL" clId="{61E5150D-5ED8-4F64-9DB9-E2770C8769C8}" dt="2021-09-24T13:47:24.674" v="2316" actId="478"/>
          <ac:cxnSpMkLst>
            <pc:docMk/>
            <pc:sldMk cId="1747923309" sldId="1328"/>
            <ac:cxnSpMk id="14" creationId="{D8976D6E-530A-4472-B73D-7E7E64066082}"/>
          </ac:cxnSpMkLst>
        </pc:cxnChg>
        <pc:cxnChg chg="del">
          <ac:chgData name="Ieva Dzene" userId="36e850b3-6b13-42b6-8b78-9778956e69b6" providerId="ADAL" clId="{61E5150D-5ED8-4F64-9DB9-E2770C8769C8}" dt="2021-09-24T13:47:24.674" v="2316" actId="478"/>
          <ac:cxnSpMkLst>
            <pc:docMk/>
            <pc:sldMk cId="1747923309" sldId="1328"/>
            <ac:cxnSpMk id="16" creationId="{ECA78B77-D962-4F5A-9DF9-75B1D5F4AE5A}"/>
          </ac:cxnSpMkLst>
        </pc:cxnChg>
        <pc:cxnChg chg="add del mod">
          <ac:chgData name="Ieva Dzene" userId="36e850b3-6b13-42b6-8b78-9778956e69b6" providerId="ADAL" clId="{61E5150D-5ED8-4F64-9DB9-E2770C8769C8}" dt="2021-09-24T14:36:24.225" v="2733" actId="478"/>
          <ac:cxnSpMkLst>
            <pc:docMk/>
            <pc:sldMk cId="1747923309" sldId="1328"/>
            <ac:cxnSpMk id="18" creationId="{64F0FEFA-2B51-4DC7-8BB7-A3ED181FAC1D}"/>
          </ac:cxnSpMkLst>
        </pc:cxnChg>
        <pc:cxnChg chg="del">
          <ac:chgData name="Ieva Dzene" userId="36e850b3-6b13-42b6-8b78-9778956e69b6" providerId="ADAL" clId="{61E5150D-5ED8-4F64-9DB9-E2770C8769C8}" dt="2021-09-24T13:47:24.674" v="2316" actId="478"/>
          <ac:cxnSpMkLst>
            <pc:docMk/>
            <pc:sldMk cId="1747923309" sldId="1328"/>
            <ac:cxnSpMk id="20" creationId="{D07B7843-8095-483E-9B11-FEE318D71A30}"/>
          </ac:cxnSpMkLst>
        </pc:cxnChg>
        <pc:cxnChg chg="add del mod">
          <ac:chgData name="Ieva Dzene" userId="36e850b3-6b13-42b6-8b78-9778956e69b6" providerId="ADAL" clId="{61E5150D-5ED8-4F64-9DB9-E2770C8769C8}" dt="2021-09-24T14:34:32.532" v="2718" actId="478"/>
          <ac:cxnSpMkLst>
            <pc:docMk/>
            <pc:sldMk cId="1747923309" sldId="1328"/>
            <ac:cxnSpMk id="21" creationId="{E852EEB6-0F97-41DE-B186-CA47E04AB44B}"/>
          </ac:cxnSpMkLst>
        </pc:cxnChg>
        <pc:cxnChg chg="add del mod">
          <ac:chgData name="Ieva Dzene" userId="36e850b3-6b13-42b6-8b78-9778956e69b6" providerId="ADAL" clId="{61E5150D-5ED8-4F64-9DB9-E2770C8769C8}" dt="2021-09-24T14:26:54.613" v="2650" actId="478"/>
          <ac:cxnSpMkLst>
            <pc:docMk/>
            <pc:sldMk cId="1747923309" sldId="1328"/>
            <ac:cxnSpMk id="28" creationId="{CBDD969C-2776-4968-A2D7-E21C331279B9}"/>
          </ac:cxnSpMkLst>
        </pc:cxnChg>
        <pc:cxnChg chg="add del mod">
          <ac:chgData name="Ieva Dzene" userId="36e850b3-6b13-42b6-8b78-9778956e69b6" providerId="ADAL" clId="{61E5150D-5ED8-4F64-9DB9-E2770C8769C8}" dt="2021-09-24T14:26:54.613" v="2650" actId="478"/>
          <ac:cxnSpMkLst>
            <pc:docMk/>
            <pc:sldMk cId="1747923309" sldId="1328"/>
            <ac:cxnSpMk id="30" creationId="{D021C909-69F3-4123-909E-DF7F410C2487}"/>
          </ac:cxnSpMkLst>
        </pc:cxnChg>
        <pc:cxnChg chg="add del mod">
          <ac:chgData name="Ieva Dzene" userId="36e850b3-6b13-42b6-8b78-9778956e69b6" providerId="ADAL" clId="{61E5150D-5ED8-4F64-9DB9-E2770C8769C8}" dt="2021-09-24T14:26:54.613" v="2650" actId="478"/>
          <ac:cxnSpMkLst>
            <pc:docMk/>
            <pc:sldMk cId="1747923309" sldId="1328"/>
            <ac:cxnSpMk id="32" creationId="{E5FE0745-3652-4326-92CC-F29FF97B677B}"/>
          </ac:cxnSpMkLst>
        </pc:cxnChg>
        <pc:cxnChg chg="add del mod">
          <ac:chgData name="Ieva Dzene" userId="36e850b3-6b13-42b6-8b78-9778956e69b6" providerId="ADAL" clId="{61E5150D-5ED8-4F64-9DB9-E2770C8769C8}" dt="2021-09-24T14:26:54.613" v="2650" actId="478"/>
          <ac:cxnSpMkLst>
            <pc:docMk/>
            <pc:sldMk cId="1747923309" sldId="1328"/>
            <ac:cxnSpMk id="33" creationId="{7E8B8E47-8C68-4DC3-8FFA-0E9F0D874AAD}"/>
          </ac:cxnSpMkLst>
        </pc:cxnChg>
        <pc:cxnChg chg="add del mod">
          <ac:chgData name="Ieva Dzene" userId="36e850b3-6b13-42b6-8b78-9778956e69b6" providerId="ADAL" clId="{61E5150D-5ED8-4F64-9DB9-E2770C8769C8}" dt="2021-09-24T14:28:00.691" v="2653" actId="478"/>
          <ac:cxnSpMkLst>
            <pc:docMk/>
            <pc:sldMk cId="1747923309" sldId="1328"/>
            <ac:cxnSpMk id="35" creationId="{5D9A6006-5DEE-491E-9250-6559DC6B09FE}"/>
          </ac:cxnSpMkLst>
        </pc:cxnChg>
        <pc:cxnChg chg="add del mod">
          <ac:chgData name="Ieva Dzene" userId="36e850b3-6b13-42b6-8b78-9778956e69b6" providerId="ADAL" clId="{61E5150D-5ED8-4F64-9DB9-E2770C8769C8}" dt="2021-09-24T14:34:32.532" v="2718" actId="478"/>
          <ac:cxnSpMkLst>
            <pc:docMk/>
            <pc:sldMk cId="1747923309" sldId="1328"/>
            <ac:cxnSpMk id="37" creationId="{D94336A7-6892-46C5-AC4B-70032BB0136C}"/>
          </ac:cxnSpMkLst>
        </pc:cxnChg>
        <pc:cxnChg chg="add mod">
          <ac:chgData name="Ieva Dzene" userId="36e850b3-6b13-42b6-8b78-9778956e69b6" providerId="ADAL" clId="{61E5150D-5ED8-4F64-9DB9-E2770C8769C8}" dt="2021-09-24T16:37:22.840" v="4453" actId="1076"/>
          <ac:cxnSpMkLst>
            <pc:docMk/>
            <pc:sldMk cId="1747923309" sldId="1328"/>
            <ac:cxnSpMk id="38" creationId="{84E0E5B1-CFAE-496F-BB52-2E920E832405}"/>
          </ac:cxnSpMkLst>
        </pc:cxnChg>
        <pc:cxnChg chg="add mod">
          <ac:chgData name="Ieva Dzene" userId="36e850b3-6b13-42b6-8b78-9778956e69b6" providerId="ADAL" clId="{61E5150D-5ED8-4F64-9DB9-E2770C8769C8}" dt="2021-09-24T16:37:22.840" v="4453" actId="1076"/>
          <ac:cxnSpMkLst>
            <pc:docMk/>
            <pc:sldMk cId="1747923309" sldId="1328"/>
            <ac:cxnSpMk id="42" creationId="{F57D4104-1D74-44CA-BB72-F33B77C0290B}"/>
          </ac:cxnSpMkLst>
        </pc:cxnChg>
        <pc:cxnChg chg="add mod">
          <ac:chgData name="Ieva Dzene" userId="36e850b3-6b13-42b6-8b78-9778956e69b6" providerId="ADAL" clId="{61E5150D-5ED8-4F64-9DB9-E2770C8769C8}" dt="2021-09-24T16:37:22.840" v="4453" actId="1076"/>
          <ac:cxnSpMkLst>
            <pc:docMk/>
            <pc:sldMk cId="1747923309" sldId="1328"/>
            <ac:cxnSpMk id="44" creationId="{F15AA048-74BC-4B75-B178-61CB1CE8C6C0}"/>
          </ac:cxnSpMkLst>
        </pc:cxnChg>
        <pc:cxnChg chg="add mod">
          <ac:chgData name="Ieva Dzene" userId="36e850b3-6b13-42b6-8b78-9778956e69b6" providerId="ADAL" clId="{61E5150D-5ED8-4F64-9DB9-E2770C8769C8}" dt="2021-09-24T16:37:22.840" v="4453" actId="1076"/>
          <ac:cxnSpMkLst>
            <pc:docMk/>
            <pc:sldMk cId="1747923309" sldId="1328"/>
            <ac:cxnSpMk id="46" creationId="{7F70BE78-B710-46DE-B79E-D090C1E0DA42}"/>
          </ac:cxnSpMkLst>
        </pc:cxnChg>
        <pc:cxnChg chg="add del mod">
          <ac:chgData name="Ieva Dzene" userId="36e850b3-6b13-42b6-8b78-9778956e69b6" providerId="ADAL" clId="{61E5150D-5ED8-4F64-9DB9-E2770C8769C8}" dt="2021-09-27T07:47:17.145" v="4905" actId="14100"/>
          <ac:cxnSpMkLst>
            <pc:docMk/>
            <pc:sldMk cId="1747923309" sldId="1328"/>
            <ac:cxnSpMk id="48" creationId="{C082A545-A0F8-4501-BC7A-8EFB71E89BFC}"/>
          </ac:cxnSpMkLst>
        </pc:cxnChg>
        <pc:cxnChg chg="add del mod">
          <ac:chgData name="Ieva Dzene" userId="36e850b3-6b13-42b6-8b78-9778956e69b6" providerId="ADAL" clId="{61E5150D-5ED8-4F64-9DB9-E2770C8769C8}" dt="2021-09-24T16:37:22.840" v="4453" actId="1076"/>
          <ac:cxnSpMkLst>
            <pc:docMk/>
            <pc:sldMk cId="1747923309" sldId="1328"/>
            <ac:cxnSpMk id="49" creationId="{B6B548DB-719E-450C-99D6-323A0BB2DAC6}"/>
          </ac:cxnSpMkLst>
        </pc:cxnChg>
        <pc:cxnChg chg="add del mod">
          <ac:chgData name="Ieva Dzene" userId="36e850b3-6b13-42b6-8b78-9778956e69b6" providerId="ADAL" clId="{61E5150D-5ED8-4F64-9DB9-E2770C8769C8}" dt="2021-09-24T16:37:22.840" v="4453" actId="1076"/>
          <ac:cxnSpMkLst>
            <pc:docMk/>
            <pc:sldMk cId="1747923309" sldId="1328"/>
            <ac:cxnSpMk id="50" creationId="{96080D39-561D-4E2C-AAAD-B60867A05523}"/>
          </ac:cxnSpMkLst>
        </pc:cxnChg>
        <pc:cxnChg chg="add mod">
          <ac:chgData name="Ieva Dzene" userId="36e850b3-6b13-42b6-8b78-9778956e69b6" providerId="ADAL" clId="{61E5150D-5ED8-4F64-9DB9-E2770C8769C8}" dt="2021-09-24T16:42:02.375" v="4515" actId="14100"/>
          <ac:cxnSpMkLst>
            <pc:docMk/>
            <pc:sldMk cId="1747923309" sldId="1328"/>
            <ac:cxnSpMk id="69" creationId="{7866A51A-F919-4E33-823E-82B4268FD583}"/>
          </ac:cxnSpMkLst>
        </pc:cxnChg>
        <pc:cxnChg chg="add mod">
          <ac:chgData name="Ieva Dzene" userId="36e850b3-6b13-42b6-8b78-9778956e69b6" providerId="ADAL" clId="{61E5150D-5ED8-4F64-9DB9-E2770C8769C8}" dt="2021-09-24T16:41:59.482" v="4514" actId="14100"/>
          <ac:cxnSpMkLst>
            <pc:docMk/>
            <pc:sldMk cId="1747923309" sldId="1328"/>
            <ac:cxnSpMk id="71" creationId="{1F5896B2-C6C9-4C1F-88DE-BAD4E2D7F16B}"/>
          </ac:cxnSpMkLst>
        </pc:cxnChg>
      </pc:sldChg>
      <pc:sldChg chg="add del">
        <pc:chgData name="Ieva Dzene" userId="36e850b3-6b13-42b6-8b78-9778956e69b6" providerId="ADAL" clId="{61E5150D-5ED8-4F64-9DB9-E2770C8769C8}" dt="2021-09-27T07:07:22.224" v="4537" actId="2890"/>
        <pc:sldMkLst>
          <pc:docMk/>
          <pc:sldMk cId="3260448328" sldId="1329"/>
        </pc:sldMkLst>
      </pc:sldChg>
      <pc:sldChg chg="addSp delSp modSp add mod">
        <pc:chgData name="Ieva Dzene" userId="36e850b3-6b13-42b6-8b78-9778956e69b6" providerId="ADAL" clId="{61E5150D-5ED8-4F64-9DB9-E2770C8769C8}" dt="2021-09-27T07:43:25.125" v="4860" actId="20577"/>
        <pc:sldMkLst>
          <pc:docMk/>
          <pc:sldMk cId="4041263944" sldId="1329"/>
        </pc:sldMkLst>
        <pc:spChg chg="mod">
          <ac:chgData name="Ieva Dzene" userId="36e850b3-6b13-42b6-8b78-9778956e69b6" providerId="ADAL" clId="{61E5150D-5ED8-4F64-9DB9-E2770C8769C8}" dt="2021-09-27T07:35:54.912" v="4772"/>
          <ac:spMkLst>
            <pc:docMk/>
            <pc:sldMk cId="4041263944" sldId="1329"/>
            <ac:spMk id="4" creationId="{DADD9E0F-ED1C-4F82-BD9D-F0239A2E7022}"/>
          </ac:spMkLst>
        </pc:spChg>
        <pc:spChg chg="mod">
          <ac:chgData name="Ieva Dzene" userId="36e850b3-6b13-42b6-8b78-9778956e69b6" providerId="ADAL" clId="{61E5150D-5ED8-4F64-9DB9-E2770C8769C8}" dt="2021-09-27T07:13:12.523" v="4596" actId="1076"/>
          <ac:spMkLst>
            <pc:docMk/>
            <pc:sldMk cId="4041263944" sldId="1329"/>
            <ac:spMk id="5" creationId="{330BF89E-CCF6-454D-9595-233E95E51A24}"/>
          </ac:spMkLst>
        </pc:spChg>
        <pc:spChg chg="mod">
          <ac:chgData name="Ieva Dzene" userId="36e850b3-6b13-42b6-8b78-9778956e69b6" providerId="ADAL" clId="{61E5150D-5ED8-4F64-9DB9-E2770C8769C8}" dt="2021-09-27T07:13:12.523" v="4596" actId="1076"/>
          <ac:spMkLst>
            <pc:docMk/>
            <pc:sldMk cId="4041263944" sldId="1329"/>
            <ac:spMk id="17" creationId="{DEDF0172-92F5-4A2C-AB3C-6B6D1B0E59CE}"/>
          </ac:spMkLst>
        </pc:spChg>
        <pc:spChg chg="mod">
          <ac:chgData name="Ieva Dzene" userId="36e850b3-6b13-42b6-8b78-9778956e69b6" providerId="ADAL" clId="{61E5150D-5ED8-4F64-9DB9-E2770C8769C8}" dt="2021-09-27T07:13:12.523" v="4596" actId="1076"/>
          <ac:spMkLst>
            <pc:docMk/>
            <pc:sldMk cId="4041263944" sldId="1329"/>
            <ac:spMk id="22" creationId="{38724302-9537-4436-BE71-4E03214DF0E3}"/>
          </ac:spMkLst>
        </pc:spChg>
        <pc:spChg chg="mod">
          <ac:chgData name="Ieva Dzene" userId="36e850b3-6b13-42b6-8b78-9778956e69b6" providerId="ADAL" clId="{61E5150D-5ED8-4F64-9DB9-E2770C8769C8}" dt="2021-09-27T07:13:12.523" v="4596" actId="1076"/>
          <ac:spMkLst>
            <pc:docMk/>
            <pc:sldMk cId="4041263944" sldId="1329"/>
            <ac:spMk id="29" creationId="{59F01D03-06BE-4275-8301-B3A0E931BFF6}"/>
          </ac:spMkLst>
        </pc:spChg>
        <pc:spChg chg="mod">
          <ac:chgData name="Ieva Dzene" userId="36e850b3-6b13-42b6-8b78-9778956e69b6" providerId="ADAL" clId="{61E5150D-5ED8-4F64-9DB9-E2770C8769C8}" dt="2021-09-27T07:13:12.523" v="4596" actId="1076"/>
          <ac:spMkLst>
            <pc:docMk/>
            <pc:sldMk cId="4041263944" sldId="1329"/>
            <ac:spMk id="46" creationId="{0F4E37C0-9CBB-49E6-9E4C-F23750A45287}"/>
          </ac:spMkLst>
        </pc:spChg>
        <pc:spChg chg="mod">
          <ac:chgData name="Ieva Dzene" userId="36e850b3-6b13-42b6-8b78-9778956e69b6" providerId="ADAL" clId="{61E5150D-5ED8-4F64-9DB9-E2770C8769C8}" dt="2021-09-27T07:13:12.523" v="4596" actId="1076"/>
          <ac:spMkLst>
            <pc:docMk/>
            <pc:sldMk cId="4041263944" sldId="1329"/>
            <ac:spMk id="50" creationId="{6D65CDE5-E83B-47BB-B8DE-502412BD2202}"/>
          </ac:spMkLst>
        </pc:spChg>
        <pc:spChg chg="mod">
          <ac:chgData name="Ieva Dzene" userId="36e850b3-6b13-42b6-8b78-9778956e69b6" providerId="ADAL" clId="{61E5150D-5ED8-4F64-9DB9-E2770C8769C8}" dt="2021-09-27T07:13:12.523" v="4596" actId="1076"/>
          <ac:spMkLst>
            <pc:docMk/>
            <pc:sldMk cId="4041263944" sldId="1329"/>
            <ac:spMk id="52" creationId="{7A144B66-8198-4E51-A363-32DBA82D3F4C}"/>
          </ac:spMkLst>
        </pc:spChg>
        <pc:spChg chg="mod">
          <ac:chgData name="Ieva Dzene" userId="36e850b3-6b13-42b6-8b78-9778956e69b6" providerId="ADAL" clId="{61E5150D-5ED8-4F64-9DB9-E2770C8769C8}" dt="2021-09-27T07:43:25.125" v="4860" actId="20577"/>
          <ac:spMkLst>
            <pc:docMk/>
            <pc:sldMk cId="4041263944" sldId="1329"/>
            <ac:spMk id="67" creationId="{2C45D741-938D-437E-B004-8FC3E016AAD2}"/>
          </ac:spMkLst>
        </pc:spChg>
        <pc:spChg chg="mod">
          <ac:chgData name="Ieva Dzene" userId="36e850b3-6b13-42b6-8b78-9778956e69b6" providerId="ADAL" clId="{61E5150D-5ED8-4F64-9DB9-E2770C8769C8}" dt="2021-09-27T07:43:01.222" v="4856" actId="20577"/>
          <ac:spMkLst>
            <pc:docMk/>
            <pc:sldMk cId="4041263944" sldId="1329"/>
            <ac:spMk id="68" creationId="{43530EBD-0B8D-4A35-A653-7EC71BB326E8}"/>
          </ac:spMkLst>
        </pc:spChg>
        <pc:spChg chg="mod">
          <ac:chgData name="Ieva Dzene" userId="36e850b3-6b13-42b6-8b78-9778956e69b6" providerId="ADAL" clId="{61E5150D-5ED8-4F64-9DB9-E2770C8769C8}" dt="2021-09-27T07:13:53.503" v="4601" actId="20577"/>
          <ac:spMkLst>
            <pc:docMk/>
            <pc:sldMk cId="4041263944" sldId="1329"/>
            <ac:spMk id="93" creationId="{1D2FB84E-A477-4E7D-9F6A-AEB247CBA51C}"/>
          </ac:spMkLst>
        </pc:spChg>
        <pc:spChg chg="mod">
          <ac:chgData name="Ieva Dzene" userId="36e850b3-6b13-42b6-8b78-9778956e69b6" providerId="ADAL" clId="{61E5150D-5ED8-4F64-9DB9-E2770C8769C8}" dt="2021-09-27T07:13:12.523" v="4596" actId="1076"/>
          <ac:spMkLst>
            <pc:docMk/>
            <pc:sldMk cId="4041263944" sldId="1329"/>
            <ac:spMk id="94" creationId="{0E58DF0B-847A-4D38-ABC7-F754B6382F8F}"/>
          </ac:spMkLst>
        </pc:spChg>
        <pc:picChg chg="del">
          <ac:chgData name="Ieva Dzene" userId="36e850b3-6b13-42b6-8b78-9778956e69b6" providerId="ADAL" clId="{61E5150D-5ED8-4F64-9DB9-E2770C8769C8}" dt="2021-09-27T07:07:41.230" v="4540" actId="478"/>
          <ac:picMkLst>
            <pc:docMk/>
            <pc:sldMk cId="4041263944" sldId="1329"/>
            <ac:picMk id="56" creationId="{3D24A7CC-F576-4D92-BC79-5E0316DF3585}"/>
          </ac:picMkLst>
        </pc:picChg>
        <pc:picChg chg="del">
          <ac:chgData name="Ieva Dzene" userId="36e850b3-6b13-42b6-8b78-9778956e69b6" providerId="ADAL" clId="{61E5150D-5ED8-4F64-9DB9-E2770C8769C8}" dt="2021-09-27T07:07:41.230" v="4540" actId="478"/>
          <ac:picMkLst>
            <pc:docMk/>
            <pc:sldMk cId="4041263944" sldId="1329"/>
            <ac:picMk id="126" creationId="{F28076E2-F461-4E52-9870-1E5E3E7F5906}"/>
          </ac:picMkLst>
        </pc:picChg>
        <pc:picChg chg="del">
          <ac:chgData name="Ieva Dzene" userId="36e850b3-6b13-42b6-8b78-9778956e69b6" providerId="ADAL" clId="{61E5150D-5ED8-4F64-9DB9-E2770C8769C8}" dt="2021-09-27T07:07:41.230" v="4540" actId="478"/>
          <ac:picMkLst>
            <pc:docMk/>
            <pc:sldMk cId="4041263944" sldId="1329"/>
            <ac:picMk id="128" creationId="{66E8979B-50E1-416F-BE49-574E72A81E36}"/>
          </ac:picMkLst>
        </pc:picChg>
        <pc:picChg chg="del">
          <ac:chgData name="Ieva Dzene" userId="36e850b3-6b13-42b6-8b78-9778956e69b6" providerId="ADAL" clId="{61E5150D-5ED8-4F64-9DB9-E2770C8769C8}" dt="2021-09-27T07:07:41.230" v="4540" actId="478"/>
          <ac:picMkLst>
            <pc:docMk/>
            <pc:sldMk cId="4041263944" sldId="1329"/>
            <ac:picMk id="130" creationId="{E25B4841-BA94-43AE-A53A-A44A3435A64F}"/>
          </ac:picMkLst>
        </pc:picChg>
        <pc:picChg chg="del">
          <ac:chgData name="Ieva Dzene" userId="36e850b3-6b13-42b6-8b78-9778956e69b6" providerId="ADAL" clId="{61E5150D-5ED8-4F64-9DB9-E2770C8769C8}" dt="2021-09-27T07:07:41.230" v="4540" actId="478"/>
          <ac:picMkLst>
            <pc:docMk/>
            <pc:sldMk cId="4041263944" sldId="1329"/>
            <ac:picMk id="137" creationId="{14EAD180-6EEE-4886-AED6-FE90425BE79E}"/>
          </ac:picMkLst>
        </pc:picChg>
        <pc:picChg chg="del">
          <ac:chgData name="Ieva Dzene" userId="36e850b3-6b13-42b6-8b78-9778956e69b6" providerId="ADAL" clId="{61E5150D-5ED8-4F64-9DB9-E2770C8769C8}" dt="2021-09-27T07:07:41.230" v="4540" actId="478"/>
          <ac:picMkLst>
            <pc:docMk/>
            <pc:sldMk cId="4041263944" sldId="1329"/>
            <ac:picMk id="139" creationId="{4E7F8C58-AD94-48CC-92B1-309EFC0CA752}"/>
          </ac:picMkLst>
        </pc:picChg>
        <pc:cxnChg chg="add mod">
          <ac:chgData name="Ieva Dzene" userId="36e850b3-6b13-42b6-8b78-9778956e69b6" providerId="ADAL" clId="{61E5150D-5ED8-4F64-9DB9-E2770C8769C8}" dt="2021-09-27T07:13:12.523" v="4596" actId="1076"/>
          <ac:cxnSpMkLst>
            <pc:docMk/>
            <pc:sldMk cId="4041263944" sldId="1329"/>
            <ac:cxnSpMk id="31" creationId="{6DA9AA30-B025-4A1B-BBDC-FD5A468FADEE}"/>
          </ac:cxnSpMkLst>
        </pc:cxnChg>
        <pc:cxnChg chg="add mod">
          <ac:chgData name="Ieva Dzene" userId="36e850b3-6b13-42b6-8b78-9778956e69b6" providerId="ADAL" clId="{61E5150D-5ED8-4F64-9DB9-E2770C8769C8}" dt="2021-09-27T07:13:12.523" v="4596" actId="1076"/>
          <ac:cxnSpMkLst>
            <pc:docMk/>
            <pc:sldMk cId="4041263944" sldId="1329"/>
            <ac:cxnSpMk id="33" creationId="{ACAFDE0D-AE2C-43C9-9B38-7345314882FC}"/>
          </ac:cxnSpMkLst>
        </pc:cxnChg>
        <pc:cxnChg chg="add mod">
          <ac:chgData name="Ieva Dzene" userId="36e850b3-6b13-42b6-8b78-9778956e69b6" providerId="ADAL" clId="{61E5150D-5ED8-4F64-9DB9-E2770C8769C8}" dt="2021-09-27T07:13:12.523" v="4596" actId="1076"/>
          <ac:cxnSpMkLst>
            <pc:docMk/>
            <pc:sldMk cId="4041263944" sldId="1329"/>
            <ac:cxnSpMk id="34" creationId="{BE90EB05-D158-43D7-9688-FFB3AE1B316C}"/>
          </ac:cxnSpMkLst>
        </pc:cxnChg>
        <pc:cxnChg chg="add mod">
          <ac:chgData name="Ieva Dzene" userId="36e850b3-6b13-42b6-8b78-9778956e69b6" providerId="ADAL" clId="{61E5150D-5ED8-4F64-9DB9-E2770C8769C8}" dt="2021-09-27T07:13:12.523" v="4596" actId="1076"/>
          <ac:cxnSpMkLst>
            <pc:docMk/>
            <pc:sldMk cId="4041263944" sldId="1329"/>
            <ac:cxnSpMk id="38" creationId="{D2572C6C-9920-44CC-8D69-4EBAE63650F5}"/>
          </ac:cxnSpMkLst>
        </pc:cxnChg>
        <pc:cxnChg chg="add mod">
          <ac:chgData name="Ieva Dzene" userId="36e850b3-6b13-42b6-8b78-9778956e69b6" providerId="ADAL" clId="{61E5150D-5ED8-4F64-9DB9-E2770C8769C8}" dt="2021-09-27T07:13:12.523" v="4596" actId="1076"/>
          <ac:cxnSpMkLst>
            <pc:docMk/>
            <pc:sldMk cId="4041263944" sldId="1329"/>
            <ac:cxnSpMk id="43" creationId="{E73FB2AC-41C7-4252-9923-1C3C142ADA8C}"/>
          </ac:cxnSpMkLst>
        </pc:cxnChg>
        <pc:cxnChg chg="mod">
          <ac:chgData name="Ieva Dzene" userId="36e850b3-6b13-42b6-8b78-9778956e69b6" providerId="ADAL" clId="{61E5150D-5ED8-4F64-9DB9-E2770C8769C8}" dt="2021-09-27T07:13:12.523" v="4596" actId="1076"/>
          <ac:cxnSpMkLst>
            <pc:docMk/>
            <pc:sldMk cId="4041263944" sldId="1329"/>
            <ac:cxnSpMk id="47" creationId="{CBD8DE33-4E29-4238-AF0B-F9AA88865380}"/>
          </ac:cxnSpMkLst>
        </pc:cxnChg>
        <pc:cxnChg chg="mod">
          <ac:chgData name="Ieva Dzene" userId="36e850b3-6b13-42b6-8b78-9778956e69b6" providerId="ADAL" clId="{61E5150D-5ED8-4F64-9DB9-E2770C8769C8}" dt="2021-09-27T07:13:12.523" v="4596" actId="1076"/>
          <ac:cxnSpMkLst>
            <pc:docMk/>
            <pc:sldMk cId="4041263944" sldId="1329"/>
            <ac:cxnSpMk id="49" creationId="{86081F27-D347-4403-A04E-C19C3DB869F4}"/>
          </ac:cxnSpMkLst>
        </pc:cxnChg>
        <pc:cxnChg chg="mod">
          <ac:chgData name="Ieva Dzene" userId="36e850b3-6b13-42b6-8b78-9778956e69b6" providerId="ADAL" clId="{61E5150D-5ED8-4F64-9DB9-E2770C8769C8}" dt="2021-09-27T07:13:12.523" v="4596" actId="1076"/>
          <ac:cxnSpMkLst>
            <pc:docMk/>
            <pc:sldMk cId="4041263944" sldId="1329"/>
            <ac:cxnSpMk id="95" creationId="{52EF4124-B645-4592-82BB-C611225807D1}"/>
          </ac:cxnSpMkLst>
        </pc:cxnChg>
        <pc:cxnChg chg="del">
          <ac:chgData name="Ieva Dzene" userId="36e850b3-6b13-42b6-8b78-9778956e69b6" providerId="ADAL" clId="{61E5150D-5ED8-4F64-9DB9-E2770C8769C8}" dt="2021-09-27T07:08:44.865" v="4546" actId="478"/>
          <ac:cxnSpMkLst>
            <pc:docMk/>
            <pc:sldMk cId="4041263944" sldId="1329"/>
            <ac:cxnSpMk id="98" creationId="{08F5CA4D-9198-475A-9107-B2A20F5D4148}"/>
          </ac:cxnSpMkLst>
        </pc:cxnChg>
        <pc:cxnChg chg="mod">
          <ac:chgData name="Ieva Dzene" userId="36e850b3-6b13-42b6-8b78-9778956e69b6" providerId="ADAL" clId="{61E5150D-5ED8-4F64-9DB9-E2770C8769C8}" dt="2021-09-27T07:13:00.477" v="4595" actId="14100"/>
          <ac:cxnSpMkLst>
            <pc:docMk/>
            <pc:sldMk cId="4041263944" sldId="1329"/>
            <ac:cxnSpMk id="105" creationId="{F4D0B576-3200-436F-8A28-CBA161464E0D}"/>
          </ac:cxnSpMkLst>
        </pc:cxnChg>
        <pc:cxnChg chg="del mod">
          <ac:chgData name="Ieva Dzene" userId="36e850b3-6b13-42b6-8b78-9778956e69b6" providerId="ADAL" clId="{61E5150D-5ED8-4F64-9DB9-E2770C8769C8}" dt="2021-09-27T07:09:19.458" v="4555" actId="478"/>
          <ac:cxnSpMkLst>
            <pc:docMk/>
            <pc:sldMk cId="4041263944" sldId="1329"/>
            <ac:cxnSpMk id="113" creationId="{EAA7236C-F0A3-4E32-BF1F-41826A7A3D0A}"/>
          </ac:cxnSpMkLst>
        </pc:cxnChg>
        <pc:cxnChg chg="del mod">
          <ac:chgData name="Ieva Dzene" userId="36e850b3-6b13-42b6-8b78-9778956e69b6" providerId="ADAL" clId="{61E5150D-5ED8-4F64-9DB9-E2770C8769C8}" dt="2021-09-27T07:09:18.237" v="4554" actId="478"/>
          <ac:cxnSpMkLst>
            <pc:docMk/>
            <pc:sldMk cId="4041263944" sldId="1329"/>
            <ac:cxnSpMk id="114" creationId="{CB68D07C-C7FE-473A-B72C-E8F8542DB8B4}"/>
          </ac:cxnSpMkLst>
        </pc:cxnChg>
        <pc:cxnChg chg="del mod">
          <ac:chgData name="Ieva Dzene" userId="36e850b3-6b13-42b6-8b78-9778956e69b6" providerId="ADAL" clId="{61E5150D-5ED8-4F64-9DB9-E2770C8769C8}" dt="2021-09-27T07:11:54.373" v="4585" actId="478"/>
          <ac:cxnSpMkLst>
            <pc:docMk/>
            <pc:sldMk cId="4041263944" sldId="1329"/>
            <ac:cxnSpMk id="116" creationId="{6A9193E6-48BA-4482-893B-8688B7522AE7}"/>
          </ac:cxnSpMkLst>
        </pc:cxnChg>
        <pc:cxnChg chg="del mod">
          <ac:chgData name="Ieva Dzene" userId="36e850b3-6b13-42b6-8b78-9778956e69b6" providerId="ADAL" clId="{61E5150D-5ED8-4F64-9DB9-E2770C8769C8}" dt="2021-09-27T07:08:50.816" v="4548" actId="478"/>
          <ac:cxnSpMkLst>
            <pc:docMk/>
            <pc:sldMk cId="4041263944" sldId="1329"/>
            <ac:cxnSpMk id="119" creationId="{27EB29A0-4ACD-4380-B54F-391614B3068D}"/>
          </ac:cxnSpMkLst>
        </pc:cxnChg>
      </pc:sldChg>
      <pc:sldChg chg="delSp modSp add mod">
        <pc:chgData name="Ieva Dzene" userId="36e850b3-6b13-42b6-8b78-9778956e69b6" providerId="ADAL" clId="{61E5150D-5ED8-4F64-9DB9-E2770C8769C8}" dt="2021-09-27T07:46:30.335" v="4896" actId="20577"/>
        <pc:sldMkLst>
          <pc:docMk/>
          <pc:sldMk cId="3659738075" sldId="1330"/>
        </pc:sldMkLst>
        <pc:spChg chg="mod">
          <ac:chgData name="Ieva Dzene" userId="36e850b3-6b13-42b6-8b78-9778956e69b6" providerId="ADAL" clId="{61E5150D-5ED8-4F64-9DB9-E2770C8769C8}" dt="2021-09-27T07:36:27.545" v="4816"/>
          <ac:spMkLst>
            <pc:docMk/>
            <pc:sldMk cId="3659738075" sldId="1330"/>
            <ac:spMk id="4" creationId="{DADD9E0F-ED1C-4F82-BD9D-F0239A2E7022}"/>
          </ac:spMkLst>
        </pc:spChg>
        <pc:spChg chg="mod">
          <ac:chgData name="Ieva Dzene" userId="36e850b3-6b13-42b6-8b78-9778956e69b6" providerId="ADAL" clId="{61E5150D-5ED8-4F64-9DB9-E2770C8769C8}" dt="2021-09-27T07:14:45.819" v="4607" actId="12788"/>
          <ac:spMkLst>
            <pc:docMk/>
            <pc:sldMk cId="3659738075" sldId="1330"/>
            <ac:spMk id="8" creationId="{39AE1A71-3304-43AD-97E2-0D97E4C5151B}"/>
          </ac:spMkLst>
        </pc:spChg>
        <pc:spChg chg="mod">
          <ac:chgData name="Ieva Dzene" userId="36e850b3-6b13-42b6-8b78-9778956e69b6" providerId="ADAL" clId="{61E5150D-5ED8-4F64-9DB9-E2770C8769C8}" dt="2021-09-27T07:15:21.849" v="4620" actId="20577"/>
          <ac:spMkLst>
            <pc:docMk/>
            <pc:sldMk cId="3659738075" sldId="1330"/>
            <ac:spMk id="15" creationId="{07A4308F-6E0C-4FE4-B1CC-28E68C7CD55B}"/>
          </ac:spMkLst>
        </pc:spChg>
        <pc:spChg chg="mod">
          <ac:chgData name="Ieva Dzene" userId="36e850b3-6b13-42b6-8b78-9778956e69b6" providerId="ADAL" clId="{61E5150D-5ED8-4F64-9DB9-E2770C8769C8}" dt="2021-09-27T07:15:38.741" v="4641" actId="20577"/>
          <ac:spMkLst>
            <pc:docMk/>
            <pc:sldMk cId="3659738075" sldId="1330"/>
            <ac:spMk id="17" creationId="{0F463DB7-32E3-48FC-ADE5-6255B0C76CDF}"/>
          </ac:spMkLst>
        </pc:spChg>
        <pc:spChg chg="mod">
          <ac:chgData name="Ieva Dzene" userId="36e850b3-6b13-42b6-8b78-9778956e69b6" providerId="ADAL" clId="{61E5150D-5ED8-4F64-9DB9-E2770C8769C8}" dt="2021-09-27T07:46:30.335" v="4896" actId="20577"/>
          <ac:spMkLst>
            <pc:docMk/>
            <pc:sldMk cId="3659738075" sldId="1330"/>
            <ac:spMk id="25" creationId="{DFAB3307-E065-4DF7-8830-1CAAEACD6D0C}"/>
          </ac:spMkLst>
        </pc:spChg>
        <pc:picChg chg="del">
          <ac:chgData name="Ieva Dzene" userId="36e850b3-6b13-42b6-8b78-9778956e69b6" providerId="ADAL" clId="{61E5150D-5ED8-4F64-9DB9-E2770C8769C8}" dt="2021-09-27T07:14:28.867" v="4605" actId="478"/>
          <ac:picMkLst>
            <pc:docMk/>
            <pc:sldMk cId="3659738075" sldId="1330"/>
            <ac:picMk id="27" creationId="{0DBC9BD6-0A42-4DEE-A220-6B4550B916B5}"/>
          </ac:picMkLst>
        </pc:picChg>
        <pc:picChg chg="del">
          <ac:chgData name="Ieva Dzene" userId="36e850b3-6b13-42b6-8b78-9778956e69b6" providerId="ADAL" clId="{61E5150D-5ED8-4F64-9DB9-E2770C8769C8}" dt="2021-09-27T07:14:27.549" v="4604" actId="478"/>
          <ac:picMkLst>
            <pc:docMk/>
            <pc:sldMk cId="3659738075" sldId="1330"/>
            <ac:picMk id="31" creationId="{2E97CBD3-99C3-4351-B724-DD1CDF235130}"/>
          </ac:picMkLst>
        </pc:picChg>
        <pc:cxnChg chg="mod">
          <ac:chgData name="Ieva Dzene" userId="36e850b3-6b13-42b6-8b78-9778956e69b6" providerId="ADAL" clId="{61E5150D-5ED8-4F64-9DB9-E2770C8769C8}" dt="2021-09-27T07:14:45.819" v="4607" actId="12788"/>
          <ac:cxnSpMkLst>
            <pc:docMk/>
            <pc:sldMk cId="3659738075" sldId="1330"/>
            <ac:cxnSpMk id="21" creationId="{FE8A48D1-ADF7-436F-9A1A-47BE6DB3FBD8}"/>
          </ac:cxnSpMkLst>
        </pc:cxnChg>
        <pc:cxnChg chg="mod">
          <ac:chgData name="Ieva Dzene" userId="36e850b3-6b13-42b6-8b78-9778956e69b6" providerId="ADAL" clId="{61E5150D-5ED8-4F64-9DB9-E2770C8769C8}" dt="2021-09-27T07:14:45.819" v="4607" actId="12788"/>
          <ac:cxnSpMkLst>
            <pc:docMk/>
            <pc:sldMk cId="3659738075" sldId="1330"/>
            <ac:cxnSpMk id="24" creationId="{5A13B0B3-6E70-45D6-AD44-5E8C9908E4BD}"/>
          </ac:cxnSpMkLst>
        </pc:cxnChg>
        <pc:cxnChg chg="mod">
          <ac:chgData name="Ieva Dzene" userId="36e850b3-6b13-42b6-8b78-9778956e69b6" providerId="ADAL" clId="{61E5150D-5ED8-4F64-9DB9-E2770C8769C8}" dt="2021-09-27T07:14:45.819" v="4607" actId="12788"/>
          <ac:cxnSpMkLst>
            <pc:docMk/>
            <pc:sldMk cId="3659738075" sldId="1330"/>
            <ac:cxnSpMk id="35" creationId="{7A60A4FA-BF34-4A1B-AE34-4921E845C143}"/>
          </ac:cxnSpMkLst>
        </pc:cxnChg>
      </pc:sldChg>
      <pc:sldChg chg="add">
        <pc:chgData name="Ieva Dzene" userId="36e850b3-6b13-42b6-8b78-9778956e69b6" providerId="ADAL" clId="{61E5150D-5ED8-4F64-9DB9-E2770C8769C8}" dt="2021-10-14T07:09:10.800" v="5275" actId="2890"/>
        <pc:sldMkLst>
          <pc:docMk/>
          <pc:sldMk cId="2638769612" sldId="1331"/>
        </pc:sldMkLst>
      </pc:sldChg>
      <pc:sldChg chg="modSp add del mod">
        <pc:chgData name="Ieva Dzene" userId="36e850b3-6b13-42b6-8b78-9778956e69b6" providerId="ADAL" clId="{61E5150D-5ED8-4F64-9DB9-E2770C8769C8}" dt="2021-09-27T07:37:53.231" v="4817" actId="2696"/>
        <pc:sldMkLst>
          <pc:docMk/>
          <pc:sldMk cId="2677465759" sldId="1331"/>
        </pc:sldMkLst>
        <pc:spChg chg="mod">
          <ac:chgData name="Ieva Dzene" userId="36e850b3-6b13-42b6-8b78-9778956e69b6" providerId="ADAL" clId="{61E5150D-5ED8-4F64-9DB9-E2770C8769C8}" dt="2021-09-27T07:35:22.732" v="4750" actId="20577"/>
          <ac:spMkLst>
            <pc:docMk/>
            <pc:sldMk cId="2677465759" sldId="1331"/>
            <ac:spMk id="4" creationId="{1CD21C43-48F7-445A-BDC3-9CA39CEACB0B}"/>
          </ac:spMkLst>
        </pc:spChg>
      </pc:sldChg>
      <pc:sldChg chg="add del">
        <pc:chgData name="Ieva Dzene" userId="36e850b3-6b13-42b6-8b78-9778956e69b6" providerId="ADAL" clId="{61E5150D-5ED8-4F64-9DB9-E2770C8769C8}" dt="2021-11-08T15:11:19.476" v="5631"/>
        <pc:sldMkLst>
          <pc:docMk/>
          <pc:sldMk cId="1062476407" sldId="1332"/>
        </pc:sldMkLst>
      </pc:sldChg>
      <pc:sldChg chg="addSp delSp modSp add mod">
        <pc:chgData name="Ieva Dzene" userId="36e850b3-6b13-42b6-8b78-9778956e69b6" providerId="ADAL" clId="{61E5150D-5ED8-4F64-9DB9-E2770C8769C8}" dt="2021-11-09T13:52:47.607" v="6681" actId="21"/>
        <pc:sldMkLst>
          <pc:docMk/>
          <pc:sldMk cId="1881582963" sldId="1332"/>
        </pc:sldMkLst>
        <pc:spChg chg="add del mod">
          <ac:chgData name="Ieva Dzene" userId="36e850b3-6b13-42b6-8b78-9778956e69b6" providerId="ADAL" clId="{61E5150D-5ED8-4F64-9DB9-E2770C8769C8}" dt="2021-11-08T15:46:18.680" v="5750"/>
          <ac:spMkLst>
            <pc:docMk/>
            <pc:sldMk cId="1881582963" sldId="1332"/>
            <ac:spMk id="2" creationId="{4AA882AF-97F6-45B5-9CD1-2FD817E75FF2}"/>
          </ac:spMkLst>
        </pc:spChg>
        <pc:spChg chg="add mod">
          <ac:chgData name="Ieva Dzene" userId="36e850b3-6b13-42b6-8b78-9778956e69b6" providerId="ADAL" clId="{61E5150D-5ED8-4F64-9DB9-E2770C8769C8}" dt="2021-11-09T13:52:47.607" v="6681" actId="21"/>
          <ac:spMkLst>
            <pc:docMk/>
            <pc:sldMk cId="1881582963" sldId="1332"/>
            <ac:spMk id="3" creationId="{6466603B-FAD5-41A7-B578-03DB8535B9DD}"/>
          </ac:spMkLst>
        </pc:spChg>
        <pc:spChg chg="mod">
          <ac:chgData name="Ieva Dzene" userId="36e850b3-6b13-42b6-8b78-9778956e69b6" providerId="ADAL" clId="{61E5150D-5ED8-4F64-9DB9-E2770C8769C8}" dt="2021-11-08T15:51:27.725" v="6187" actId="20577"/>
          <ac:spMkLst>
            <pc:docMk/>
            <pc:sldMk cId="1881582963" sldId="1332"/>
            <ac:spMk id="4" creationId="{DADD9E0F-ED1C-4F82-BD9D-F0239A2E7022}"/>
          </ac:spMkLst>
        </pc:spChg>
        <pc:spChg chg="del">
          <ac:chgData name="Ieva Dzene" userId="36e850b3-6b13-42b6-8b78-9778956e69b6" providerId="ADAL" clId="{61E5150D-5ED8-4F64-9DB9-E2770C8769C8}" dt="2021-11-08T15:45:57.136" v="5740" actId="478"/>
          <ac:spMkLst>
            <pc:docMk/>
            <pc:sldMk cId="1881582963" sldId="1332"/>
            <ac:spMk id="5" creationId="{330BF89E-CCF6-454D-9595-233E95E51A24}"/>
          </ac:spMkLst>
        </pc:spChg>
        <pc:spChg chg="del">
          <ac:chgData name="Ieva Dzene" userId="36e850b3-6b13-42b6-8b78-9778956e69b6" providerId="ADAL" clId="{61E5150D-5ED8-4F64-9DB9-E2770C8769C8}" dt="2021-11-08T15:45:57.136" v="5740" actId="478"/>
          <ac:spMkLst>
            <pc:docMk/>
            <pc:sldMk cId="1881582963" sldId="1332"/>
            <ac:spMk id="17" creationId="{DEDF0172-92F5-4A2C-AB3C-6B6D1B0E59CE}"/>
          </ac:spMkLst>
        </pc:spChg>
        <pc:spChg chg="del">
          <ac:chgData name="Ieva Dzene" userId="36e850b3-6b13-42b6-8b78-9778956e69b6" providerId="ADAL" clId="{61E5150D-5ED8-4F64-9DB9-E2770C8769C8}" dt="2021-11-08T15:45:57.136" v="5740" actId="478"/>
          <ac:spMkLst>
            <pc:docMk/>
            <pc:sldMk cId="1881582963" sldId="1332"/>
            <ac:spMk id="22" creationId="{38724302-9537-4436-BE71-4E03214DF0E3}"/>
          </ac:spMkLst>
        </pc:spChg>
        <pc:spChg chg="del">
          <ac:chgData name="Ieva Dzene" userId="36e850b3-6b13-42b6-8b78-9778956e69b6" providerId="ADAL" clId="{61E5150D-5ED8-4F64-9DB9-E2770C8769C8}" dt="2021-11-08T15:45:57.136" v="5740" actId="478"/>
          <ac:spMkLst>
            <pc:docMk/>
            <pc:sldMk cId="1881582963" sldId="1332"/>
            <ac:spMk id="29" creationId="{59F01D03-06BE-4275-8301-B3A0E931BFF6}"/>
          </ac:spMkLst>
        </pc:spChg>
        <pc:spChg chg="del">
          <ac:chgData name="Ieva Dzene" userId="36e850b3-6b13-42b6-8b78-9778956e69b6" providerId="ADAL" clId="{61E5150D-5ED8-4F64-9DB9-E2770C8769C8}" dt="2021-11-08T15:46:02.308" v="5744" actId="478"/>
          <ac:spMkLst>
            <pc:docMk/>
            <pc:sldMk cId="1881582963" sldId="1332"/>
            <ac:spMk id="46" creationId="{0F4E37C0-9CBB-49E6-9E4C-F23750A45287}"/>
          </ac:spMkLst>
        </pc:spChg>
        <pc:spChg chg="del">
          <ac:chgData name="Ieva Dzene" userId="36e850b3-6b13-42b6-8b78-9778956e69b6" providerId="ADAL" clId="{61E5150D-5ED8-4F64-9DB9-E2770C8769C8}" dt="2021-11-08T15:46:03.530" v="5745" actId="478"/>
          <ac:spMkLst>
            <pc:docMk/>
            <pc:sldMk cId="1881582963" sldId="1332"/>
            <ac:spMk id="50" creationId="{6D65CDE5-E83B-47BB-B8DE-502412BD2202}"/>
          </ac:spMkLst>
        </pc:spChg>
        <pc:spChg chg="del mod">
          <ac:chgData name="Ieva Dzene" userId="36e850b3-6b13-42b6-8b78-9778956e69b6" providerId="ADAL" clId="{61E5150D-5ED8-4F64-9DB9-E2770C8769C8}" dt="2021-11-08T15:46:06.821" v="5747" actId="478"/>
          <ac:spMkLst>
            <pc:docMk/>
            <pc:sldMk cId="1881582963" sldId="1332"/>
            <ac:spMk id="52" creationId="{7A144B66-8198-4E51-A363-32DBA82D3F4C}"/>
          </ac:spMkLst>
        </pc:spChg>
        <pc:spChg chg="del">
          <ac:chgData name="Ieva Dzene" userId="36e850b3-6b13-42b6-8b78-9778956e69b6" providerId="ADAL" clId="{61E5150D-5ED8-4F64-9DB9-E2770C8769C8}" dt="2021-11-08T15:45:57.136" v="5740" actId="478"/>
          <ac:spMkLst>
            <pc:docMk/>
            <pc:sldMk cId="1881582963" sldId="1332"/>
            <ac:spMk id="67" creationId="{2C45D741-938D-437E-B004-8FC3E016AAD2}"/>
          </ac:spMkLst>
        </pc:spChg>
        <pc:spChg chg="del mod">
          <ac:chgData name="Ieva Dzene" userId="36e850b3-6b13-42b6-8b78-9778956e69b6" providerId="ADAL" clId="{61E5150D-5ED8-4F64-9DB9-E2770C8769C8}" dt="2021-11-08T15:46:01.274" v="5743" actId="478"/>
          <ac:spMkLst>
            <pc:docMk/>
            <pc:sldMk cId="1881582963" sldId="1332"/>
            <ac:spMk id="68" creationId="{43530EBD-0B8D-4A35-A653-7EC71BB326E8}"/>
          </ac:spMkLst>
        </pc:spChg>
        <pc:spChg chg="del">
          <ac:chgData name="Ieva Dzene" userId="36e850b3-6b13-42b6-8b78-9778956e69b6" providerId="ADAL" clId="{61E5150D-5ED8-4F64-9DB9-E2770C8769C8}" dt="2021-11-08T15:45:57.136" v="5740" actId="478"/>
          <ac:spMkLst>
            <pc:docMk/>
            <pc:sldMk cId="1881582963" sldId="1332"/>
            <ac:spMk id="93" creationId="{1D2FB84E-A477-4E7D-9F6A-AEB247CBA51C}"/>
          </ac:spMkLst>
        </pc:spChg>
        <pc:spChg chg="del">
          <ac:chgData name="Ieva Dzene" userId="36e850b3-6b13-42b6-8b78-9778956e69b6" providerId="ADAL" clId="{61E5150D-5ED8-4F64-9DB9-E2770C8769C8}" dt="2021-11-08T15:45:57.136" v="5740" actId="478"/>
          <ac:spMkLst>
            <pc:docMk/>
            <pc:sldMk cId="1881582963" sldId="1332"/>
            <ac:spMk id="94" creationId="{0E58DF0B-847A-4D38-ABC7-F754B6382F8F}"/>
          </ac:spMkLst>
        </pc:spChg>
        <pc:picChg chg="add mod">
          <ac:chgData name="Ieva Dzene" userId="36e850b3-6b13-42b6-8b78-9778956e69b6" providerId="ADAL" clId="{61E5150D-5ED8-4F64-9DB9-E2770C8769C8}" dt="2021-11-09T11:29:13.667" v="6635" actId="1076"/>
          <ac:picMkLst>
            <pc:docMk/>
            <pc:sldMk cId="1881582963" sldId="1332"/>
            <ac:picMk id="7" creationId="{E027D974-07A3-4FB0-BFA0-242274904A7D}"/>
          </ac:picMkLst>
        </pc:picChg>
        <pc:cxnChg chg="del">
          <ac:chgData name="Ieva Dzene" userId="36e850b3-6b13-42b6-8b78-9778956e69b6" providerId="ADAL" clId="{61E5150D-5ED8-4F64-9DB9-E2770C8769C8}" dt="2021-11-08T15:45:57.136" v="5740" actId="478"/>
          <ac:cxnSpMkLst>
            <pc:docMk/>
            <pc:sldMk cId="1881582963" sldId="1332"/>
            <ac:cxnSpMk id="31" creationId="{6DA9AA30-B025-4A1B-BBDC-FD5A468FADEE}"/>
          </ac:cxnSpMkLst>
        </pc:cxnChg>
        <pc:cxnChg chg="del">
          <ac:chgData name="Ieva Dzene" userId="36e850b3-6b13-42b6-8b78-9778956e69b6" providerId="ADAL" clId="{61E5150D-5ED8-4F64-9DB9-E2770C8769C8}" dt="2021-11-08T15:45:57.136" v="5740" actId="478"/>
          <ac:cxnSpMkLst>
            <pc:docMk/>
            <pc:sldMk cId="1881582963" sldId="1332"/>
            <ac:cxnSpMk id="33" creationId="{ACAFDE0D-AE2C-43C9-9B38-7345314882FC}"/>
          </ac:cxnSpMkLst>
        </pc:cxnChg>
        <pc:cxnChg chg="del">
          <ac:chgData name="Ieva Dzene" userId="36e850b3-6b13-42b6-8b78-9778956e69b6" providerId="ADAL" clId="{61E5150D-5ED8-4F64-9DB9-E2770C8769C8}" dt="2021-11-08T15:45:57.136" v="5740" actId="478"/>
          <ac:cxnSpMkLst>
            <pc:docMk/>
            <pc:sldMk cId="1881582963" sldId="1332"/>
            <ac:cxnSpMk id="34" creationId="{BE90EB05-D158-43D7-9688-FFB3AE1B316C}"/>
          </ac:cxnSpMkLst>
        </pc:cxnChg>
        <pc:cxnChg chg="del">
          <ac:chgData name="Ieva Dzene" userId="36e850b3-6b13-42b6-8b78-9778956e69b6" providerId="ADAL" clId="{61E5150D-5ED8-4F64-9DB9-E2770C8769C8}" dt="2021-11-08T15:45:57.136" v="5740" actId="478"/>
          <ac:cxnSpMkLst>
            <pc:docMk/>
            <pc:sldMk cId="1881582963" sldId="1332"/>
            <ac:cxnSpMk id="38" creationId="{D2572C6C-9920-44CC-8D69-4EBAE63650F5}"/>
          </ac:cxnSpMkLst>
        </pc:cxnChg>
        <pc:cxnChg chg="del">
          <ac:chgData name="Ieva Dzene" userId="36e850b3-6b13-42b6-8b78-9778956e69b6" providerId="ADAL" clId="{61E5150D-5ED8-4F64-9DB9-E2770C8769C8}" dt="2021-11-08T15:45:57.136" v="5740" actId="478"/>
          <ac:cxnSpMkLst>
            <pc:docMk/>
            <pc:sldMk cId="1881582963" sldId="1332"/>
            <ac:cxnSpMk id="43" creationId="{E73FB2AC-41C7-4252-9923-1C3C142ADA8C}"/>
          </ac:cxnSpMkLst>
        </pc:cxnChg>
        <pc:cxnChg chg="del mod">
          <ac:chgData name="Ieva Dzene" userId="36e850b3-6b13-42b6-8b78-9778956e69b6" providerId="ADAL" clId="{61E5150D-5ED8-4F64-9DB9-E2770C8769C8}" dt="2021-11-08T15:45:57.136" v="5740" actId="478"/>
          <ac:cxnSpMkLst>
            <pc:docMk/>
            <pc:sldMk cId="1881582963" sldId="1332"/>
            <ac:cxnSpMk id="47" creationId="{CBD8DE33-4E29-4238-AF0B-F9AA88865380}"/>
          </ac:cxnSpMkLst>
        </pc:cxnChg>
        <pc:cxnChg chg="del mod">
          <ac:chgData name="Ieva Dzene" userId="36e850b3-6b13-42b6-8b78-9778956e69b6" providerId="ADAL" clId="{61E5150D-5ED8-4F64-9DB9-E2770C8769C8}" dt="2021-11-08T15:45:57.136" v="5740" actId="478"/>
          <ac:cxnSpMkLst>
            <pc:docMk/>
            <pc:sldMk cId="1881582963" sldId="1332"/>
            <ac:cxnSpMk id="49" creationId="{86081F27-D347-4403-A04E-C19C3DB869F4}"/>
          </ac:cxnSpMkLst>
        </pc:cxnChg>
        <pc:cxnChg chg="del mod">
          <ac:chgData name="Ieva Dzene" userId="36e850b3-6b13-42b6-8b78-9778956e69b6" providerId="ADAL" clId="{61E5150D-5ED8-4F64-9DB9-E2770C8769C8}" dt="2021-11-08T15:45:57.136" v="5740" actId="478"/>
          <ac:cxnSpMkLst>
            <pc:docMk/>
            <pc:sldMk cId="1881582963" sldId="1332"/>
            <ac:cxnSpMk id="95" creationId="{52EF4124-B645-4592-82BB-C611225807D1}"/>
          </ac:cxnSpMkLst>
        </pc:cxnChg>
        <pc:cxnChg chg="del mod">
          <ac:chgData name="Ieva Dzene" userId="36e850b3-6b13-42b6-8b78-9778956e69b6" providerId="ADAL" clId="{61E5150D-5ED8-4F64-9DB9-E2770C8769C8}" dt="2021-11-08T15:45:57.136" v="5740" actId="478"/>
          <ac:cxnSpMkLst>
            <pc:docMk/>
            <pc:sldMk cId="1881582963" sldId="1332"/>
            <ac:cxnSpMk id="105" creationId="{F4D0B576-3200-436F-8A28-CBA161464E0D}"/>
          </ac:cxnSpMkLst>
        </pc:cxnChg>
      </pc:sldChg>
      <pc:sldChg chg="addSp delSp modSp add mod">
        <pc:chgData name="Ieva Dzene" userId="36e850b3-6b13-42b6-8b78-9778956e69b6" providerId="ADAL" clId="{61E5150D-5ED8-4F64-9DB9-E2770C8769C8}" dt="2021-11-09T14:12:06.863" v="6826" actId="20577"/>
        <pc:sldMkLst>
          <pc:docMk/>
          <pc:sldMk cId="1262755752" sldId="1333"/>
        </pc:sldMkLst>
        <pc:spChg chg="mod">
          <ac:chgData name="Ieva Dzene" userId="36e850b3-6b13-42b6-8b78-9778956e69b6" providerId="ADAL" clId="{61E5150D-5ED8-4F64-9DB9-E2770C8769C8}" dt="2021-11-09T14:12:06.863" v="6826" actId="20577"/>
          <ac:spMkLst>
            <pc:docMk/>
            <pc:sldMk cId="1262755752" sldId="1333"/>
            <ac:spMk id="4" creationId="{DADD9E0F-ED1C-4F82-BD9D-F0239A2E7022}"/>
          </ac:spMkLst>
        </pc:spChg>
        <pc:spChg chg="mod">
          <ac:chgData name="Ieva Dzene" userId="36e850b3-6b13-42b6-8b78-9778956e69b6" providerId="ADAL" clId="{61E5150D-5ED8-4F64-9DB9-E2770C8769C8}" dt="2021-11-08T16:27:08.190" v="6472" actId="1076"/>
          <ac:spMkLst>
            <pc:docMk/>
            <pc:sldMk cId="1262755752" sldId="1333"/>
            <ac:spMk id="5" creationId="{330BF89E-CCF6-454D-9595-233E95E51A24}"/>
          </ac:spMkLst>
        </pc:spChg>
        <pc:spChg chg="del">
          <ac:chgData name="Ieva Dzene" userId="36e850b3-6b13-42b6-8b78-9778956e69b6" providerId="ADAL" clId="{61E5150D-5ED8-4F64-9DB9-E2770C8769C8}" dt="2021-11-08T16:13:00.883" v="6256" actId="478"/>
          <ac:spMkLst>
            <pc:docMk/>
            <pc:sldMk cId="1262755752" sldId="1333"/>
            <ac:spMk id="17" creationId="{DEDF0172-92F5-4A2C-AB3C-6B6D1B0E59CE}"/>
          </ac:spMkLst>
        </pc:spChg>
        <pc:spChg chg="del">
          <ac:chgData name="Ieva Dzene" userId="36e850b3-6b13-42b6-8b78-9778956e69b6" providerId="ADAL" clId="{61E5150D-5ED8-4F64-9DB9-E2770C8769C8}" dt="2021-11-08T16:12:58.881" v="6255" actId="478"/>
          <ac:spMkLst>
            <pc:docMk/>
            <pc:sldMk cId="1262755752" sldId="1333"/>
            <ac:spMk id="22" creationId="{38724302-9537-4436-BE71-4E03214DF0E3}"/>
          </ac:spMkLst>
        </pc:spChg>
        <pc:spChg chg="del mod">
          <ac:chgData name="Ieva Dzene" userId="36e850b3-6b13-42b6-8b78-9778956e69b6" providerId="ADAL" clId="{61E5150D-5ED8-4F64-9DB9-E2770C8769C8}" dt="2021-11-08T16:12:54.442" v="6253" actId="478"/>
          <ac:spMkLst>
            <pc:docMk/>
            <pc:sldMk cId="1262755752" sldId="1333"/>
            <ac:spMk id="29" creationId="{59F01D03-06BE-4275-8301-B3A0E931BFF6}"/>
          </ac:spMkLst>
        </pc:spChg>
        <pc:spChg chg="mod">
          <ac:chgData name="Ieva Dzene" userId="36e850b3-6b13-42b6-8b78-9778956e69b6" providerId="ADAL" clId="{61E5150D-5ED8-4F64-9DB9-E2770C8769C8}" dt="2021-11-08T16:27:08.190" v="6472" actId="1076"/>
          <ac:spMkLst>
            <pc:docMk/>
            <pc:sldMk cId="1262755752" sldId="1333"/>
            <ac:spMk id="46" creationId="{0F4E37C0-9CBB-49E6-9E4C-F23750A45287}"/>
          </ac:spMkLst>
        </pc:spChg>
        <pc:spChg chg="del mod">
          <ac:chgData name="Ieva Dzene" userId="36e850b3-6b13-42b6-8b78-9778956e69b6" providerId="ADAL" clId="{61E5150D-5ED8-4F64-9DB9-E2770C8769C8}" dt="2021-11-08T16:15:25.725" v="6439" actId="478"/>
          <ac:spMkLst>
            <pc:docMk/>
            <pc:sldMk cId="1262755752" sldId="1333"/>
            <ac:spMk id="50" creationId="{6D65CDE5-E83B-47BB-B8DE-502412BD2202}"/>
          </ac:spMkLst>
        </pc:spChg>
        <pc:spChg chg="del">
          <ac:chgData name="Ieva Dzene" userId="36e850b3-6b13-42b6-8b78-9778956e69b6" providerId="ADAL" clId="{61E5150D-5ED8-4F64-9DB9-E2770C8769C8}" dt="2021-11-08T16:15:28.604" v="6441" actId="478"/>
          <ac:spMkLst>
            <pc:docMk/>
            <pc:sldMk cId="1262755752" sldId="1333"/>
            <ac:spMk id="52" creationId="{7A144B66-8198-4E51-A363-32DBA82D3F4C}"/>
          </ac:spMkLst>
        </pc:spChg>
        <pc:spChg chg="mod">
          <ac:chgData name="Ieva Dzene" userId="36e850b3-6b13-42b6-8b78-9778956e69b6" providerId="ADAL" clId="{61E5150D-5ED8-4F64-9DB9-E2770C8769C8}" dt="2021-11-09T14:07:40.669" v="6763" actId="20577"/>
          <ac:spMkLst>
            <pc:docMk/>
            <pc:sldMk cId="1262755752" sldId="1333"/>
            <ac:spMk id="67" creationId="{2C45D741-938D-437E-B004-8FC3E016AAD2}"/>
          </ac:spMkLst>
        </pc:spChg>
        <pc:spChg chg="mod">
          <ac:chgData name="Ieva Dzene" userId="36e850b3-6b13-42b6-8b78-9778956e69b6" providerId="ADAL" clId="{61E5150D-5ED8-4F64-9DB9-E2770C8769C8}" dt="2021-11-09T14:11:40.583" v="6771" actId="1076"/>
          <ac:spMkLst>
            <pc:docMk/>
            <pc:sldMk cId="1262755752" sldId="1333"/>
            <ac:spMk id="68" creationId="{43530EBD-0B8D-4A35-A653-7EC71BB326E8}"/>
          </ac:spMkLst>
        </pc:spChg>
        <pc:spChg chg="mod">
          <ac:chgData name="Ieva Dzene" userId="36e850b3-6b13-42b6-8b78-9778956e69b6" providerId="ADAL" clId="{61E5150D-5ED8-4F64-9DB9-E2770C8769C8}" dt="2021-11-09T14:07:22.671" v="6742" actId="20577"/>
          <ac:spMkLst>
            <pc:docMk/>
            <pc:sldMk cId="1262755752" sldId="1333"/>
            <ac:spMk id="93" creationId="{1D2FB84E-A477-4E7D-9F6A-AEB247CBA51C}"/>
          </ac:spMkLst>
        </pc:spChg>
        <pc:spChg chg="mod">
          <ac:chgData name="Ieva Dzene" userId="36e850b3-6b13-42b6-8b78-9778956e69b6" providerId="ADAL" clId="{61E5150D-5ED8-4F64-9DB9-E2770C8769C8}" dt="2021-11-09T14:07:29.137" v="6743" actId="20577"/>
          <ac:spMkLst>
            <pc:docMk/>
            <pc:sldMk cId="1262755752" sldId="1333"/>
            <ac:spMk id="94" creationId="{0E58DF0B-847A-4D38-ABC7-F754B6382F8F}"/>
          </ac:spMkLst>
        </pc:spChg>
        <pc:picChg chg="add mod">
          <ac:chgData name="Ieva Dzene" userId="36e850b3-6b13-42b6-8b78-9778956e69b6" providerId="ADAL" clId="{61E5150D-5ED8-4F64-9DB9-E2770C8769C8}" dt="2021-11-08T16:28:17.731" v="6478" actId="14100"/>
          <ac:picMkLst>
            <pc:docMk/>
            <pc:sldMk cId="1262755752" sldId="1333"/>
            <ac:picMk id="3" creationId="{090ED8F2-E590-4ECE-ABDD-F8586EEEA900}"/>
          </ac:picMkLst>
        </pc:picChg>
        <pc:picChg chg="add del mod">
          <ac:chgData name="Ieva Dzene" userId="36e850b3-6b13-42b6-8b78-9778956e69b6" providerId="ADAL" clId="{61E5150D-5ED8-4F64-9DB9-E2770C8769C8}" dt="2021-11-09T14:11:22.295" v="6764" actId="478"/>
          <ac:picMkLst>
            <pc:docMk/>
            <pc:sldMk cId="1262755752" sldId="1333"/>
            <ac:picMk id="7" creationId="{E95D229F-7367-4407-8B40-A2ABABBAB50F}"/>
          </ac:picMkLst>
        </pc:picChg>
        <pc:picChg chg="add mod">
          <ac:chgData name="Ieva Dzene" userId="36e850b3-6b13-42b6-8b78-9778956e69b6" providerId="ADAL" clId="{61E5150D-5ED8-4F64-9DB9-E2770C8769C8}" dt="2021-11-09T14:11:32.943" v="6769" actId="108"/>
          <ac:picMkLst>
            <pc:docMk/>
            <pc:sldMk cId="1262755752" sldId="1333"/>
            <ac:picMk id="8" creationId="{35AEF1AB-02D7-4F05-A5F8-3818E5557199}"/>
          </ac:picMkLst>
        </pc:picChg>
        <pc:cxnChg chg="mod">
          <ac:chgData name="Ieva Dzene" userId="36e850b3-6b13-42b6-8b78-9778956e69b6" providerId="ADAL" clId="{61E5150D-5ED8-4F64-9DB9-E2770C8769C8}" dt="2021-11-08T16:27:08.190" v="6472" actId="1076"/>
          <ac:cxnSpMkLst>
            <pc:docMk/>
            <pc:sldMk cId="1262755752" sldId="1333"/>
            <ac:cxnSpMk id="31" creationId="{6DA9AA30-B025-4A1B-BBDC-FD5A468FADEE}"/>
          </ac:cxnSpMkLst>
        </pc:cxnChg>
        <pc:cxnChg chg="mod">
          <ac:chgData name="Ieva Dzene" userId="36e850b3-6b13-42b6-8b78-9778956e69b6" providerId="ADAL" clId="{61E5150D-5ED8-4F64-9DB9-E2770C8769C8}" dt="2021-11-08T16:27:08.190" v="6472" actId="1076"/>
          <ac:cxnSpMkLst>
            <pc:docMk/>
            <pc:sldMk cId="1262755752" sldId="1333"/>
            <ac:cxnSpMk id="33" creationId="{ACAFDE0D-AE2C-43C9-9B38-7345314882FC}"/>
          </ac:cxnSpMkLst>
        </pc:cxnChg>
        <pc:cxnChg chg="mod">
          <ac:chgData name="Ieva Dzene" userId="36e850b3-6b13-42b6-8b78-9778956e69b6" providerId="ADAL" clId="{61E5150D-5ED8-4F64-9DB9-E2770C8769C8}" dt="2021-11-08T16:27:08.190" v="6472" actId="1076"/>
          <ac:cxnSpMkLst>
            <pc:docMk/>
            <pc:sldMk cId="1262755752" sldId="1333"/>
            <ac:cxnSpMk id="34" creationId="{BE90EB05-D158-43D7-9688-FFB3AE1B316C}"/>
          </ac:cxnSpMkLst>
        </pc:cxnChg>
        <pc:cxnChg chg="del">
          <ac:chgData name="Ieva Dzene" userId="36e850b3-6b13-42b6-8b78-9778956e69b6" providerId="ADAL" clId="{61E5150D-5ED8-4F64-9DB9-E2770C8769C8}" dt="2021-11-08T16:15:27.218" v="6440" actId="478"/>
          <ac:cxnSpMkLst>
            <pc:docMk/>
            <pc:sldMk cId="1262755752" sldId="1333"/>
            <ac:cxnSpMk id="38" creationId="{D2572C6C-9920-44CC-8D69-4EBAE63650F5}"/>
          </ac:cxnSpMkLst>
        </pc:cxnChg>
        <pc:cxnChg chg="del">
          <ac:chgData name="Ieva Dzene" userId="36e850b3-6b13-42b6-8b78-9778956e69b6" providerId="ADAL" clId="{61E5150D-5ED8-4F64-9DB9-E2770C8769C8}" dt="2021-11-08T16:15:29.721" v="6442" actId="478"/>
          <ac:cxnSpMkLst>
            <pc:docMk/>
            <pc:sldMk cId="1262755752" sldId="1333"/>
            <ac:cxnSpMk id="43" creationId="{E73FB2AC-41C7-4252-9923-1C3C142ADA8C}"/>
          </ac:cxnSpMkLst>
        </pc:cxnChg>
        <pc:cxnChg chg="del mod">
          <ac:chgData name="Ieva Dzene" userId="36e850b3-6b13-42b6-8b78-9778956e69b6" providerId="ADAL" clId="{61E5150D-5ED8-4F64-9DB9-E2770C8769C8}" dt="2021-11-08T16:13:02.363" v="6257" actId="478"/>
          <ac:cxnSpMkLst>
            <pc:docMk/>
            <pc:sldMk cId="1262755752" sldId="1333"/>
            <ac:cxnSpMk id="47" creationId="{CBD8DE33-4E29-4238-AF0B-F9AA88865380}"/>
          </ac:cxnSpMkLst>
        </pc:cxnChg>
        <pc:cxnChg chg="del mod">
          <ac:chgData name="Ieva Dzene" userId="36e850b3-6b13-42b6-8b78-9778956e69b6" providerId="ADAL" clId="{61E5150D-5ED8-4F64-9DB9-E2770C8769C8}" dt="2021-11-08T16:12:55.780" v="6254" actId="478"/>
          <ac:cxnSpMkLst>
            <pc:docMk/>
            <pc:sldMk cId="1262755752" sldId="1333"/>
            <ac:cxnSpMk id="49" creationId="{86081F27-D347-4403-A04E-C19C3DB869F4}"/>
          </ac:cxnSpMkLst>
        </pc:cxnChg>
        <pc:cxnChg chg="mod">
          <ac:chgData name="Ieva Dzene" userId="36e850b3-6b13-42b6-8b78-9778956e69b6" providerId="ADAL" clId="{61E5150D-5ED8-4F64-9DB9-E2770C8769C8}" dt="2021-11-08T16:27:08.190" v="6472" actId="1076"/>
          <ac:cxnSpMkLst>
            <pc:docMk/>
            <pc:sldMk cId="1262755752" sldId="1333"/>
            <ac:cxnSpMk id="95" creationId="{52EF4124-B645-4592-82BB-C611225807D1}"/>
          </ac:cxnSpMkLst>
        </pc:cxnChg>
        <pc:cxnChg chg="mod">
          <ac:chgData name="Ieva Dzene" userId="36e850b3-6b13-42b6-8b78-9778956e69b6" providerId="ADAL" clId="{61E5150D-5ED8-4F64-9DB9-E2770C8769C8}" dt="2021-11-09T14:11:40.583" v="6771" actId="1076"/>
          <ac:cxnSpMkLst>
            <pc:docMk/>
            <pc:sldMk cId="1262755752" sldId="1333"/>
            <ac:cxnSpMk id="105" creationId="{F4D0B576-3200-436F-8A28-CBA161464E0D}"/>
          </ac:cxnSpMkLst>
        </pc:cxnChg>
      </pc:sldChg>
      <pc:sldChg chg="addSp delSp modSp add mod">
        <pc:chgData name="Ieva Dzene" userId="36e850b3-6b13-42b6-8b78-9778956e69b6" providerId="ADAL" clId="{61E5150D-5ED8-4F64-9DB9-E2770C8769C8}" dt="2021-11-10T16:07:40.236" v="6837" actId="33524"/>
        <pc:sldMkLst>
          <pc:docMk/>
          <pc:sldMk cId="3675187856" sldId="1334"/>
        </pc:sldMkLst>
        <pc:spChg chg="mod">
          <ac:chgData name="Ieva Dzene" userId="36e850b3-6b13-42b6-8b78-9778956e69b6" providerId="ADAL" clId="{61E5150D-5ED8-4F64-9DB9-E2770C8769C8}" dt="2021-11-09T13:32:56.315" v="6641" actId="20577"/>
          <ac:spMkLst>
            <pc:docMk/>
            <pc:sldMk cId="3675187856" sldId="1334"/>
            <ac:spMk id="3" creationId="{6466603B-FAD5-41A7-B578-03DB8535B9DD}"/>
          </ac:spMkLst>
        </pc:spChg>
        <pc:spChg chg="add del mod">
          <ac:chgData name="Ieva Dzene" userId="36e850b3-6b13-42b6-8b78-9778956e69b6" providerId="ADAL" clId="{61E5150D-5ED8-4F64-9DB9-E2770C8769C8}" dt="2021-11-09T13:35:27.585" v="6661"/>
          <ac:spMkLst>
            <pc:docMk/>
            <pc:sldMk cId="3675187856" sldId="1334"/>
            <ac:spMk id="6" creationId="{3EDE3270-77CB-4838-8241-DC3A39689E07}"/>
          </ac:spMkLst>
        </pc:spChg>
        <pc:spChg chg="add mod">
          <ac:chgData name="Ieva Dzene" userId="36e850b3-6b13-42b6-8b78-9778956e69b6" providerId="ADAL" clId="{61E5150D-5ED8-4F64-9DB9-E2770C8769C8}" dt="2021-11-10T16:07:40.236" v="6837" actId="33524"/>
          <ac:spMkLst>
            <pc:docMk/>
            <pc:sldMk cId="3675187856" sldId="1334"/>
            <ac:spMk id="9" creationId="{E6360243-713F-4ABB-B395-AF05DB085731}"/>
          </ac:spMkLst>
        </pc:spChg>
        <pc:graphicFrameChg chg="add del mod">
          <ac:chgData name="Ieva Dzene" userId="36e850b3-6b13-42b6-8b78-9778956e69b6" providerId="ADAL" clId="{61E5150D-5ED8-4F64-9DB9-E2770C8769C8}" dt="2021-11-09T13:34:11.333" v="6644" actId="478"/>
          <ac:graphicFrameMkLst>
            <pc:docMk/>
            <pc:sldMk cId="3675187856" sldId="1334"/>
            <ac:graphicFrameMk id="2" creationId="{1A5838EA-7F63-4365-A558-9713C8DAEF96}"/>
          </ac:graphicFrameMkLst>
        </pc:graphicFrameChg>
        <pc:graphicFrameChg chg="add mod modGraphic">
          <ac:chgData name="Ieva Dzene" userId="36e850b3-6b13-42b6-8b78-9778956e69b6" providerId="ADAL" clId="{61E5150D-5ED8-4F64-9DB9-E2770C8769C8}" dt="2021-11-09T14:18:11.750" v="6828" actId="1076"/>
          <ac:graphicFrameMkLst>
            <pc:docMk/>
            <pc:sldMk cId="3675187856" sldId="1334"/>
            <ac:graphicFrameMk id="5" creationId="{C8722597-31F8-46AC-9E79-7BA3E1EDF9B6}"/>
          </ac:graphicFrameMkLst>
        </pc:graphicFrameChg>
        <pc:graphicFrameChg chg="add del mod">
          <ac:chgData name="Ieva Dzene" userId="36e850b3-6b13-42b6-8b78-9778956e69b6" providerId="ADAL" clId="{61E5150D-5ED8-4F64-9DB9-E2770C8769C8}" dt="2021-11-09T13:35:27.584" v="6659"/>
          <ac:graphicFrameMkLst>
            <pc:docMk/>
            <pc:sldMk cId="3675187856" sldId="1334"/>
            <ac:graphicFrameMk id="8" creationId="{E9658835-B4F6-4F59-B12D-A58F108BCE7E}"/>
          </ac:graphicFrameMkLst>
        </pc:graphicFrameChg>
        <pc:picChg chg="del">
          <ac:chgData name="Ieva Dzene" userId="36e850b3-6b13-42b6-8b78-9778956e69b6" providerId="ADAL" clId="{61E5150D-5ED8-4F64-9DB9-E2770C8769C8}" dt="2021-11-09T13:32:45.330" v="6639" actId="478"/>
          <ac:picMkLst>
            <pc:docMk/>
            <pc:sldMk cId="3675187856" sldId="1334"/>
            <ac:picMk id="7" creationId="{E027D974-07A3-4FB0-BFA0-242274904A7D}"/>
          </ac:picMkLst>
        </pc:picChg>
      </pc:sldChg>
      <pc:sldChg chg="delSp modSp add del mod">
        <pc:chgData name="Ieva Dzene" userId="36e850b3-6b13-42b6-8b78-9778956e69b6" providerId="ADAL" clId="{61E5150D-5ED8-4F64-9DB9-E2770C8769C8}" dt="2021-11-10T14:44:53.598" v="6834" actId="2696"/>
        <pc:sldMkLst>
          <pc:docMk/>
          <pc:sldMk cId="1446816797" sldId="1335"/>
        </pc:sldMkLst>
        <pc:spChg chg="mod">
          <ac:chgData name="Ieva Dzene" userId="36e850b3-6b13-42b6-8b78-9778956e69b6" providerId="ADAL" clId="{61E5150D-5ED8-4F64-9DB9-E2770C8769C8}" dt="2021-11-10T14:44:20.214" v="6833" actId="14100"/>
          <ac:spMkLst>
            <pc:docMk/>
            <pc:sldMk cId="1446816797" sldId="1335"/>
            <ac:spMk id="68" creationId="{43530EBD-0B8D-4A35-A653-7EC71BB326E8}"/>
          </ac:spMkLst>
        </pc:spChg>
        <pc:picChg chg="del">
          <ac:chgData name="Ieva Dzene" userId="36e850b3-6b13-42b6-8b78-9778956e69b6" providerId="ADAL" clId="{61E5150D-5ED8-4F64-9DB9-E2770C8769C8}" dt="2021-11-10T14:43:58.972" v="6831" actId="478"/>
          <ac:picMkLst>
            <pc:docMk/>
            <pc:sldMk cId="1446816797" sldId="1335"/>
            <ac:picMk id="3" creationId="{090ED8F2-E590-4ECE-ABDD-F8586EEEA900}"/>
          </ac:picMkLst>
        </pc:picChg>
        <pc:picChg chg="del">
          <ac:chgData name="Ieva Dzene" userId="36e850b3-6b13-42b6-8b78-9778956e69b6" providerId="ADAL" clId="{61E5150D-5ED8-4F64-9DB9-E2770C8769C8}" dt="2021-11-10T14:43:59.846" v="6832" actId="478"/>
          <ac:picMkLst>
            <pc:docMk/>
            <pc:sldMk cId="1446816797" sldId="1335"/>
            <ac:picMk id="8" creationId="{35AEF1AB-02D7-4F05-A5F8-3818E5557199}"/>
          </ac:picMkLst>
        </pc:picChg>
        <pc:cxnChg chg="mod">
          <ac:chgData name="Ieva Dzene" userId="36e850b3-6b13-42b6-8b78-9778956e69b6" providerId="ADAL" clId="{61E5150D-5ED8-4F64-9DB9-E2770C8769C8}" dt="2021-11-10T14:44:20.214" v="6833" actId="14100"/>
          <ac:cxnSpMkLst>
            <pc:docMk/>
            <pc:sldMk cId="1446816797" sldId="1335"/>
            <ac:cxnSpMk id="105" creationId="{F4D0B576-3200-436F-8A28-CBA161464E0D}"/>
          </ac:cxnSpMkLst>
        </pc:cxnChg>
      </pc:sldChg>
    </pc:docChg>
  </pc:docChgLst>
  <pc:docChgLst>
    <pc:chgData name="Céline Felber" userId="03e6e5e3-26bd-4d3d-a86c-4e25438b18a3" providerId="ADAL" clId="{3B7D8928-1B72-43EA-8F6B-C5A0D1E64CA3}"/>
    <pc:docChg chg="undo custSel modSld">
      <pc:chgData name="Céline Felber" userId="03e6e5e3-26bd-4d3d-a86c-4e25438b18a3" providerId="ADAL" clId="{3B7D8928-1B72-43EA-8F6B-C5A0D1E64CA3}" dt="2021-06-21T12:47:38.602" v="98" actId="20577"/>
      <pc:docMkLst>
        <pc:docMk/>
      </pc:docMkLst>
      <pc:sldChg chg="addSp delSp modSp mod">
        <pc:chgData name="Céline Felber" userId="03e6e5e3-26bd-4d3d-a86c-4e25438b18a3" providerId="ADAL" clId="{3B7D8928-1B72-43EA-8F6B-C5A0D1E64CA3}" dt="2021-06-21T12:34:17.310" v="7" actId="14100"/>
        <pc:sldMkLst>
          <pc:docMk/>
          <pc:sldMk cId="2851628216" sldId="1201"/>
        </pc:sldMkLst>
        <pc:picChg chg="del">
          <ac:chgData name="Céline Felber" userId="03e6e5e3-26bd-4d3d-a86c-4e25438b18a3" providerId="ADAL" clId="{3B7D8928-1B72-43EA-8F6B-C5A0D1E64CA3}" dt="2021-06-21T12:34:11.279" v="6" actId="478"/>
          <ac:picMkLst>
            <pc:docMk/>
            <pc:sldMk cId="2851628216" sldId="1201"/>
            <ac:picMk id="4" creationId="{5E9F3026-F7D1-49AF-85C7-913C9BAE9773}"/>
          </ac:picMkLst>
        </pc:picChg>
        <pc:picChg chg="add mod ord">
          <ac:chgData name="Céline Felber" userId="03e6e5e3-26bd-4d3d-a86c-4e25438b18a3" providerId="ADAL" clId="{3B7D8928-1B72-43EA-8F6B-C5A0D1E64CA3}" dt="2021-06-21T12:34:17.310" v="7" actId="14100"/>
          <ac:picMkLst>
            <pc:docMk/>
            <pc:sldMk cId="2851628216" sldId="1201"/>
            <ac:picMk id="5" creationId="{85A38E9E-B011-4550-8368-B3263EF4A52B}"/>
          </ac:picMkLst>
        </pc:picChg>
      </pc:sldChg>
      <pc:sldChg chg="addSp delSp modSp mod">
        <pc:chgData name="Céline Felber" userId="03e6e5e3-26bd-4d3d-a86c-4e25438b18a3" providerId="ADAL" clId="{3B7D8928-1B72-43EA-8F6B-C5A0D1E64CA3}" dt="2021-06-21T12:47:38.602" v="98" actId="20577"/>
        <pc:sldMkLst>
          <pc:docMk/>
          <pc:sldMk cId="3770443279" sldId="1202"/>
        </pc:sldMkLst>
        <pc:spChg chg="add mod">
          <ac:chgData name="Céline Felber" userId="03e6e5e3-26bd-4d3d-a86c-4e25438b18a3" providerId="ADAL" clId="{3B7D8928-1B72-43EA-8F6B-C5A0D1E64CA3}" dt="2021-06-21T12:39:24.237" v="44" actId="20577"/>
          <ac:spMkLst>
            <pc:docMk/>
            <pc:sldMk cId="3770443279" sldId="1202"/>
            <ac:spMk id="18" creationId="{91442355-C9D6-404E-A7C8-290941CAE46B}"/>
          </ac:spMkLst>
        </pc:spChg>
        <pc:spChg chg="mod">
          <ac:chgData name="Céline Felber" userId="03e6e5e3-26bd-4d3d-a86c-4e25438b18a3" providerId="ADAL" clId="{3B7D8928-1B72-43EA-8F6B-C5A0D1E64CA3}" dt="2021-06-21T12:38:13.879" v="23" actId="14100"/>
          <ac:spMkLst>
            <pc:docMk/>
            <pc:sldMk cId="3770443279" sldId="1202"/>
            <ac:spMk id="20" creationId="{0DC09DFE-62F0-45BE-A039-1EBA0EBE6667}"/>
          </ac:spMkLst>
        </pc:spChg>
        <pc:spChg chg="mod">
          <ac:chgData name="Céline Felber" userId="03e6e5e3-26bd-4d3d-a86c-4e25438b18a3" providerId="ADAL" clId="{3B7D8928-1B72-43EA-8F6B-C5A0D1E64CA3}" dt="2021-06-21T12:38:29.078" v="24" actId="14100"/>
          <ac:spMkLst>
            <pc:docMk/>
            <pc:sldMk cId="3770443279" sldId="1202"/>
            <ac:spMk id="21" creationId="{DB60116E-2639-4648-AC2D-350224FEDB21}"/>
          </ac:spMkLst>
        </pc:spChg>
        <pc:spChg chg="mod">
          <ac:chgData name="Céline Felber" userId="03e6e5e3-26bd-4d3d-a86c-4e25438b18a3" providerId="ADAL" clId="{3B7D8928-1B72-43EA-8F6B-C5A0D1E64CA3}" dt="2021-06-21T12:38:36.144" v="25" actId="14100"/>
          <ac:spMkLst>
            <pc:docMk/>
            <pc:sldMk cId="3770443279" sldId="1202"/>
            <ac:spMk id="26" creationId="{B97AB44A-0208-46AC-B2A4-A9FDFE1E3BC5}"/>
          </ac:spMkLst>
        </pc:spChg>
        <pc:spChg chg="del mod">
          <ac:chgData name="Céline Felber" userId="03e6e5e3-26bd-4d3d-a86c-4e25438b18a3" providerId="ADAL" clId="{3B7D8928-1B72-43EA-8F6B-C5A0D1E64CA3}" dt="2021-06-21T12:39:10.567" v="34" actId="478"/>
          <ac:spMkLst>
            <pc:docMk/>
            <pc:sldMk cId="3770443279" sldId="1202"/>
            <ac:spMk id="27" creationId="{692CA4CE-9CFE-4CC9-9E2B-B5C6DAC0145F}"/>
          </ac:spMkLst>
        </pc:spChg>
        <pc:spChg chg="mod">
          <ac:chgData name="Céline Felber" userId="03e6e5e3-26bd-4d3d-a86c-4e25438b18a3" providerId="ADAL" clId="{3B7D8928-1B72-43EA-8F6B-C5A0D1E64CA3}" dt="2021-06-21T12:38:39.541" v="26" actId="14100"/>
          <ac:spMkLst>
            <pc:docMk/>
            <pc:sldMk cId="3770443279" sldId="1202"/>
            <ac:spMk id="28" creationId="{604B9680-9ADD-4FE2-BC05-3EDFE00C4114}"/>
          </ac:spMkLst>
        </pc:spChg>
        <pc:spChg chg="del mod">
          <ac:chgData name="Céline Felber" userId="03e6e5e3-26bd-4d3d-a86c-4e25438b18a3" providerId="ADAL" clId="{3B7D8928-1B72-43EA-8F6B-C5A0D1E64CA3}" dt="2021-06-21T12:39:12.659" v="35" actId="478"/>
          <ac:spMkLst>
            <pc:docMk/>
            <pc:sldMk cId="3770443279" sldId="1202"/>
            <ac:spMk id="29" creationId="{0514FD43-50FD-4E50-A49E-60AD1DC2F06C}"/>
          </ac:spMkLst>
        </pc:spChg>
        <pc:spChg chg="mod">
          <ac:chgData name="Céline Felber" userId="03e6e5e3-26bd-4d3d-a86c-4e25438b18a3" providerId="ADAL" clId="{3B7D8928-1B72-43EA-8F6B-C5A0D1E64CA3}" dt="2021-06-21T12:47:38.602" v="98" actId="20577"/>
          <ac:spMkLst>
            <pc:docMk/>
            <pc:sldMk cId="3770443279" sldId="1202"/>
            <ac:spMk id="30" creationId="{2E3BCBA8-CEF6-459B-B4AB-074516A6038D}"/>
          </ac:spMkLst>
        </pc:spChg>
      </pc:sldChg>
    </pc:docChg>
  </pc:docChgLst>
  <pc:docChgLst>
    <pc:chgData name="Marion Spizzo" userId="43054aff-b319-44f0-be2a-97a1d91f7302" providerId="ADAL" clId="{8A7912C6-13C2-4518-89F2-8903BE8E1200}"/>
    <pc:docChg chg="custSel modMainMaster">
      <pc:chgData name="Marion Spizzo" userId="43054aff-b319-44f0-be2a-97a1d91f7302" providerId="ADAL" clId="{8A7912C6-13C2-4518-89F2-8903BE8E1200}" dt="2021-06-18T13:03:46.661" v="27"/>
      <pc:docMkLst>
        <pc:docMk/>
      </pc:docMkLst>
      <pc:sldMasterChg chg="addSp delSp modSp mod modSldLayout">
        <pc:chgData name="Marion Spizzo" userId="43054aff-b319-44f0-be2a-97a1d91f7302" providerId="ADAL" clId="{8A7912C6-13C2-4518-89F2-8903BE8E1200}" dt="2021-06-18T13:03:46.661" v="27"/>
        <pc:sldMasterMkLst>
          <pc:docMk/>
          <pc:sldMasterMk cId="2165569194" sldId="2147483886"/>
        </pc:sldMasterMkLst>
        <pc:spChg chg="mod">
          <ac:chgData name="Marion Spizzo" userId="43054aff-b319-44f0-be2a-97a1d91f7302" providerId="ADAL" clId="{8A7912C6-13C2-4518-89F2-8903BE8E1200}" dt="2021-06-18T13:03:28.475" v="25"/>
          <ac:spMkLst>
            <pc:docMk/>
            <pc:sldMasterMk cId="2165569194" sldId="2147483886"/>
            <ac:spMk id="16" creationId="{AB826EA0-BB3B-4B29-A086-9CD26EDFECBF}"/>
          </ac:spMkLst>
        </pc:spChg>
        <pc:picChg chg="del">
          <ac:chgData name="Marion Spizzo" userId="43054aff-b319-44f0-be2a-97a1d91f7302" providerId="ADAL" clId="{8A7912C6-13C2-4518-89F2-8903BE8E1200}" dt="2021-06-18T13:02:45.970" v="19" actId="478"/>
          <ac:picMkLst>
            <pc:docMk/>
            <pc:sldMasterMk cId="2165569194" sldId="2147483886"/>
            <ac:picMk id="7" creationId="{A0DD9C57-B09E-4BF9-B724-194E931D9715}"/>
          </ac:picMkLst>
        </pc:picChg>
        <pc:picChg chg="add mod">
          <ac:chgData name="Marion Spizzo" userId="43054aff-b319-44f0-be2a-97a1d91f7302" providerId="ADAL" clId="{8A7912C6-13C2-4518-89F2-8903BE8E1200}" dt="2021-06-18T13:03:16.582" v="24" actId="1076"/>
          <ac:picMkLst>
            <pc:docMk/>
            <pc:sldMasterMk cId="2165569194" sldId="2147483886"/>
            <ac:picMk id="13" creationId="{57ECC066-E305-45A6-8DA1-AC7DCE6994D5}"/>
          </ac:picMkLst>
        </pc:picChg>
        <pc:sldLayoutChg chg="addSp delSp modSp mod">
          <pc:chgData name="Marion Spizzo" userId="43054aff-b319-44f0-be2a-97a1d91f7302" providerId="ADAL" clId="{8A7912C6-13C2-4518-89F2-8903BE8E1200}" dt="2021-06-18T13:02:28.934" v="14"/>
          <pc:sldLayoutMkLst>
            <pc:docMk/>
            <pc:sldMasterMk cId="2165569194" sldId="2147483886"/>
            <pc:sldLayoutMk cId="2897666751" sldId="2147483904"/>
          </pc:sldLayoutMkLst>
          <pc:picChg chg="del">
            <ac:chgData name="Marion Spizzo" userId="43054aff-b319-44f0-be2a-97a1d91f7302" providerId="ADAL" clId="{8A7912C6-13C2-4518-89F2-8903BE8E1200}" dt="2021-06-18T13:01:28.466" v="0" actId="478"/>
            <ac:picMkLst>
              <pc:docMk/>
              <pc:sldMasterMk cId="2165569194" sldId="2147483886"/>
              <pc:sldLayoutMk cId="2897666751" sldId="2147483904"/>
              <ac:picMk id="10" creationId="{24D12358-61E0-4D00-9253-FE252B52D24C}"/>
            </ac:picMkLst>
          </pc:picChg>
          <pc:picChg chg="add del mod">
            <ac:chgData name="Marion Spizzo" userId="43054aff-b319-44f0-be2a-97a1d91f7302" providerId="ADAL" clId="{8A7912C6-13C2-4518-89F2-8903BE8E1200}" dt="2021-06-18T13:01:30.881" v="2"/>
            <ac:picMkLst>
              <pc:docMk/>
              <pc:sldMasterMk cId="2165569194" sldId="2147483886"/>
              <pc:sldLayoutMk cId="2897666751" sldId="2147483904"/>
              <ac:picMk id="11" creationId="{5C15BA40-C439-4073-8583-A6142C6B2BA7}"/>
            </ac:picMkLst>
          </pc:picChg>
          <pc:picChg chg="add del mod">
            <ac:chgData name="Marion Spizzo" userId="43054aff-b319-44f0-be2a-97a1d91f7302" providerId="ADAL" clId="{8A7912C6-13C2-4518-89F2-8903BE8E1200}" dt="2021-06-18T13:01:41.551" v="5" actId="478"/>
            <ac:picMkLst>
              <pc:docMk/>
              <pc:sldMasterMk cId="2165569194" sldId="2147483886"/>
              <pc:sldLayoutMk cId="2897666751" sldId="2147483904"/>
              <ac:picMk id="13" creationId="{B7B41EB9-60F8-4D93-9F2E-057BD4CAE155}"/>
            </ac:picMkLst>
          </pc:picChg>
          <pc:picChg chg="add mod">
            <ac:chgData name="Marion Spizzo" userId="43054aff-b319-44f0-be2a-97a1d91f7302" providerId="ADAL" clId="{8A7912C6-13C2-4518-89F2-8903BE8E1200}" dt="2021-06-18T13:02:28.934" v="14"/>
            <ac:picMkLst>
              <pc:docMk/>
              <pc:sldMasterMk cId="2165569194" sldId="2147483886"/>
              <pc:sldLayoutMk cId="2897666751" sldId="2147483904"/>
              <ac:picMk id="14" creationId="{8A7A67EF-47EE-4807-95E6-43426F80CBF2}"/>
            </ac:picMkLst>
          </pc:picChg>
        </pc:sldLayoutChg>
        <pc:sldLayoutChg chg="addSp delSp modSp mod">
          <pc:chgData name="Marion Spizzo" userId="43054aff-b319-44f0-be2a-97a1d91f7302" providerId="ADAL" clId="{8A7912C6-13C2-4518-89F2-8903BE8E1200}" dt="2021-06-18T13:02:21.609" v="13" actId="1076"/>
          <pc:sldLayoutMkLst>
            <pc:docMk/>
            <pc:sldMasterMk cId="2165569194" sldId="2147483886"/>
            <pc:sldLayoutMk cId="425925706" sldId="2147483905"/>
          </pc:sldLayoutMkLst>
          <pc:picChg chg="del">
            <ac:chgData name="Marion Spizzo" userId="43054aff-b319-44f0-be2a-97a1d91f7302" providerId="ADAL" clId="{8A7912C6-13C2-4518-89F2-8903BE8E1200}" dt="2021-06-18T13:01:52.964" v="6" actId="478"/>
            <ac:picMkLst>
              <pc:docMk/>
              <pc:sldMasterMk cId="2165569194" sldId="2147483886"/>
              <pc:sldLayoutMk cId="425925706" sldId="2147483905"/>
              <ac:picMk id="13" creationId="{027885A8-CC57-42B3-862E-07C12BFE924D}"/>
            </ac:picMkLst>
          </pc:picChg>
          <pc:picChg chg="add mod">
            <ac:chgData name="Marion Spizzo" userId="43054aff-b319-44f0-be2a-97a1d91f7302" providerId="ADAL" clId="{8A7912C6-13C2-4518-89F2-8903BE8E1200}" dt="2021-06-18T13:02:21.609" v="13" actId="1076"/>
            <ac:picMkLst>
              <pc:docMk/>
              <pc:sldMasterMk cId="2165569194" sldId="2147483886"/>
              <pc:sldLayoutMk cId="425925706" sldId="2147483905"/>
              <ac:picMk id="14" creationId="{69AF4B20-2F3B-4BA7-8101-83E7EDB03A0C}"/>
            </ac:picMkLst>
          </pc:picChg>
        </pc:sldLayoutChg>
        <pc:sldLayoutChg chg="addSp delSp modSp mod">
          <pc:chgData name="Marion Spizzo" userId="43054aff-b319-44f0-be2a-97a1d91f7302" providerId="ADAL" clId="{8A7912C6-13C2-4518-89F2-8903BE8E1200}" dt="2021-06-18T13:02:33.286" v="16"/>
          <pc:sldLayoutMkLst>
            <pc:docMk/>
            <pc:sldMasterMk cId="2165569194" sldId="2147483886"/>
            <pc:sldLayoutMk cId="707970656" sldId="2147483906"/>
          </pc:sldLayoutMkLst>
          <pc:picChg chg="del">
            <ac:chgData name="Marion Spizzo" userId="43054aff-b319-44f0-be2a-97a1d91f7302" providerId="ADAL" clId="{8A7912C6-13C2-4518-89F2-8903BE8E1200}" dt="2021-06-18T13:02:32.914" v="15" actId="478"/>
            <ac:picMkLst>
              <pc:docMk/>
              <pc:sldMasterMk cId="2165569194" sldId="2147483886"/>
              <pc:sldLayoutMk cId="707970656" sldId="2147483906"/>
              <ac:picMk id="9" creationId="{B21DC07D-2AC6-4D9E-B6C2-86B50D5A8DFE}"/>
            </ac:picMkLst>
          </pc:picChg>
          <pc:picChg chg="add mod">
            <ac:chgData name="Marion Spizzo" userId="43054aff-b319-44f0-be2a-97a1d91f7302" providerId="ADAL" clId="{8A7912C6-13C2-4518-89F2-8903BE8E1200}" dt="2021-06-18T13:02:33.286" v="16"/>
            <ac:picMkLst>
              <pc:docMk/>
              <pc:sldMasterMk cId="2165569194" sldId="2147483886"/>
              <pc:sldLayoutMk cId="707970656" sldId="2147483906"/>
              <ac:picMk id="10" creationId="{B7B41129-DA57-4A1E-9156-7411D9552F0B}"/>
            </ac:picMkLst>
          </pc:picChg>
        </pc:sldLayoutChg>
        <pc:sldLayoutChg chg="addSp delSp modSp mod">
          <pc:chgData name="Marion Spizzo" userId="43054aff-b319-44f0-be2a-97a1d91f7302" providerId="ADAL" clId="{8A7912C6-13C2-4518-89F2-8903BE8E1200}" dt="2021-06-18T13:02:36.245" v="18"/>
          <pc:sldLayoutMkLst>
            <pc:docMk/>
            <pc:sldMasterMk cId="2165569194" sldId="2147483886"/>
            <pc:sldLayoutMk cId="3273918519" sldId="2147483907"/>
          </pc:sldLayoutMkLst>
          <pc:picChg chg="del">
            <ac:chgData name="Marion Spizzo" userId="43054aff-b319-44f0-be2a-97a1d91f7302" providerId="ADAL" clId="{8A7912C6-13C2-4518-89F2-8903BE8E1200}" dt="2021-06-18T13:02:35.892" v="17" actId="478"/>
            <ac:picMkLst>
              <pc:docMk/>
              <pc:sldMasterMk cId="2165569194" sldId="2147483886"/>
              <pc:sldLayoutMk cId="3273918519" sldId="2147483907"/>
              <ac:picMk id="11" creationId="{A190189D-9745-46BF-ADE8-CDD5676A8090}"/>
            </ac:picMkLst>
          </pc:picChg>
          <pc:picChg chg="add mod">
            <ac:chgData name="Marion Spizzo" userId="43054aff-b319-44f0-be2a-97a1d91f7302" providerId="ADAL" clId="{8A7912C6-13C2-4518-89F2-8903BE8E1200}" dt="2021-06-18T13:02:36.245" v="18"/>
            <ac:picMkLst>
              <pc:docMk/>
              <pc:sldMasterMk cId="2165569194" sldId="2147483886"/>
              <pc:sldLayoutMk cId="3273918519" sldId="2147483907"/>
              <ac:picMk id="35" creationId="{207AEB3E-87F2-4A5B-A05D-A644A606B733}"/>
            </ac:picMkLst>
          </pc:picChg>
        </pc:sldLayoutChg>
        <pc:sldLayoutChg chg="addSp delSp modSp mod">
          <pc:chgData name="Marion Spizzo" userId="43054aff-b319-44f0-be2a-97a1d91f7302" providerId="ADAL" clId="{8A7912C6-13C2-4518-89F2-8903BE8E1200}" dt="2021-06-18T13:03:46.661" v="27"/>
          <pc:sldLayoutMkLst>
            <pc:docMk/>
            <pc:sldMasterMk cId="2165569194" sldId="2147483886"/>
            <pc:sldLayoutMk cId="3781093868" sldId="2147483916"/>
          </pc:sldLayoutMkLst>
          <pc:picChg chg="del">
            <ac:chgData name="Marion Spizzo" userId="43054aff-b319-44f0-be2a-97a1d91f7302" providerId="ADAL" clId="{8A7912C6-13C2-4518-89F2-8903BE8E1200}" dt="2021-06-18T13:03:46.272" v="26" actId="478"/>
            <ac:picMkLst>
              <pc:docMk/>
              <pc:sldMasterMk cId="2165569194" sldId="2147483886"/>
              <pc:sldLayoutMk cId="3781093868" sldId="2147483916"/>
              <ac:picMk id="21" creationId="{AFDA49EA-5460-49A4-B59C-5AF68D3E06A3}"/>
            </ac:picMkLst>
          </pc:picChg>
          <pc:picChg chg="add mod">
            <ac:chgData name="Marion Spizzo" userId="43054aff-b319-44f0-be2a-97a1d91f7302" providerId="ADAL" clId="{8A7912C6-13C2-4518-89F2-8903BE8E1200}" dt="2021-06-18T13:03:46.661" v="27"/>
            <ac:picMkLst>
              <pc:docMk/>
              <pc:sldMasterMk cId="2165569194" sldId="2147483886"/>
              <pc:sldLayoutMk cId="3781093868" sldId="2147483916"/>
              <ac:picMk id="22" creationId="{76037A5D-B198-477C-82D2-07B5E6D3B795}"/>
            </ac:picMkLst>
          </pc:picChg>
        </pc:sldLayoutChg>
      </pc:sldMasterChg>
    </pc:docChg>
  </pc:docChgLst>
  <pc:docChgLst>
    <pc:chgData name="Ieva Dzene" userId="36e850b3-6b13-42b6-8b78-9778956e69b6" providerId="ADAL" clId="{8699CBCE-6ABF-40E5-82A5-86FE1EF32829}"/>
    <pc:docChg chg="undo redo custSel addSld delSld modSld modSection">
      <pc:chgData name="Ieva Dzene" userId="36e850b3-6b13-42b6-8b78-9778956e69b6" providerId="ADAL" clId="{8699CBCE-6ABF-40E5-82A5-86FE1EF32829}" dt="2021-12-13T09:47:54.474" v="3471" actId="729"/>
      <pc:docMkLst>
        <pc:docMk/>
      </pc:docMkLst>
      <pc:sldChg chg="addSp delSp modSp mod">
        <pc:chgData name="Ieva Dzene" userId="36e850b3-6b13-42b6-8b78-9778956e69b6" providerId="ADAL" clId="{8699CBCE-6ABF-40E5-82A5-86FE1EF32829}" dt="2021-12-08T09:30:16.539" v="3137" actId="732"/>
        <pc:sldMkLst>
          <pc:docMk/>
          <pc:sldMk cId="112376409" sldId="1017"/>
        </pc:sldMkLst>
        <pc:picChg chg="del">
          <ac:chgData name="Ieva Dzene" userId="36e850b3-6b13-42b6-8b78-9778956e69b6" providerId="ADAL" clId="{8699CBCE-6ABF-40E5-82A5-86FE1EF32829}" dt="2021-12-06T12:13:24.755" v="203" actId="478"/>
          <ac:picMkLst>
            <pc:docMk/>
            <pc:sldMk cId="112376409" sldId="1017"/>
            <ac:picMk id="4" creationId="{324436F6-ED3A-48EF-8E6F-65CCFAEDE538}"/>
          </ac:picMkLst>
        </pc:picChg>
        <pc:picChg chg="add mod modCrop">
          <ac:chgData name="Ieva Dzene" userId="36e850b3-6b13-42b6-8b78-9778956e69b6" providerId="ADAL" clId="{8699CBCE-6ABF-40E5-82A5-86FE1EF32829}" dt="2021-12-08T09:30:16.539" v="3137" actId="732"/>
          <ac:picMkLst>
            <pc:docMk/>
            <pc:sldMk cId="112376409" sldId="1017"/>
            <ac:picMk id="5" creationId="{187C6413-4F21-46B5-A5AF-2CEA031720A5}"/>
          </ac:picMkLst>
        </pc:picChg>
      </pc:sldChg>
      <pc:sldChg chg="addSp delSp modSp mod">
        <pc:chgData name="Ieva Dzene" userId="36e850b3-6b13-42b6-8b78-9778956e69b6" providerId="ADAL" clId="{8699CBCE-6ABF-40E5-82A5-86FE1EF32829}" dt="2021-12-08T09:59:38.231" v="3376" actId="1076"/>
        <pc:sldMkLst>
          <pc:docMk/>
          <pc:sldMk cId="3806334263" sldId="1143"/>
        </pc:sldMkLst>
        <pc:spChg chg="mod">
          <ac:chgData name="Ieva Dzene" userId="36e850b3-6b13-42b6-8b78-9778956e69b6" providerId="ADAL" clId="{8699CBCE-6ABF-40E5-82A5-86FE1EF32829}" dt="2021-12-06T16:49:31.332" v="1138" actId="1076"/>
          <ac:spMkLst>
            <pc:docMk/>
            <pc:sldMk cId="3806334263" sldId="1143"/>
            <ac:spMk id="9" creationId="{868B2F9D-8C55-49FA-A196-0D7ECA62BD26}"/>
          </ac:spMkLst>
        </pc:spChg>
        <pc:spChg chg="mod">
          <ac:chgData name="Ieva Dzene" userId="36e850b3-6b13-42b6-8b78-9778956e69b6" providerId="ADAL" clId="{8699CBCE-6ABF-40E5-82A5-86FE1EF32829}" dt="2021-12-08T09:59:38.231" v="3376" actId="1076"/>
          <ac:spMkLst>
            <pc:docMk/>
            <pc:sldMk cId="3806334263" sldId="1143"/>
            <ac:spMk id="11" creationId="{A5FC7A20-3FF3-45BC-8831-3D2655C4EBD0}"/>
          </ac:spMkLst>
        </pc:spChg>
        <pc:spChg chg="mod">
          <ac:chgData name="Ieva Dzene" userId="36e850b3-6b13-42b6-8b78-9778956e69b6" providerId="ADAL" clId="{8699CBCE-6ABF-40E5-82A5-86FE1EF32829}" dt="2021-12-08T09:59:35.044" v="3375" actId="14100"/>
          <ac:spMkLst>
            <pc:docMk/>
            <pc:sldMk cId="3806334263" sldId="1143"/>
            <ac:spMk id="12" creationId="{FD194FB1-BE8B-4AF4-B195-B5D55A93F172}"/>
          </ac:spMkLst>
        </pc:spChg>
        <pc:spChg chg="mod">
          <ac:chgData name="Ieva Dzene" userId="36e850b3-6b13-42b6-8b78-9778956e69b6" providerId="ADAL" clId="{8699CBCE-6ABF-40E5-82A5-86FE1EF32829}" dt="2021-12-06T16:49:33.450" v="1139" actId="1076"/>
          <ac:spMkLst>
            <pc:docMk/>
            <pc:sldMk cId="3806334263" sldId="1143"/>
            <ac:spMk id="15" creationId="{116B6A9B-1DA6-46BB-8E1F-9CBD5148B177}"/>
          </ac:spMkLst>
        </pc:spChg>
        <pc:spChg chg="del">
          <ac:chgData name="Ieva Dzene" userId="36e850b3-6b13-42b6-8b78-9778956e69b6" providerId="ADAL" clId="{8699CBCE-6ABF-40E5-82A5-86FE1EF32829}" dt="2021-12-06T16:48:06.160" v="1114" actId="478"/>
          <ac:spMkLst>
            <pc:docMk/>
            <pc:sldMk cId="3806334263" sldId="1143"/>
            <ac:spMk id="19" creationId="{DAC540C1-9BC5-4CA8-B5C3-53F0A2F125F5}"/>
          </ac:spMkLst>
        </pc:spChg>
        <pc:picChg chg="add mod">
          <ac:chgData name="Ieva Dzene" userId="36e850b3-6b13-42b6-8b78-9778956e69b6" providerId="ADAL" clId="{8699CBCE-6ABF-40E5-82A5-86FE1EF32829}" dt="2021-12-06T16:49:05.795" v="1130" actId="1076"/>
          <ac:picMkLst>
            <pc:docMk/>
            <pc:sldMk cId="3806334263" sldId="1143"/>
            <ac:picMk id="3" creationId="{BA16C7A9-F054-40D3-A313-B14ED21C1F0B}"/>
          </ac:picMkLst>
        </pc:picChg>
        <pc:picChg chg="del">
          <ac:chgData name="Ieva Dzene" userId="36e850b3-6b13-42b6-8b78-9778956e69b6" providerId="ADAL" clId="{8699CBCE-6ABF-40E5-82A5-86FE1EF32829}" dt="2021-12-06T16:48:47.829" v="1121" actId="478"/>
          <ac:picMkLst>
            <pc:docMk/>
            <pc:sldMk cId="3806334263" sldId="1143"/>
            <ac:picMk id="4" creationId="{17B97CFB-DC9A-4130-AE52-F2545A9E97AF}"/>
          </ac:picMkLst>
        </pc:picChg>
        <pc:picChg chg="del">
          <ac:chgData name="Ieva Dzene" userId="36e850b3-6b13-42b6-8b78-9778956e69b6" providerId="ADAL" clId="{8699CBCE-6ABF-40E5-82A5-86FE1EF32829}" dt="2021-12-06T16:48:07.890" v="1115" actId="478"/>
          <ac:picMkLst>
            <pc:docMk/>
            <pc:sldMk cId="3806334263" sldId="1143"/>
            <ac:picMk id="6" creationId="{850700AF-6C1B-434E-BC4C-D8D90CC2EFAC}"/>
          </ac:picMkLst>
        </pc:picChg>
        <pc:picChg chg="add mod ord">
          <ac:chgData name="Ieva Dzene" userId="36e850b3-6b13-42b6-8b78-9778956e69b6" providerId="ADAL" clId="{8699CBCE-6ABF-40E5-82A5-86FE1EF32829}" dt="2021-12-06T16:49:17.006" v="1134" actId="108"/>
          <ac:picMkLst>
            <pc:docMk/>
            <pc:sldMk cId="3806334263" sldId="1143"/>
            <ac:picMk id="7" creationId="{E5023BB3-E066-41B6-839A-2B59BA7BAD17}"/>
          </ac:picMkLst>
        </pc:picChg>
      </pc:sldChg>
      <pc:sldChg chg="addSp delSp modSp mod">
        <pc:chgData name="Ieva Dzene" userId="36e850b3-6b13-42b6-8b78-9778956e69b6" providerId="ADAL" clId="{8699CBCE-6ABF-40E5-82A5-86FE1EF32829}" dt="2021-12-06T16:22:29.451" v="904" actId="1076"/>
        <pc:sldMkLst>
          <pc:docMk/>
          <pc:sldMk cId="2513178108" sldId="1147"/>
        </pc:sldMkLst>
        <pc:spChg chg="del">
          <ac:chgData name="Ieva Dzene" userId="36e850b3-6b13-42b6-8b78-9778956e69b6" providerId="ADAL" clId="{8699CBCE-6ABF-40E5-82A5-86FE1EF32829}" dt="2021-12-06T16:19:07.312" v="852" actId="478"/>
          <ac:spMkLst>
            <pc:docMk/>
            <pc:sldMk cId="2513178108" sldId="1147"/>
            <ac:spMk id="5" creationId="{1CA1840C-FE07-41BE-B7E7-AF9671A078EF}"/>
          </ac:spMkLst>
        </pc:spChg>
        <pc:spChg chg="del">
          <ac:chgData name="Ieva Dzene" userId="36e850b3-6b13-42b6-8b78-9778956e69b6" providerId="ADAL" clId="{8699CBCE-6ABF-40E5-82A5-86FE1EF32829}" dt="2021-12-06T16:19:28.982" v="859" actId="478"/>
          <ac:spMkLst>
            <pc:docMk/>
            <pc:sldMk cId="2513178108" sldId="1147"/>
            <ac:spMk id="6" creationId="{8F873D91-B9E7-41A7-B906-C29583EF66FB}"/>
          </ac:spMkLst>
        </pc:spChg>
        <pc:spChg chg="del">
          <ac:chgData name="Ieva Dzene" userId="36e850b3-6b13-42b6-8b78-9778956e69b6" providerId="ADAL" clId="{8699CBCE-6ABF-40E5-82A5-86FE1EF32829}" dt="2021-12-06T16:19:08.982" v="853" actId="478"/>
          <ac:spMkLst>
            <pc:docMk/>
            <pc:sldMk cId="2513178108" sldId="1147"/>
            <ac:spMk id="7" creationId="{A69472E9-B2FC-4CDE-83B5-7B4CC0B49A81}"/>
          </ac:spMkLst>
        </pc:spChg>
        <pc:spChg chg="del">
          <ac:chgData name="Ieva Dzene" userId="36e850b3-6b13-42b6-8b78-9778956e69b6" providerId="ADAL" clId="{8699CBCE-6ABF-40E5-82A5-86FE1EF32829}" dt="2021-12-06T16:19:30.522" v="860" actId="478"/>
          <ac:spMkLst>
            <pc:docMk/>
            <pc:sldMk cId="2513178108" sldId="1147"/>
            <ac:spMk id="8" creationId="{7AE24986-FC1B-4D0D-A7C1-FBEA007284B9}"/>
          </ac:spMkLst>
        </pc:spChg>
        <pc:spChg chg="mod">
          <ac:chgData name="Ieva Dzene" userId="36e850b3-6b13-42b6-8b78-9778956e69b6" providerId="ADAL" clId="{8699CBCE-6ABF-40E5-82A5-86FE1EF32829}" dt="2021-12-06T16:20:29.625" v="885" actId="1076"/>
          <ac:spMkLst>
            <pc:docMk/>
            <pc:sldMk cId="2513178108" sldId="1147"/>
            <ac:spMk id="13" creationId="{BBB19BDF-8C95-4F0E-BD6C-C6E68718032A}"/>
          </ac:spMkLst>
        </pc:spChg>
        <pc:spChg chg="add mod">
          <ac:chgData name="Ieva Dzene" userId="36e850b3-6b13-42b6-8b78-9778956e69b6" providerId="ADAL" clId="{8699CBCE-6ABF-40E5-82A5-86FE1EF32829}" dt="2021-12-06T16:20:32.477" v="886" actId="1076"/>
          <ac:spMkLst>
            <pc:docMk/>
            <pc:sldMk cId="2513178108" sldId="1147"/>
            <ac:spMk id="16" creationId="{CF40D8D9-D05E-4394-AC39-1ADE08A766CD}"/>
          </ac:spMkLst>
        </pc:spChg>
        <pc:picChg chg="del">
          <ac:chgData name="Ieva Dzene" userId="36e850b3-6b13-42b6-8b78-9778956e69b6" providerId="ADAL" clId="{8699CBCE-6ABF-40E5-82A5-86FE1EF32829}" dt="2021-12-06T16:19:04.265" v="851" actId="478"/>
          <ac:picMkLst>
            <pc:docMk/>
            <pc:sldMk cId="2513178108" sldId="1147"/>
            <ac:picMk id="2" creationId="{C442D0FE-DBB3-401C-A3E5-204910886873}"/>
          </ac:picMkLst>
        </pc:picChg>
        <pc:picChg chg="del">
          <ac:chgData name="Ieva Dzene" userId="36e850b3-6b13-42b6-8b78-9778956e69b6" providerId="ADAL" clId="{8699CBCE-6ABF-40E5-82A5-86FE1EF32829}" dt="2021-12-06T16:19:26.849" v="858" actId="478"/>
          <ac:picMkLst>
            <pc:docMk/>
            <pc:sldMk cId="2513178108" sldId="1147"/>
            <ac:picMk id="3" creationId="{2C3045AA-1470-4CDD-A8E8-A3639A659160}"/>
          </ac:picMkLst>
        </pc:picChg>
        <pc:picChg chg="add mod">
          <ac:chgData name="Ieva Dzene" userId="36e850b3-6b13-42b6-8b78-9778956e69b6" providerId="ADAL" clId="{8699CBCE-6ABF-40E5-82A5-86FE1EF32829}" dt="2021-12-06T16:21:45.856" v="893" actId="1076"/>
          <ac:picMkLst>
            <pc:docMk/>
            <pc:sldMk cId="2513178108" sldId="1147"/>
            <ac:picMk id="9" creationId="{E53156A4-1BBC-40AF-BF02-82D44B0AA885}"/>
          </ac:picMkLst>
        </pc:picChg>
        <pc:picChg chg="add del mod">
          <ac:chgData name="Ieva Dzene" userId="36e850b3-6b13-42b6-8b78-9778956e69b6" providerId="ADAL" clId="{8699CBCE-6ABF-40E5-82A5-86FE1EF32829}" dt="2021-12-06T16:22:13.195" v="898" actId="478"/>
          <ac:picMkLst>
            <pc:docMk/>
            <pc:sldMk cId="2513178108" sldId="1147"/>
            <ac:picMk id="11" creationId="{DEAFE9EA-D998-4FD2-8CB6-0AC0E4CF5424}"/>
          </ac:picMkLst>
        </pc:picChg>
        <pc:picChg chg="add mod">
          <ac:chgData name="Ieva Dzene" userId="36e850b3-6b13-42b6-8b78-9778956e69b6" providerId="ADAL" clId="{8699CBCE-6ABF-40E5-82A5-86FE1EF32829}" dt="2021-12-06T16:22:29.451" v="904" actId="1076"/>
          <ac:picMkLst>
            <pc:docMk/>
            <pc:sldMk cId="2513178108" sldId="1147"/>
            <ac:picMk id="17" creationId="{95997C27-C7B3-4D0F-8BC1-41D4E5F4D6EE}"/>
          </ac:picMkLst>
        </pc:picChg>
      </pc:sldChg>
      <pc:sldChg chg="addSp delSp modSp mod delAnim">
        <pc:chgData name="Ieva Dzene" userId="36e850b3-6b13-42b6-8b78-9778956e69b6" providerId="ADAL" clId="{8699CBCE-6ABF-40E5-82A5-86FE1EF32829}" dt="2021-12-08T09:45:59.203" v="3257" actId="108"/>
        <pc:sldMkLst>
          <pc:docMk/>
          <pc:sldMk cId="1617794294" sldId="1158"/>
        </pc:sldMkLst>
        <pc:spChg chg="del">
          <ac:chgData name="Ieva Dzene" userId="36e850b3-6b13-42b6-8b78-9778956e69b6" providerId="ADAL" clId="{8699CBCE-6ABF-40E5-82A5-86FE1EF32829}" dt="2021-12-06T15:48:33.994" v="811" actId="478"/>
          <ac:spMkLst>
            <pc:docMk/>
            <pc:sldMk cId="1617794294" sldId="1158"/>
            <ac:spMk id="19" creationId="{A172A5ED-E21C-43FB-A23D-E7DF85A6020D}"/>
          </ac:spMkLst>
        </pc:spChg>
        <pc:picChg chg="add mod ord">
          <ac:chgData name="Ieva Dzene" userId="36e850b3-6b13-42b6-8b78-9778956e69b6" providerId="ADAL" clId="{8699CBCE-6ABF-40E5-82A5-86FE1EF32829}" dt="2021-12-08T09:45:59.203" v="3257" actId="108"/>
          <ac:picMkLst>
            <pc:docMk/>
            <pc:sldMk cId="1617794294" sldId="1158"/>
            <ac:picMk id="3" creationId="{BCF39446-15BF-4AE0-8B51-117BAD03B02E}"/>
          </ac:picMkLst>
        </pc:picChg>
        <pc:picChg chg="add mod">
          <ac:chgData name="Ieva Dzene" userId="36e850b3-6b13-42b6-8b78-9778956e69b6" providerId="ADAL" clId="{8699CBCE-6ABF-40E5-82A5-86FE1EF32829}" dt="2021-12-06T15:48:37.652" v="812" actId="1076"/>
          <ac:picMkLst>
            <pc:docMk/>
            <pc:sldMk cId="1617794294" sldId="1158"/>
            <ac:picMk id="7" creationId="{8DB68BF3-42D4-48FD-8328-902703E6D728}"/>
          </ac:picMkLst>
        </pc:picChg>
        <pc:picChg chg="del">
          <ac:chgData name="Ieva Dzene" userId="36e850b3-6b13-42b6-8b78-9778956e69b6" providerId="ADAL" clId="{8699CBCE-6ABF-40E5-82A5-86FE1EF32829}" dt="2021-12-06T15:48:30.993" v="810" actId="478"/>
          <ac:picMkLst>
            <pc:docMk/>
            <pc:sldMk cId="1617794294" sldId="1158"/>
            <ac:picMk id="10" creationId="{E529F6D7-5DC0-4FC7-B0BC-6BB4907360D0}"/>
          </ac:picMkLst>
        </pc:picChg>
        <pc:picChg chg="del">
          <ac:chgData name="Ieva Dzene" userId="36e850b3-6b13-42b6-8b78-9778956e69b6" providerId="ADAL" clId="{8699CBCE-6ABF-40E5-82A5-86FE1EF32829}" dt="2021-12-06T15:46:43.102" v="796" actId="478"/>
          <ac:picMkLst>
            <pc:docMk/>
            <pc:sldMk cId="1617794294" sldId="1158"/>
            <ac:picMk id="17" creationId="{8144D20D-1E14-426D-9859-FC138A465FAD}"/>
          </ac:picMkLst>
        </pc:picChg>
        <pc:picChg chg="del">
          <ac:chgData name="Ieva Dzene" userId="36e850b3-6b13-42b6-8b78-9778956e69b6" providerId="ADAL" clId="{8699CBCE-6ABF-40E5-82A5-86FE1EF32829}" dt="2021-12-06T15:46:42.070" v="795" actId="478"/>
          <ac:picMkLst>
            <pc:docMk/>
            <pc:sldMk cId="1617794294" sldId="1158"/>
            <ac:picMk id="20" creationId="{43D9DB45-BEF3-40F9-A4C7-51DAB6DE585D}"/>
          </ac:picMkLst>
        </pc:picChg>
        <pc:cxnChg chg="del mod">
          <ac:chgData name="Ieva Dzene" userId="36e850b3-6b13-42b6-8b78-9778956e69b6" providerId="ADAL" clId="{8699CBCE-6ABF-40E5-82A5-86FE1EF32829}" dt="2021-12-06T15:46:44.056" v="797" actId="478"/>
          <ac:cxnSpMkLst>
            <pc:docMk/>
            <pc:sldMk cId="1617794294" sldId="1158"/>
            <ac:cxnSpMk id="4" creationId="{29171591-25F3-47A8-B7F6-50A7451B20D6}"/>
          </ac:cxnSpMkLst>
        </pc:cxnChg>
        <pc:cxnChg chg="mod ord">
          <ac:chgData name="Ieva Dzene" userId="36e850b3-6b13-42b6-8b78-9778956e69b6" providerId="ADAL" clId="{8699CBCE-6ABF-40E5-82A5-86FE1EF32829}" dt="2021-12-06T15:48:52.080" v="817" actId="1076"/>
          <ac:cxnSpMkLst>
            <pc:docMk/>
            <pc:sldMk cId="1617794294" sldId="1158"/>
            <ac:cxnSpMk id="21" creationId="{D8421A40-9656-4014-862F-1340FB8F1B4A}"/>
          </ac:cxnSpMkLst>
        </pc:cxnChg>
      </pc:sldChg>
      <pc:sldChg chg="addSp delSp modSp mod delAnim modAnim">
        <pc:chgData name="Ieva Dzene" userId="36e850b3-6b13-42b6-8b78-9778956e69b6" providerId="ADAL" clId="{8699CBCE-6ABF-40E5-82A5-86FE1EF32829}" dt="2021-12-08T09:53:53.815" v="3343"/>
        <pc:sldMkLst>
          <pc:docMk/>
          <pc:sldMk cId="2598824345" sldId="1168"/>
        </pc:sldMkLst>
        <pc:spChg chg="add del">
          <ac:chgData name="Ieva Dzene" userId="36e850b3-6b13-42b6-8b78-9778956e69b6" providerId="ADAL" clId="{8699CBCE-6ABF-40E5-82A5-86FE1EF32829}" dt="2021-12-06T16:30:35.918" v="966" actId="11529"/>
          <ac:spMkLst>
            <pc:docMk/>
            <pc:sldMk cId="2598824345" sldId="1168"/>
            <ac:spMk id="10" creationId="{6AD41F6C-1DAD-4447-8426-53A340825B9D}"/>
          </ac:spMkLst>
        </pc:spChg>
        <pc:spChg chg="add mod">
          <ac:chgData name="Ieva Dzene" userId="36e850b3-6b13-42b6-8b78-9778956e69b6" providerId="ADAL" clId="{8699CBCE-6ABF-40E5-82A5-86FE1EF32829}" dt="2021-12-08T09:47:19.079" v="3274" actId="164"/>
          <ac:spMkLst>
            <pc:docMk/>
            <pc:sldMk cId="2598824345" sldId="1168"/>
            <ac:spMk id="13" creationId="{0218022A-15D6-497A-A9BA-0571EB3FF1D1}"/>
          </ac:spMkLst>
        </pc:spChg>
        <pc:spChg chg="add del mod">
          <ac:chgData name="Ieva Dzene" userId="36e850b3-6b13-42b6-8b78-9778956e69b6" providerId="ADAL" clId="{8699CBCE-6ABF-40E5-82A5-86FE1EF32829}" dt="2021-12-06T16:27:17.557" v="932" actId="478"/>
          <ac:spMkLst>
            <pc:docMk/>
            <pc:sldMk cId="2598824345" sldId="1168"/>
            <ac:spMk id="16" creationId="{F2F44539-CC70-4CB6-829F-F2801847071B}"/>
          </ac:spMkLst>
        </pc:spChg>
        <pc:spChg chg="add del mod">
          <ac:chgData name="Ieva Dzene" userId="36e850b3-6b13-42b6-8b78-9778956e69b6" providerId="ADAL" clId="{8699CBCE-6ABF-40E5-82A5-86FE1EF32829}" dt="2021-12-06T16:37:54.485" v="1023" actId="478"/>
          <ac:spMkLst>
            <pc:docMk/>
            <pc:sldMk cId="2598824345" sldId="1168"/>
            <ac:spMk id="18" creationId="{72BF2DD8-0D68-4679-8357-E349A38E66AB}"/>
          </ac:spMkLst>
        </pc:spChg>
        <pc:spChg chg="add del mod">
          <ac:chgData name="Ieva Dzene" userId="36e850b3-6b13-42b6-8b78-9778956e69b6" providerId="ADAL" clId="{8699CBCE-6ABF-40E5-82A5-86FE1EF32829}" dt="2021-12-06T16:37:52.561" v="1022" actId="478"/>
          <ac:spMkLst>
            <pc:docMk/>
            <pc:sldMk cId="2598824345" sldId="1168"/>
            <ac:spMk id="21" creationId="{27DF0D5A-9F38-4727-8913-C6F4CABA46CC}"/>
          </ac:spMkLst>
        </pc:spChg>
        <pc:spChg chg="del">
          <ac:chgData name="Ieva Dzene" userId="36e850b3-6b13-42b6-8b78-9778956e69b6" providerId="ADAL" clId="{8699CBCE-6ABF-40E5-82A5-86FE1EF32829}" dt="2021-12-06T16:24:31.056" v="910" actId="478"/>
          <ac:spMkLst>
            <pc:docMk/>
            <pc:sldMk cId="2598824345" sldId="1168"/>
            <ac:spMk id="28" creationId="{7B86CE19-C303-4C14-893B-6AD0A393A08C}"/>
          </ac:spMkLst>
        </pc:spChg>
        <pc:spChg chg="mod ord">
          <ac:chgData name="Ieva Dzene" userId="36e850b3-6b13-42b6-8b78-9778956e69b6" providerId="ADAL" clId="{8699CBCE-6ABF-40E5-82A5-86FE1EF32829}" dt="2021-12-08T09:43:49.246" v="3225" actId="164"/>
          <ac:spMkLst>
            <pc:docMk/>
            <pc:sldMk cId="2598824345" sldId="1168"/>
            <ac:spMk id="30" creationId="{091725E6-AD41-4179-9FD2-2F1B5E37E123}"/>
          </ac:spMkLst>
        </pc:spChg>
        <pc:spChg chg="mod ord">
          <ac:chgData name="Ieva Dzene" userId="36e850b3-6b13-42b6-8b78-9778956e69b6" providerId="ADAL" clId="{8699CBCE-6ABF-40E5-82A5-86FE1EF32829}" dt="2021-12-08T09:43:44.542" v="3224" actId="164"/>
          <ac:spMkLst>
            <pc:docMk/>
            <pc:sldMk cId="2598824345" sldId="1168"/>
            <ac:spMk id="32" creationId="{75FF991D-30D0-4B84-98DD-85E72C5D7418}"/>
          </ac:spMkLst>
        </pc:spChg>
        <pc:spChg chg="del mod">
          <ac:chgData name="Ieva Dzene" userId="36e850b3-6b13-42b6-8b78-9778956e69b6" providerId="ADAL" clId="{8699CBCE-6ABF-40E5-82A5-86FE1EF32829}" dt="2021-12-06T16:24:56.414" v="920" actId="478"/>
          <ac:spMkLst>
            <pc:docMk/>
            <pc:sldMk cId="2598824345" sldId="1168"/>
            <ac:spMk id="34" creationId="{17940BB4-8413-4231-9627-71176FAA9759}"/>
          </ac:spMkLst>
        </pc:spChg>
        <pc:spChg chg="add del mod topLvl">
          <ac:chgData name="Ieva Dzene" userId="36e850b3-6b13-42b6-8b78-9778956e69b6" providerId="ADAL" clId="{8699CBCE-6ABF-40E5-82A5-86FE1EF32829}" dt="2021-12-08T09:45:06.938" v="3246" actId="164"/>
          <ac:spMkLst>
            <pc:docMk/>
            <pc:sldMk cId="2598824345" sldId="1168"/>
            <ac:spMk id="35" creationId="{2DA5FC0A-0C17-47F7-B1C5-C230862F6509}"/>
          </ac:spMkLst>
        </pc:spChg>
        <pc:grpChg chg="add del mod">
          <ac:chgData name="Ieva Dzene" userId="36e850b3-6b13-42b6-8b78-9778956e69b6" providerId="ADAL" clId="{8699CBCE-6ABF-40E5-82A5-86FE1EF32829}" dt="2021-12-08T09:44:22.485" v="3235" actId="165"/>
          <ac:grpSpMkLst>
            <pc:docMk/>
            <pc:sldMk cId="2598824345" sldId="1168"/>
            <ac:grpSpMk id="2" creationId="{7EB9E9AD-A8CE-42B8-8E06-BEE834BC4500}"/>
          </ac:grpSpMkLst>
        </pc:grpChg>
        <pc:grpChg chg="add mod">
          <ac:chgData name="Ieva Dzene" userId="36e850b3-6b13-42b6-8b78-9778956e69b6" providerId="ADAL" clId="{8699CBCE-6ABF-40E5-82A5-86FE1EF32829}" dt="2021-12-08T09:46:29.732" v="3264" actId="1076"/>
          <ac:grpSpMkLst>
            <pc:docMk/>
            <pc:sldMk cId="2598824345" sldId="1168"/>
            <ac:grpSpMk id="4" creationId="{355858D5-D74C-4DE9-BEF8-EDF9931BBA9A}"/>
          </ac:grpSpMkLst>
        </pc:grpChg>
        <pc:grpChg chg="add mod">
          <ac:chgData name="Ieva Dzene" userId="36e850b3-6b13-42b6-8b78-9778956e69b6" providerId="ADAL" clId="{8699CBCE-6ABF-40E5-82A5-86FE1EF32829}" dt="2021-12-08T09:44:11.059" v="3232" actId="1076"/>
          <ac:grpSpMkLst>
            <pc:docMk/>
            <pc:sldMk cId="2598824345" sldId="1168"/>
            <ac:grpSpMk id="6" creationId="{94BD9EBA-51DE-4E3B-8FD3-3CC70A803AA3}"/>
          </ac:grpSpMkLst>
        </pc:grpChg>
        <pc:grpChg chg="add del mod">
          <ac:chgData name="Ieva Dzene" userId="36e850b3-6b13-42b6-8b78-9778956e69b6" providerId="ADAL" clId="{8699CBCE-6ABF-40E5-82A5-86FE1EF32829}" dt="2021-12-08T09:44:45.706" v="3240" actId="165"/>
          <ac:grpSpMkLst>
            <pc:docMk/>
            <pc:sldMk cId="2598824345" sldId="1168"/>
            <ac:grpSpMk id="8" creationId="{BEC004ED-2984-4109-9655-3F0BB12F42B3}"/>
          </ac:grpSpMkLst>
        </pc:grpChg>
        <pc:grpChg chg="add del mod">
          <ac:chgData name="Ieva Dzene" userId="36e850b3-6b13-42b6-8b78-9778956e69b6" providerId="ADAL" clId="{8699CBCE-6ABF-40E5-82A5-86FE1EF32829}" dt="2021-12-08T09:45:30.487" v="3249" actId="478"/>
          <ac:grpSpMkLst>
            <pc:docMk/>
            <pc:sldMk cId="2598824345" sldId="1168"/>
            <ac:grpSpMk id="10" creationId="{34A9A6C1-00FE-4B5A-983D-DC5ECD63A984}"/>
          </ac:grpSpMkLst>
        </pc:grpChg>
        <pc:grpChg chg="add mod">
          <ac:chgData name="Ieva Dzene" userId="36e850b3-6b13-42b6-8b78-9778956e69b6" providerId="ADAL" clId="{8699CBCE-6ABF-40E5-82A5-86FE1EF32829}" dt="2021-12-08T09:47:19.079" v="3274" actId="164"/>
          <ac:grpSpMkLst>
            <pc:docMk/>
            <pc:sldMk cId="2598824345" sldId="1168"/>
            <ac:grpSpMk id="14" creationId="{17F51A92-845D-41E4-AAD1-B16B112FA762}"/>
          </ac:grpSpMkLst>
        </pc:grpChg>
        <pc:picChg chg="add mod">
          <ac:chgData name="Ieva Dzene" userId="36e850b3-6b13-42b6-8b78-9778956e69b6" providerId="ADAL" clId="{8699CBCE-6ABF-40E5-82A5-86FE1EF32829}" dt="2021-12-08T09:43:49.246" v="3225" actId="164"/>
          <ac:picMkLst>
            <pc:docMk/>
            <pc:sldMk cId="2598824345" sldId="1168"/>
            <ac:picMk id="3" creationId="{20D6AB13-E586-49DC-82D5-B04E375F6CED}"/>
          </ac:picMkLst>
        </pc:picChg>
        <pc:picChg chg="add mod">
          <ac:chgData name="Ieva Dzene" userId="36e850b3-6b13-42b6-8b78-9778956e69b6" providerId="ADAL" clId="{8699CBCE-6ABF-40E5-82A5-86FE1EF32829}" dt="2021-12-08T09:43:44.542" v="3224" actId="164"/>
          <ac:picMkLst>
            <pc:docMk/>
            <pc:sldMk cId="2598824345" sldId="1168"/>
            <ac:picMk id="5" creationId="{23851A52-F0F3-445A-96DE-4A8EF817CEEF}"/>
          </ac:picMkLst>
        </pc:picChg>
        <pc:picChg chg="add mod">
          <ac:chgData name="Ieva Dzene" userId="36e850b3-6b13-42b6-8b78-9778956e69b6" providerId="ADAL" clId="{8699CBCE-6ABF-40E5-82A5-86FE1EF32829}" dt="2021-12-08T09:46:36.415" v="3266" actId="1076"/>
          <ac:picMkLst>
            <pc:docMk/>
            <pc:sldMk cId="2598824345" sldId="1168"/>
            <ac:picMk id="7" creationId="{220667E8-983A-4751-ACF2-FA8CB96C7983}"/>
          </ac:picMkLst>
        </pc:picChg>
        <pc:picChg chg="add del mod topLvl">
          <ac:chgData name="Ieva Dzene" userId="36e850b3-6b13-42b6-8b78-9778956e69b6" providerId="ADAL" clId="{8699CBCE-6ABF-40E5-82A5-86FE1EF32829}" dt="2021-12-08T09:45:06.938" v="3246" actId="164"/>
          <ac:picMkLst>
            <pc:docMk/>
            <pc:sldMk cId="2598824345" sldId="1168"/>
            <ac:picMk id="9" creationId="{52405A08-9FE9-426C-820D-5EB5FC183CCE}"/>
          </ac:picMkLst>
        </pc:picChg>
        <pc:picChg chg="add mod">
          <ac:chgData name="Ieva Dzene" userId="36e850b3-6b13-42b6-8b78-9778956e69b6" providerId="ADAL" clId="{8699CBCE-6ABF-40E5-82A5-86FE1EF32829}" dt="2021-12-08T09:47:19.079" v="3274" actId="164"/>
          <ac:picMkLst>
            <pc:docMk/>
            <pc:sldMk cId="2598824345" sldId="1168"/>
            <ac:picMk id="12" creationId="{6DC6A1E4-3420-4FC1-B302-580600B29BB5}"/>
          </ac:picMkLst>
        </pc:picChg>
        <pc:picChg chg="add del mod">
          <ac:chgData name="Ieva Dzene" userId="36e850b3-6b13-42b6-8b78-9778956e69b6" providerId="ADAL" clId="{8699CBCE-6ABF-40E5-82A5-86FE1EF32829}" dt="2021-12-06T16:31:57.954" v="977" actId="478"/>
          <ac:picMkLst>
            <pc:docMk/>
            <pc:sldMk cId="2598824345" sldId="1168"/>
            <ac:picMk id="12" creationId="{B406EA12-549B-40E8-933D-93B1A10E7947}"/>
          </ac:picMkLst>
        </pc:picChg>
        <pc:picChg chg="add del mod">
          <ac:chgData name="Ieva Dzene" userId="36e850b3-6b13-42b6-8b78-9778956e69b6" providerId="ADAL" clId="{8699CBCE-6ABF-40E5-82A5-86FE1EF32829}" dt="2021-12-06T16:37:56.151" v="1024" actId="478"/>
          <ac:picMkLst>
            <pc:docMk/>
            <pc:sldMk cId="2598824345" sldId="1168"/>
            <ac:picMk id="14" creationId="{E2A67844-DDFF-4162-BF9C-334311BBFC77}"/>
          </ac:picMkLst>
        </pc:picChg>
        <pc:picChg chg="add del mod">
          <ac:chgData name="Ieva Dzene" userId="36e850b3-6b13-42b6-8b78-9778956e69b6" providerId="ADAL" clId="{8699CBCE-6ABF-40E5-82A5-86FE1EF32829}" dt="2021-12-06T16:37:50.859" v="1021" actId="478"/>
          <ac:picMkLst>
            <pc:docMk/>
            <pc:sldMk cId="2598824345" sldId="1168"/>
            <ac:picMk id="17" creationId="{2DEA26D6-7795-45F4-84E8-80C03692A246}"/>
          </ac:picMkLst>
        </pc:picChg>
        <pc:picChg chg="add del mod modCrop">
          <ac:chgData name="Ieva Dzene" userId="36e850b3-6b13-42b6-8b78-9778956e69b6" providerId="ADAL" clId="{8699CBCE-6ABF-40E5-82A5-86FE1EF32829}" dt="2021-12-06T16:37:49.458" v="1020" actId="478"/>
          <ac:picMkLst>
            <pc:docMk/>
            <pc:sldMk cId="2598824345" sldId="1168"/>
            <ac:picMk id="20" creationId="{D3C9E88E-B393-455B-BC82-27EF402083A3}"/>
          </ac:picMkLst>
        </pc:picChg>
        <pc:picChg chg="del">
          <ac:chgData name="Ieva Dzene" userId="36e850b3-6b13-42b6-8b78-9778956e69b6" providerId="ADAL" clId="{8699CBCE-6ABF-40E5-82A5-86FE1EF32829}" dt="2021-12-06T16:24:29.930" v="909" actId="478"/>
          <ac:picMkLst>
            <pc:docMk/>
            <pc:sldMk cId="2598824345" sldId="1168"/>
            <ac:picMk id="25" creationId="{D583A5D8-E54C-43A9-BA25-B49DAA51232A}"/>
          </ac:picMkLst>
        </pc:picChg>
        <pc:picChg chg="del">
          <ac:chgData name="Ieva Dzene" userId="36e850b3-6b13-42b6-8b78-9778956e69b6" providerId="ADAL" clId="{8699CBCE-6ABF-40E5-82A5-86FE1EF32829}" dt="2021-12-06T16:24:29.071" v="908" actId="478"/>
          <ac:picMkLst>
            <pc:docMk/>
            <pc:sldMk cId="2598824345" sldId="1168"/>
            <ac:picMk id="27" creationId="{9A3451D3-F187-4C4B-9209-64087C879F5D}"/>
          </ac:picMkLst>
        </pc:picChg>
        <pc:picChg chg="del">
          <ac:chgData name="Ieva Dzene" userId="36e850b3-6b13-42b6-8b78-9778956e69b6" providerId="ADAL" clId="{8699CBCE-6ABF-40E5-82A5-86FE1EF32829}" dt="2021-12-06T16:24:28.271" v="907" actId="478"/>
          <ac:picMkLst>
            <pc:docMk/>
            <pc:sldMk cId="2598824345" sldId="1168"/>
            <ac:picMk id="29" creationId="{D578B2C3-3437-43A3-9E4A-354A576687FD}"/>
          </ac:picMkLst>
        </pc:picChg>
        <pc:picChg chg="del ord">
          <ac:chgData name="Ieva Dzene" userId="36e850b3-6b13-42b6-8b78-9778956e69b6" providerId="ADAL" clId="{8699CBCE-6ABF-40E5-82A5-86FE1EF32829}" dt="2021-12-06T16:24:27.324" v="906" actId="478"/>
          <ac:picMkLst>
            <pc:docMk/>
            <pc:sldMk cId="2598824345" sldId="1168"/>
            <ac:picMk id="31" creationId="{F262BD1B-6913-4AF8-A806-EDD8D81DFA63}"/>
          </ac:picMkLst>
        </pc:picChg>
        <pc:picChg chg="del">
          <ac:chgData name="Ieva Dzene" userId="36e850b3-6b13-42b6-8b78-9778956e69b6" providerId="ADAL" clId="{8699CBCE-6ABF-40E5-82A5-86FE1EF32829}" dt="2021-12-06T16:24:25.921" v="905" actId="478"/>
          <ac:picMkLst>
            <pc:docMk/>
            <pc:sldMk cId="2598824345" sldId="1168"/>
            <ac:picMk id="33" creationId="{07CA5A60-A6AF-44BA-9FAC-2A81F186164F}"/>
          </ac:picMkLst>
        </pc:picChg>
        <pc:picChg chg="add del mod">
          <ac:chgData name="Ieva Dzene" userId="36e850b3-6b13-42b6-8b78-9778956e69b6" providerId="ADAL" clId="{8699CBCE-6ABF-40E5-82A5-86FE1EF32829}" dt="2021-12-06T16:37:35.417" v="1018" actId="21"/>
          <ac:picMkLst>
            <pc:docMk/>
            <pc:sldMk cId="2598824345" sldId="1168"/>
            <ac:picMk id="36" creationId="{B2D22D32-4578-464F-B7FC-E076B6B667EA}"/>
          </ac:picMkLst>
        </pc:picChg>
        <pc:cxnChg chg="del">
          <ac:chgData name="Ieva Dzene" userId="36e850b3-6b13-42b6-8b78-9778956e69b6" providerId="ADAL" clId="{8699CBCE-6ABF-40E5-82A5-86FE1EF32829}" dt="2021-12-06T16:24:32.319" v="911" actId="478"/>
          <ac:cxnSpMkLst>
            <pc:docMk/>
            <pc:sldMk cId="2598824345" sldId="1168"/>
            <ac:cxnSpMk id="26" creationId="{24967A00-1F69-48AC-8883-07920B2FF13D}"/>
          </ac:cxnSpMkLst>
        </pc:cxnChg>
      </pc:sldChg>
      <pc:sldChg chg="modSp mod">
        <pc:chgData name="Ieva Dzene" userId="36e850b3-6b13-42b6-8b78-9778956e69b6" providerId="ADAL" clId="{8699CBCE-6ABF-40E5-82A5-86FE1EF32829}" dt="2021-12-08T09:27:58.657" v="3096" actId="20577"/>
        <pc:sldMkLst>
          <pc:docMk/>
          <pc:sldMk cId="1102447667" sldId="1189"/>
        </pc:sldMkLst>
        <pc:spChg chg="mod">
          <ac:chgData name="Ieva Dzene" userId="36e850b3-6b13-42b6-8b78-9778956e69b6" providerId="ADAL" clId="{8699CBCE-6ABF-40E5-82A5-86FE1EF32829}" dt="2021-12-08T09:27:58.657" v="3096" actId="20577"/>
          <ac:spMkLst>
            <pc:docMk/>
            <pc:sldMk cId="1102447667" sldId="1189"/>
            <ac:spMk id="10" creationId="{E8E7EBA0-C1EC-4B76-8390-F38783008468}"/>
          </ac:spMkLst>
        </pc:spChg>
      </pc:sldChg>
      <pc:sldChg chg="addSp delSp modSp mod">
        <pc:chgData name="Ieva Dzene" userId="36e850b3-6b13-42b6-8b78-9778956e69b6" providerId="ADAL" clId="{8699CBCE-6ABF-40E5-82A5-86FE1EF32829}" dt="2021-12-06T12:17:33.165" v="248" actId="108"/>
        <pc:sldMkLst>
          <pc:docMk/>
          <pc:sldMk cId="3626055260" sldId="1200"/>
        </pc:sldMkLst>
        <pc:picChg chg="add mod">
          <ac:chgData name="Ieva Dzene" userId="36e850b3-6b13-42b6-8b78-9778956e69b6" providerId="ADAL" clId="{8699CBCE-6ABF-40E5-82A5-86FE1EF32829}" dt="2021-12-06T12:17:33.165" v="248" actId="108"/>
          <ac:picMkLst>
            <pc:docMk/>
            <pc:sldMk cId="3626055260" sldId="1200"/>
            <ac:picMk id="4" creationId="{4E8B2B20-F7A1-40FD-BA17-B35038EF5166}"/>
          </ac:picMkLst>
        </pc:picChg>
        <pc:picChg chg="del">
          <ac:chgData name="Ieva Dzene" userId="36e850b3-6b13-42b6-8b78-9778956e69b6" providerId="ADAL" clId="{8699CBCE-6ABF-40E5-82A5-86FE1EF32829}" dt="2021-12-06T12:17:22.242" v="245" actId="478"/>
          <ac:picMkLst>
            <pc:docMk/>
            <pc:sldMk cId="3626055260" sldId="1200"/>
            <ac:picMk id="5" creationId="{714D2C33-B3D0-487F-A5D6-D76884BE76B8}"/>
          </ac:picMkLst>
        </pc:picChg>
      </pc:sldChg>
      <pc:sldChg chg="addSp delSp modSp mod setBg">
        <pc:chgData name="Ieva Dzene" userId="36e850b3-6b13-42b6-8b78-9778956e69b6" providerId="ADAL" clId="{8699CBCE-6ABF-40E5-82A5-86FE1EF32829}" dt="2021-12-06T12:18:41.274" v="254" actId="108"/>
        <pc:sldMkLst>
          <pc:docMk/>
          <pc:sldMk cId="2851628216" sldId="1201"/>
        </pc:sldMkLst>
        <pc:spChg chg="mod">
          <ac:chgData name="Ieva Dzene" userId="36e850b3-6b13-42b6-8b78-9778956e69b6" providerId="ADAL" clId="{8699CBCE-6ABF-40E5-82A5-86FE1EF32829}" dt="2021-12-06T12:18:26.863" v="252"/>
          <ac:spMkLst>
            <pc:docMk/>
            <pc:sldMk cId="2851628216" sldId="1201"/>
            <ac:spMk id="3" creationId="{17403686-94D3-4A24-BDEB-07854049E7FA}"/>
          </ac:spMkLst>
        </pc:spChg>
        <pc:spChg chg="mod">
          <ac:chgData name="Ieva Dzene" userId="36e850b3-6b13-42b6-8b78-9778956e69b6" providerId="ADAL" clId="{8699CBCE-6ABF-40E5-82A5-86FE1EF32829}" dt="2021-12-06T12:18:26.863" v="252"/>
          <ac:spMkLst>
            <pc:docMk/>
            <pc:sldMk cId="2851628216" sldId="1201"/>
            <ac:spMk id="6" creationId="{A19744FE-0122-4458-A703-1ED9355A7C5F}"/>
          </ac:spMkLst>
        </pc:spChg>
        <pc:picChg chg="add mod modCrop">
          <ac:chgData name="Ieva Dzene" userId="36e850b3-6b13-42b6-8b78-9778956e69b6" providerId="ADAL" clId="{8699CBCE-6ABF-40E5-82A5-86FE1EF32829}" dt="2021-12-06T12:18:41.274" v="254" actId="108"/>
          <ac:picMkLst>
            <pc:docMk/>
            <pc:sldMk cId="2851628216" sldId="1201"/>
            <ac:picMk id="4" creationId="{A07E0A95-1F82-483B-B761-6F3003BB0262}"/>
          </ac:picMkLst>
        </pc:picChg>
        <pc:picChg chg="del">
          <ac:chgData name="Ieva Dzene" userId="36e850b3-6b13-42b6-8b78-9778956e69b6" providerId="ADAL" clId="{8699CBCE-6ABF-40E5-82A5-86FE1EF32829}" dt="2021-12-06T12:18:19.267" v="249" actId="478"/>
          <ac:picMkLst>
            <pc:docMk/>
            <pc:sldMk cId="2851628216" sldId="1201"/>
            <ac:picMk id="5" creationId="{37C7D2AA-C7F7-4AD1-A27F-3F60B595781E}"/>
          </ac:picMkLst>
        </pc:picChg>
      </pc:sldChg>
      <pc:sldChg chg="modSp mod">
        <pc:chgData name="Ieva Dzene" userId="36e850b3-6b13-42b6-8b78-9778956e69b6" providerId="ADAL" clId="{8699CBCE-6ABF-40E5-82A5-86FE1EF32829}" dt="2021-12-06T12:32:36.225" v="370" actId="20577"/>
        <pc:sldMkLst>
          <pc:docMk/>
          <pc:sldMk cId="3770443279" sldId="1202"/>
        </pc:sldMkLst>
        <pc:spChg chg="mod">
          <ac:chgData name="Ieva Dzene" userId="36e850b3-6b13-42b6-8b78-9778956e69b6" providerId="ADAL" clId="{8699CBCE-6ABF-40E5-82A5-86FE1EF32829}" dt="2021-12-06T12:30:35.952" v="359" actId="1076"/>
          <ac:spMkLst>
            <pc:docMk/>
            <pc:sldMk cId="3770443279" sldId="1202"/>
            <ac:spMk id="5" creationId="{654CF2D5-28FB-4030-BDDF-D00BF89E0068}"/>
          </ac:spMkLst>
        </pc:spChg>
        <pc:spChg chg="mod">
          <ac:chgData name="Ieva Dzene" userId="36e850b3-6b13-42b6-8b78-9778956e69b6" providerId="ADAL" clId="{8699CBCE-6ABF-40E5-82A5-86FE1EF32829}" dt="2021-12-06T12:19:17.315" v="264" actId="20577"/>
          <ac:spMkLst>
            <pc:docMk/>
            <pc:sldMk cId="3770443279" sldId="1202"/>
            <ac:spMk id="18" creationId="{91442355-C9D6-404E-A7C8-290941CAE46B}"/>
          </ac:spMkLst>
        </pc:spChg>
        <pc:spChg chg="mod">
          <ac:chgData name="Ieva Dzene" userId="36e850b3-6b13-42b6-8b78-9778956e69b6" providerId="ADAL" clId="{8699CBCE-6ABF-40E5-82A5-86FE1EF32829}" dt="2021-12-06T12:28:15.332" v="305" actId="20577"/>
          <ac:spMkLst>
            <pc:docMk/>
            <pc:sldMk cId="3770443279" sldId="1202"/>
            <ac:spMk id="22" creationId="{5999E3D1-D651-436C-93AE-E2DA28D7D18B}"/>
          </ac:spMkLst>
        </pc:spChg>
        <pc:spChg chg="mod">
          <ac:chgData name="Ieva Dzene" userId="36e850b3-6b13-42b6-8b78-9778956e69b6" providerId="ADAL" clId="{8699CBCE-6ABF-40E5-82A5-86FE1EF32829}" dt="2021-12-06T12:30:27.064" v="358" actId="14100"/>
          <ac:spMkLst>
            <pc:docMk/>
            <pc:sldMk cId="3770443279" sldId="1202"/>
            <ac:spMk id="23" creationId="{60EA4207-63C0-4AA6-BC93-24494D270DB3}"/>
          </ac:spMkLst>
        </pc:spChg>
        <pc:spChg chg="mod">
          <ac:chgData name="Ieva Dzene" userId="36e850b3-6b13-42b6-8b78-9778956e69b6" providerId="ADAL" clId="{8699CBCE-6ABF-40E5-82A5-86FE1EF32829}" dt="2021-12-06T12:19:36.251" v="274" actId="20577"/>
          <ac:spMkLst>
            <pc:docMk/>
            <pc:sldMk cId="3770443279" sldId="1202"/>
            <ac:spMk id="28" creationId="{604B9680-9ADD-4FE2-BC05-3EDFE00C4114}"/>
          </ac:spMkLst>
        </pc:spChg>
        <pc:spChg chg="mod">
          <ac:chgData name="Ieva Dzene" userId="36e850b3-6b13-42b6-8b78-9778956e69b6" providerId="ADAL" clId="{8699CBCE-6ABF-40E5-82A5-86FE1EF32829}" dt="2021-12-06T12:32:36.225" v="370" actId="20577"/>
          <ac:spMkLst>
            <pc:docMk/>
            <pc:sldMk cId="3770443279" sldId="1202"/>
            <ac:spMk id="30" creationId="{2E3BCBA8-CEF6-459B-B4AB-074516A6038D}"/>
          </ac:spMkLst>
        </pc:spChg>
      </pc:sldChg>
      <pc:sldChg chg="modSp mod">
        <pc:chgData name="Ieva Dzene" userId="36e850b3-6b13-42b6-8b78-9778956e69b6" providerId="ADAL" clId="{8699CBCE-6ABF-40E5-82A5-86FE1EF32829}" dt="2021-12-08T09:31:37.566" v="3147" actId="20577"/>
        <pc:sldMkLst>
          <pc:docMk/>
          <pc:sldMk cId="2515024649" sldId="1203"/>
        </pc:sldMkLst>
        <pc:spChg chg="mod">
          <ac:chgData name="Ieva Dzene" userId="36e850b3-6b13-42b6-8b78-9778956e69b6" providerId="ADAL" clId="{8699CBCE-6ABF-40E5-82A5-86FE1EF32829}" dt="2021-12-08T09:31:17.683" v="3139" actId="20577"/>
          <ac:spMkLst>
            <pc:docMk/>
            <pc:sldMk cId="2515024649" sldId="1203"/>
            <ac:spMk id="37" creationId="{C4BE9CCD-C203-414F-B252-20F9929F8E62}"/>
          </ac:spMkLst>
        </pc:spChg>
        <pc:spChg chg="mod">
          <ac:chgData name="Ieva Dzene" userId="36e850b3-6b13-42b6-8b78-9778956e69b6" providerId="ADAL" clId="{8699CBCE-6ABF-40E5-82A5-86FE1EF32829}" dt="2021-12-08T09:31:27.951" v="3140" actId="122"/>
          <ac:spMkLst>
            <pc:docMk/>
            <pc:sldMk cId="2515024649" sldId="1203"/>
            <ac:spMk id="41" creationId="{8E2A35B4-08DC-4C68-80B1-B6FA91906473}"/>
          </ac:spMkLst>
        </pc:spChg>
        <pc:spChg chg="mod">
          <ac:chgData name="Ieva Dzene" userId="36e850b3-6b13-42b6-8b78-9778956e69b6" providerId="ADAL" clId="{8699CBCE-6ABF-40E5-82A5-86FE1EF32829}" dt="2021-12-08T09:31:37.566" v="3147" actId="20577"/>
          <ac:spMkLst>
            <pc:docMk/>
            <pc:sldMk cId="2515024649" sldId="1203"/>
            <ac:spMk id="86" creationId="{BE02670F-8114-4463-936A-9D2672146D41}"/>
          </ac:spMkLst>
        </pc:spChg>
      </pc:sldChg>
      <pc:sldChg chg="modSp mod">
        <pc:chgData name="Ieva Dzene" userId="36e850b3-6b13-42b6-8b78-9778956e69b6" providerId="ADAL" clId="{8699CBCE-6ABF-40E5-82A5-86FE1EF32829}" dt="2021-12-08T09:32:03.868" v="3154" actId="20577"/>
        <pc:sldMkLst>
          <pc:docMk/>
          <pc:sldMk cId="3270280714" sldId="1204"/>
        </pc:sldMkLst>
        <pc:spChg chg="mod">
          <ac:chgData name="Ieva Dzene" userId="36e850b3-6b13-42b6-8b78-9778956e69b6" providerId="ADAL" clId="{8699CBCE-6ABF-40E5-82A5-86FE1EF32829}" dt="2021-12-08T09:31:56.380" v="3149" actId="20577"/>
          <ac:spMkLst>
            <pc:docMk/>
            <pc:sldMk cId="3270280714" sldId="1204"/>
            <ac:spMk id="37" creationId="{C4BE9CCD-C203-414F-B252-20F9929F8E62}"/>
          </ac:spMkLst>
        </pc:spChg>
        <pc:spChg chg="mod">
          <ac:chgData name="Ieva Dzene" userId="36e850b3-6b13-42b6-8b78-9778956e69b6" providerId="ADAL" clId="{8699CBCE-6ABF-40E5-82A5-86FE1EF32829}" dt="2021-12-08T09:32:03.868" v="3154" actId="20577"/>
          <ac:spMkLst>
            <pc:docMk/>
            <pc:sldMk cId="3270280714" sldId="1204"/>
            <ac:spMk id="86" creationId="{BE02670F-8114-4463-936A-9D2672146D41}"/>
          </ac:spMkLst>
        </pc:spChg>
      </pc:sldChg>
      <pc:sldChg chg="modSp mod">
        <pc:chgData name="Ieva Dzene" userId="36e850b3-6b13-42b6-8b78-9778956e69b6" providerId="ADAL" clId="{8699CBCE-6ABF-40E5-82A5-86FE1EF32829}" dt="2021-12-06T12:38:14.936" v="435" actId="20577"/>
        <pc:sldMkLst>
          <pc:docMk/>
          <pc:sldMk cId="3718224806" sldId="1206"/>
        </pc:sldMkLst>
        <pc:spChg chg="mod">
          <ac:chgData name="Ieva Dzene" userId="36e850b3-6b13-42b6-8b78-9778956e69b6" providerId="ADAL" clId="{8699CBCE-6ABF-40E5-82A5-86FE1EF32829}" dt="2021-12-06T12:38:14.936" v="435" actId="20577"/>
          <ac:spMkLst>
            <pc:docMk/>
            <pc:sldMk cId="3718224806" sldId="1206"/>
            <ac:spMk id="7" creationId="{22974B99-5E58-480B-92F2-3B8832468EBD}"/>
          </ac:spMkLst>
        </pc:spChg>
      </pc:sldChg>
      <pc:sldChg chg="addSp delSp modSp mod">
        <pc:chgData name="Ieva Dzene" userId="36e850b3-6b13-42b6-8b78-9778956e69b6" providerId="ADAL" clId="{8699CBCE-6ABF-40E5-82A5-86FE1EF32829}" dt="2021-12-08T09:33:37.357" v="3167" actId="1076"/>
        <pc:sldMkLst>
          <pc:docMk/>
          <pc:sldMk cId="2990732986" sldId="1208"/>
        </pc:sldMkLst>
        <pc:spChg chg="mod">
          <ac:chgData name="Ieva Dzene" userId="36e850b3-6b13-42b6-8b78-9778956e69b6" providerId="ADAL" clId="{8699CBCE-6ABF-40E5-82A5-86FE1EF32829}" dt="2021-12-07T15:30:51.067" v="2925" actId="14100"/>
          <ac:spMkLst>
            <pc:docMk/>
            <pc:sldMk cId="2990732986" sldId="1208"/>
            <ac:spMk id="11" creationId="{842666D5-F9FD-45B9-B0DA-684D69D9C6C0}"/>
          </ac:spMkLst>
        </pc:spChg>
        <pc:spChg chg="mod">
          <ac:chgData name="Ieva Dzene" userId="36e850b3-6b13-42b6-8b78-9778956e69b6" providerId="ADAL" clId="{8699CBCE-6ABF-40E5-82A5-86FE1EF32829}" dt="2021-12-08T09:33:26.516" v="3165" actId="1076"/>
          <ac:spMkLst>
            <pc:docMk/>
            <pc:sldMk cId="2990732986" sldId="1208"/>
            <ac:spMk id="18" creationId="{52A66CA6-756A-4387-9A39-786E8CE04ADD}"/>
          </ac:spMkLst>
        </pc:spChg>
        <pc:spChg chg="mod">
          <ac:chgData name="Ieva Dzene" userId="36e850b3-6b13-42b6-8b78-9778956e69b6" providerId="ADAL" clId="{8699CBCE-6ABF-40E5-82A5-86FE1EF32829}" dt="2021-12-08T09:33:37.357" v="3167" actId="1076"/>
          <ac:spMkLst>
            <pc:docMk/>
            <pc:sldMk cId="2990732986" sldId="1208"/>
            <ac:spMk id="19" creationId="{BF83BB1A-1DB6-407D-98A5-C4E43B96FB8B}"/>
          </ac:spMkLst>
        </pc:spChg>
        <pc:grpChg chg="del">
          <ac:chgData name="Ieva Dzene" userId="36e850b3-6b13-42b6-8b78-9778956e69b6" providerId="ADAL" clId="{8699CBCE-6ABF-40E5-82A5-86FE1EF32829}" dt="2021-12-06T12:39:23.225" v="436" actId="478"/>
          <ac:grpSpMkLst>
            <pc:docMk/>
            <pc:sldMk cId="2990732986" sldId="1208"/>
            <ac:grpSpMk id="5" creationId="{E6143A17-6A32-4BD2-A7CF-4FDC913B3FA8}"/>
          </ac:grpSpMkLst>
        </pc:grpChg>
        <pc:picChg chg="add del">
          <ac:chgData name="Ieva Dzene" userId="36e850b3-6b13-42b6-8b78-9778956e69b6" providerId="ADAL" clId="{8699CBCE-6ABF-40E5-82A5-86FE1EF32829}" dt="2021-12-06T12:41:36.338" v="443" actId="478"/>
          <ac:picMkLst>
            <pc:docMk/>
            <pc:sldMk cId="2990732986" sldId="1208"/>
            <ac:picMk id="4" creationId="{FB81C854-4F3A-434B-A2EF-F3CC4D3A898D}"/>
          </ac:picMkLst>
        </pc:picChg>
        <pc:picChg chg="add mod">
          <ac:chgData name="Ieva Dzene" userId="36e850b3-6b13-42b6-8b78-9778956e69b6" providerId="ADAL" clId="{8699CBCE-6ABF-40E5-82A5-86FE1EF32829}" dt="2021-12-08T09:33:22.287" v="3164" actId="1076"/>
          <ac:picMkLst>
            <pc:docMk/>
            <pc:sldMk cId="2990732986" sldId="1208"/>
            <ac:picMk id="6" creationId="{A1767D25-BF5B-4CDB-99C1-74A0D24D1DDF}"/>
          </ac:picMkLst>
        </pc:picChg>
        <pc:picChg chg="add mod ord">
          <ac:chgData name="Ieva Dzene" userId="36e850b3-6b13-42b6-8b78-9778956e69b6" providerId="ADAL" clId="{8699CBCE-6ABF-40E5-82A5-86FE1EF32829}" dt="2021-12-08T09:33:19.382" v="3163" actId="1076"/>
          <ac:picMkLst>
            <pc:docMk/>
            <pc:sldMk cId="2990732986" sldId="1208"/>
            <ac:picMk id="8" creationId="{5A7D2794-877D-4AB2-B01E-8924AD3D38C7}"/>
          </ac:picMkLst>
        </pc:picChg>
      </pc:sldChg>
      <pc:sldChg chg="addSp delSp modSp mod">
        <pc:chgData name="Ieva Dzene" userId="36e850b3-6b13-42b6-8b78-9778956e69b6" providerId="ADAL" clId="{8699CBCE-6ABF-40E5-82A5-86FE1EF32829}" dt="2021-12-08T09:34:09.781" v="3169" actId="1076"/>
        <pc:sldMkLst>
          <pc:docMk/>
          <pc:sldMk cId="2524487702" sldId="1209"/>
        </pc:sldMkLst>
        <pc:spChg chg="mod">
          <ac:chgData name="Ieva Dzene" userId="36e850b3-6b13-42b6-8b78-9778956e69b6" providerId="ADAL" clId="{8699CBCE-6ABF-40E5-82A5-86FE1EF32829}" dt="2021-12-07T15:31:03.722" v="2926" actId="14100"/>
          <ac:spMkLst>
            <pc:docMk/>
            <pc:sldMk cId="2524487702" sldId="1209"/>
            <ac:spMk id="11" creationId="{587046E3-2615-46D6-998D-A9CDDC336A07}"/>
          </ac:spMkLst>
        </pc:spChg>
        <pc:spChg chg="mod">
          <ac:chgData name="Ieva Dzene" userId="36e850b3-6b13-42b6-8b78-9778956e69b6" providerId="ADAL" clId="{8699CBCE-6ABF-40E5-82A5-86FE1EF32829}" dt="2021-12-06T12:45:22.072" v="463" actId="14100"/>
          <ac:spMkLst>
            <pc:docMk/>
            <pc:sldMk cId="2524487702" sldId="1209"/>
            <ac:spMk id="12" creationId="{5B063766-6EC3-49F0-8AFE-9D7B7C9BD5F9}"/>
          </ac:spMkLst>
        </pc:spChg>
        <pc:spChg chg="mod">
          <ac:chgData name="Ieva Dzene" userId="36e850b3-6b13-42b6-8b78-9778956e69b6" providerId="ADAL" clId="{8699CBCE-6ABF-40E5-82A5-86FE1EF32829}" dt="2021-12-08T09:34:09.781" v="3169" actId="1076"/>
          <ac:spMkLst>
            <pc:docMk/>
            <pc:sldMk cId="2524487702" sldId="1209"/>
            <ac:spMk id="15" creationId="{08B0618B-6DCF-41F9-B3EA-22F6DB3C8FA2}"/>
          </ac:spMkLst>
        </pc:spChg>
        <pc:picChg chg="add mod ord">
          <ac:chgData name="Ieva Dzene" userId="36e850b3-6b13-42b6-8b78-9778956e69b6" providerId="ADAL" clId="{8699CBCE-6ABF-40E5-82A5-86FE1EF32829}" dt="2021-12-06T13:15:15.687" v="491" actId="1076"/>
          <ac:picMkLst>
            <pc:docMk/>
            <pc:sldMk cId="2524487702" sldId="1209"/>
            <ac:picMk id="3" creationId="{E9588F80-C5EA-4F9E-8999-6FDB3E3A3A73}"/>
          </ac:picMkLst>
        </pc:picChg>
        <pc:picChg chg="del">
          <ac:chgData name="Ieva Dzene" userId="36e850b3-6b13-42b6-8b78-9778956e69b6" providerId="ADAL" clId="{8699CBCE-6ABF-40E5-82A5-86FE1EF32829}" dt="2021-12-06T12:45:06.193" v="459" actId="478"/>
          <ac:picMkLst>
            <pc:docMk/>
            <pc:sldMk cId="2524487702" sldId="1209"/>
            <ac:picMk id="4" creationId="{8752345F-A720-4387-9120-174218BACDE9}"/>
          </ac:picMkLst>
        </pc:picChg>
      </pc:sldChg>
      <pc:sldChg chg="addSp delSp modSp mod">
        <pc:chgData name="Ieva Dzene" userId="36e850b3-6b13-42b6-8b78-9778956e69b6" providerId="ADAL" clId="{8699CBCE-6ABF-40E5-82A5-86FE1EF32829}" dt="2021-12-08T09:34:39.329" v="3172" actId="255"/>
        <pc:sldMkLst>
          <pc:docMk/>
          <pc:sldMk cId="121006609" sldId="1212"/>
        </pc:sldMkLst>
        <pc:spChg chg="add mod">
          <ac:chgData name="Ieva Dzene" userId="36e850b3-6b13-42b6-8b78-9778956e69b6" providerId="ADAL" clId="{8699CBCE-6ABF-40E5-82A5-86FE1EF32829}" dt="2021-12-07T15:31:47.912" v="2938" actId="1036"/>
          <ac:spMkLst>
            <pc:docMk/>
            <pc:sldMk cId="121006609" sldId="1212"/>
            <ac:spMk id="8" creationId="{8752188B-B466-46D4-A968-AA2F02C2C7E6}"/>
          </ac:spMkLst>
        </pc:spChg>
        <pc:spChg chg="mod">
          <ac:chgData name="Ieva Dzene" userId="36e850b3-6b13-42b6-8b78-9778956e69b6" providerId="ADAL" clId="{8699CBCE-6ABF-40E5-82A5-86FE1EF32829}" dt="2021-12-06T13:14:15.520" v="482" actId="14100"/>
          <ac:spMkLst>
            <pc:docMk/>
            <pc:sldMk cId="121006609" sldId="1212"/>
            <ac:spMk id="9" creationId="{0C2B2AB8-6896-40D7-929E-45176AC0F18E}"/>
          </ac:spMkLst>
        </pc:spChg>
        <pc:spChg chg="add del">
          <ac:chgData name="Ieva Dzene" userId="36e850b3-6b13-42b6-8b78-9778956e69b6" providerId="ADAL" clId="{8699CBCE-6ABF-40E5-82A5-86FE1EF32829}" dt="2021-12-06T13:13:48.302" v="474" actId="22"/>
          <ac:spMkLst>
            <pc:docMk/>
            <pc:sldMk cId="121006609" sldId="1212"/>
            <ac:spMk id="10" creationId="{18A2ADD3-D538-4C58-870D-F68CB56F10F0}"/>
          </ac:spMkLst>
        </pc:spChg>
        <pc:spChg chg="mod">
          <ac:chgData name="Ieva Dzene" userId="36e850b3-6b13-42b6-8b78-9778956e69b6" providerId="ADAL" clId="{8699CBCE-6ABF-40E5-82A5-86FE1EF32829}" dt="2021-12-08T09:34:33.421" v="3171" actId="14100"/>
          <ac:spMkLst>
            <pc:docMk/>
            <pc:sldMk cId="121006609" sldId="1212"/>
            <ac:spMk id="12" creationId="{3AFEC6CB-22D2-4444-B11D-EE4FC8E98AF2}"/>
          </ac:spMkLst>
        </pc:spChg>
        <pc:spChg chg="del">
          <ac:chgData name="Ieva Dzene" userId="36e850b3-6b13-42b6-8b78-9778956e69b6" providerId="ADAL" clId="{8699CBCE-6ABF-40E5-82A5-86FE1EF32829}" dt="2021-12-06T13:14:34.793" v="486" actId="478"/>
          <ac:spMkLst>
            <pc:docMk/>
            <pc:sldMk cId="121006609" sldId="1212"/>
            <ac:spMk id="14" creationId="{E9F8D798-F5FA-4DBC-BE64-BC9059455EF3}"/>
          </ac:spMkLst>
        </pc:spChg>
        <pc:spChg chg="mod">
          <ac:chgData name="Ieva Dzene" userId="36e850b3-6b13-42b6-8b78-9778956e69b6" providerId="ADAL" clId="{8699CBCE-6ABF-40E5-82A5-86FE1EF32829}" dt="2021-12-08T09:34:39.329" v="3172" actId="255"/>
          <ac:spMkLst>
            <pc:docMk/>
            <pc:sldMk cId="121006609" sldId="1212"/>
            <ac:spMk id="16" creationId="{47AB997C-2DE3-47CC-B9C5-93CF03F6C1F0}"/>
          </ac:spMkLst>
        </pc:spChg>
        <pc:picChg chg="del">
          <ac:chgData name="Ieva Dzene" userId="36e850b3-6b13-42b6-8b78-9778956e69b6" providerId="ADAL" clId="{8699CBCE-6ABF-40E5-82A5-86FE1EF32829}" dt="2021-12-06T13:13:44.329" v="472" actId="478"/>
          <ac:picMkLst>
            <pc:docMk/>
            <pc:sldMk cId="121006609" sldId="1212"/>
            <ac:picMk id="4" creationId="{2E76F511-AC65-47DF-A487-32212BC452B0}"/>
          </ac:picMkLst>
        </pc:picChg>
        <pc:picChg chg="add mod ord">
          <ac:chgData name="Ieva Dzene" userId="36e850b3-6b13-42b6-8b78-9778956e69b6" providerId="ADAL" clId="{8699CBCE-6ABF-40E5-82A5-86FE1EF32829}" dt="2021-12-06T13:14:17.331" v="483" actId="1076"/>
          <ac:picMkLst>
            <pc:docMk/>
            <pc:sldMk cId="121006609" sldId="1212"/>
            <ac:picMk id="5" creationId="{5033B0F3-8C97-4828-ACED-8AAEC616986A}"/>
          </ac:picMkLst>
        </pc:picChg>
      </pc:sldChg>
      <pc:sldChg chg="addSp delSp modSp mod">
        <pc:chgData name="Ieva Dzene" userId="36e850b3-6b13-42b6-8b78-9778956e69b6" providerId="ADAL" clId="{8699CBCE-6ABF-40E5-82A5-86FE1EF32829}" dt="2021-12-08T09:37:11.191" v="3186" actId="14100"/>
        <pc:sldMkLst>
          <pc:docMk/>
          <pc:sldMk cId="2345400522" sldId="1218"/>
        </pc:sldMkLst>
        <pc:spChg chg="mod">
          <ac:chgData name="Ieva Dzene" userId="36e850b3-6b13-42b6-8b78-9778956e69b6" providerId="ADAL" clId="{8699CBCE-6ABF-40E5-82A5-86FE1EF32829}" dt="2021-12-06T14:24:01.113" v="553" actId="20577"/>
          <ac:spMkLst>
            <pc:docMk/>
            <pc:sldMk cId="2345400522" sldId="1218"/>
            <ac:spMk id="11" creationId="{C619EA10-47CE-4B1A-BAA4-797664F8BA40}"/>
          </ac:spMkLst>
        </pc:spChg>
        <pc:spChg chg="mod">
          <ac:chgData name="Ieva Dzene" userId="36e850b3-6b13-42b6-8b78-9778956e69b6" providerId="ADAL" clId="{8699CBCE-6ABF-40E5-82A5-86FE1EF32829}" dt="2021-12-06T14:19:08.830" v="524" actId="1076"/>
          <ac:spMkLst>
            <pc:docMk/>
            <pc:sldMk cId="2345400522" sldId="1218"/>
            <ac:spMk id="27" creationId="{AE2BC08F-FA58-4940-9393-53DE6FD46FE7}"/>
          </ac:spMkLst>
        </pc:spChg>
        <pc:spChg chg="mod">
          <ac:chgData name="Ieva Dzene" userId="36e850b3-6b13-42b6-8b78-9778956e69b6" providerId="ADAL" clId="{8699CBCE-6ABF-40E5-82A5-86FE1EF32829}" dt="2021-12-08T09:37:11.191" v="3186" actId="14100"/>
          <ac:spMkLst>
            <pc:docMk/>
            <pc:sldMk cId="2345400522" sldId="1218"/>
            <ac:spMk id="28" creationId="{275A368B-3362-429D-B6BC-8BC39E233126}"/>
          </ac:spMkLst>
        </pc:spChg>
        <pc:spChg chg="mod">
          <ac:chgData name="Ieva Dzene" userId="36e850b3-6b13-42b6-8b78-9778956e69b6" providerId="ADAL" clId="{8699CBCE-6ABF-40E5-82A5-86FE1EF32829}" dt="2021-12-06T14:21:28.121" v="533" actId="14100"/>
          <ac:spMkLst>
            <pc:docMk/>
            <pc:sldMk cId="2345400522" sldId="1218"/>
            <ac:spMk id="29" creationId="{B9A7204A-B6A2-48B9-9E5C-C27CD38988EA}"/>
          </ac:spMkLst>
        </pc:spChg>
        <pc:spChg chg="mod">
          <ac:chgData name="Ieva Dzene" userId="36e850b3-6b13-42b6-8b78-9778956e69b6" providerId="ADAL" clId="{8699CBCE-6ABF-40E5-82A5-86FE1EF32829}" dt="2021-12-06T14:19:27.436" v="529" actId="14100"/>
          <ac:spMkLst>
            <pc:docMk/>
            <pc:sldMk cId="2345400522" sldId="1218"/>
            <ac:spMk id="30" creationId="{A92E1B01-78E2-4197-86A6-0A2E63DBEA55}"/>
          </ac:spMkLst>
        </pc:spChg>
        <pc:spChg chg="mod">
          <ac:chgData name="Ieva Dzene" userId="36e850b3-6b13-42b6-8b78-9778956e69b6" providerId="ADAL" clId="{8699CBCE-6ABF-40E5-82A5-86FE1EF32829}" dt="2021-12-07T15:33:28.823" v="2947" actId="14100"/>
          <ac:spMkLst>
            <pc:docMk/>
            <pc:sldMk cId="2345400522" sldId="1218"/>
            <ac:spMk id="31" creationId="{F3F288EC-9FF6-4729-9FD1-DBE5BC040BE7}"/>
          </ac:spMkLst>
        </pc:spChg>
        <pc:spChg chg="mod">
          <ac:chgData name="Ieva Dzene" userId="36e850b3-6b13-42b6-8b78-9778956e69b6" providerId="ADAL" clId="{8699CBCE-6ABF-40E5-82A5-86FE1EF32829}" dt="2021-12-07T15:33:35.495" v="2949" actId="14100"/>
          <ac:spMkLst>
            <pc:docMk/>
            <pc:sldMk cId="2345400522" sldId="1218"/>
            <ac:spMk id="32" creationId="{3139AA62-1520-414E-8415-624BC388D4E1}"/>
          </ac:spMkLst>
        </pc:spChg>
        <pc:spChg chg="mod">
          <ac:chgData name="Ieva Dzene" userId="36e850b3-6b13-42b6-8b78-9778956e69b6" providerId="ADAL" clId="{8699CBCE-6ABF-40E5-82A5-86FE1EF32829}" dt="2021-12-07T15:33:31.072" v="2948" actId="14100"/>
          <ac:spMkLst>
            <pc:docMk/>
            <pc:sldMk cId="2345400522" sldId="1218"/>
            <ac:spMk id="33" creationId="{BCADAB94-4433-40A8-BF05-679DFDB3B580}"/>
          </ac:spMkLst>
        </pc:spChg>
        <pc:spChg chg="mod">
          <ac:chgData name="Ieva Dzene" userId="36e850b3-6b13-42b6-8b78-9778956e69b6" providerId="ADAL" clId="{8699CBCE-6ABF-40E5-82A5-86FE1EF32829}" dt="2021-12-07T15:33:49.842" v="2953" actId="1076"/>
          <ac:spMkLst>
            <pc:docMk/>
            <pc:sldMk cId="2345400522" sldId="1218"/>
            <ac:spMk id="34" creationId="{AD6D9776-296D-4E3C-9234-2BDD7D295FF8}"/>
          </ac:spMkLst>
        </pc:spChg>
        <pc:picChg chg="add mod ord">
          <ac:chgData name="Ieva Dzene" userId="36e850b3-6b13-42b6-8b78-9778956e69b6" providerId="ADAL" clId="{8699CBCE-6ABF-40E5-82A5-86FE1EF32829}" dt="2021-12-06T14:19:06.272" v="523" actId="1076"/>
          <ac:picMkLst>
            <pc:docMk/>
            <pc:sldMk cId="2345400522" sldId="1218"/>
            <ac:picMk id="4" creationId="{B9D75085-50D5-4530-A76C-8B6DAB8173FE}"/>
          </ac:picMkLst>
        </pc:picChg>
        <pc:picChg chg="del">
          <ac:chgData name="Ieva Dzene" userId="36e850b3-6b13-42b6-8b78-9778956e69b6" providerId="ADAL" clId="{8699CBCE-6ABF-40E5-82A5-86FE1EF32829}" dt="2021-12-06T14:03:37.080" v="504" actId="478"/>
          <ac:picMkLst>
            <pc:docMk/>
            <pc:sldMk cId="2345400522" sldId="1218"/>
            <ac:picMk id="26" creationId="{0A08A896-903B-4C4B-B239-AEFC8CBE07EB}"/>
          </ac:picMkLst>
        </pc:picChg>
      </pc:sldChg>
      <pc:sldChg chg="addSp delSp modSp mod">
        <pc:chgData name="Ieva Dzene" userId="36e850b3-6b13-42b6-8b78-9778956e69b6" providerId="ADAL" clId="{8699CBCE-6ABF-40E5-82A5-86FE1EF32829}" dt="2021-12-06T15:39:02.505" v="793" actId="108"/>
        <pc:sldMkLst>
          <pc:docMk/>
          <pc:sldMk cId="4050391844" sldId="1219"/>
        </pc:sldMkLst>
        <pc:spChg chg="mod">
          <ac:chgData name="Ieva Dzene" userId="36e850b3-6b13-42b6-8b78-9778956e69b6" providerId="ADAL" clId="{8699CBCE-6ABF-40E5-82A5-86FE1EF32829}" dt="2021-12-06T15:28:55.425" v="776" actId="20577"/>
          <ac:spMkLst>
            <pc:docMk/>
            <pc:sldMk cId="4050391844" sldId="1219"/>
            <ac:spMk id="9" creationId="{6EA210E0-48B9-4A31-9991-2A0879C7CF5A}"/>
          </ac:spMkLst>
        </pc:spChg>
        <pc:picChg chg="add mod modCrop">
          <ac:chgData name="Ieva Dzene" userId="36e850b3-6b13-42b6-8b78-9778956e69b6" providerId="ADAL" clId="{8699CBCE-6ABF-40E5-82A5-86FE1EF32829}" dt="2021-12-06T15:37:01.176" v="785" actId="108"/>
          <ac:picMkLst>
            <pc:docMk/>
            <pc:sldMk cId="4050391844" sldId="1219"/>
            <ac:picMk id="3" creationId="{0BAF3C78-28CC-443A-B96C-EE121656946B}"/>
          </ac:picMkLst>
        </pc:picChg>
        <pc:picChg chg="del">
          <ac:chgData name="Ieva Dzene" userId="36e850b3-6b13-42b6-8b78-9778956e69b6" providerId="ADAL" clId="{8699CBCE-6ABF-40E5-82A5-86FE1EF32829}" dt="2021-12-06T15:36:33.548" v="777" actId="478"/>
          <ac:picMkLst>
            <pc:docMk/>
            <pc:sldMk cId="4050391844" sldId="1219"/>
            <ac:picMk id="5" creationId="{54934CF3-C0D8-44E8-BD3F-E14494ABEEFD}"/>
          </ac:picMkLst>
        </pc:picChg>
        <pc:picChg chg="add mod">
          <ac:chgData name="Ieva Dzene" userId="36e850b3-6b13-42b6-8b78-9778956e69b6" providerId="ADAL" clId="{8699CBCE-6ABF-40E5-82A5-86FE1EF32829}" dt="2021-12-06T15:39:02.505" v="793" actId="108"/>
          <ac:picMkLst>
            <pc:docMk/>
            <pc:sldMk cId="4050391844" sldId="1219"/>
            <ac:picMk id="6" creationId="{0A41A23C-450A-4D72-B30C-793BCE9FD4B1}"/>
          </ac:picMkLst>
        </pc:picChg>
        <pc:picChg chg="del">
          <ac:chgData name="Ieva Dzene" userId="36e850b3-6b13-42b6-8b78-9778956e69b6" providerId="ADAL" clId="{8699CBCE-6ABF-40E5-82A5-86FE1EF32829}" dt="2021-12-06T15:38:43.306" v="786" actId="478"/>
          <ac:picMkLst>
            <pc:docMk/>
            <pc:sldMk cId="4050391844" sldId="1219"/>
            <ac:picMk id="7" creationId="{44B7F977-6774-4D1D-A165-FE8B7618285E}"/>
          </ac:picMkLst>
        </pc:picChg>
      </pc:sldChg>
      <pc:sldChg chg="addSp delSp modSp mod">
        <pc:chgData name="Ieva Dzene" userId="36e850b3-6b13-42b6-8b78-9778956e69b6" providerId="ADAL" clId="{8699CBCE-6ABF-40E5-82A5-86FE1EF32829}" dt="2021-12-08T09:54:44.586" v="3347" actId="14100"/>
        <pc:sldMkLst>
          <pc:docMk/>
          <pc:sldMk cId="2492622638" sldId="1235"/>
        </pc:sldMkLst>
        <pc:spChg chg="mod">
          <ac:chgData name="Ieva Dzene" userId="36e850b3-6b13-42b6-8b78-9778956e69b6" providerId="ADAL" clId="{8699CBCE-6ABF-40E5-82A5-86FE1EF32829}" dt="2021-12-08T09:54:27.964" v="3344" actId="20577"/>
          <ac:spMkLst>
            <pc:docMk/>
            <pc:sldMk cId="2492622638" sldId="1235"/>
            <ac:spMk id="8" creationId="{A7456E7F-10D1-4C0A-90FA-14C8584650A9}"/>
          </ac:spMkLst>
        </pc:spChg>
        <pc:spChg chg="mod">
          <ac:chgData name="Ieva Dzene" userId="36e850b3-6b13-42b6-8b78-9778956e69b6" providerId="ADAL" clId="{8699CBCE-6ABF-40E5-82A5-86FE1EF32829}" dt="2021-12-08T09:54:34.474" v="3345" actId="1076"/>
          <ac:spMkLst>
            <pc:docMk/>
            <pc:sldMk cId="2492622638" sldId="1235"/>
            <ac:spMk id="10" creationId="{EF9BA075-5A30-4EE0-A703-2233EEDFCD55}"/>
          </ac:spMkLst>
        </pc:spChg>
        <pc:spChg chg="del">
          <ac:chgData name="Ieva Dzene" userId="36e850b3-6b13-42b6-8b78-9778956e69b6" providerId="ADAL" clId="{8699CBCE-6ABF-40E5-82A5-86FE1EF32829}" dt="2021-12-06T15:49:46.740" v="819" actId="478"/>
          <ac:spMkLst>
            <pc:docMk/>
            <pc:sldMk cId="2492622638" sldId="1235"/>
            <ac:spMk id="14" creationId="{4D9B23B9-CDC3-4FDB-B0DF-856A93195D5F}"/>
          </ac:spMkLst>
        </pc:spChg>
        <pc:spChg chg="mod">
          <ac:chgData name="Ieva Dzene" userId="36e850b3-6b13-42b6-8b78-9778956e69b6" providerId="ADAL" clId="{8699CBCE-6ABF-40E5-82A5-86FE1EF32829}" dt="2021-12-08T09:54:44.586" v="3347" actId="14100"/>
          <ac:spMkLst>
            <pc:docMk/>
            <pc:sldMk cId="2492622638" sldId="1235"/>
            <ac:spMk id="24" creationId="{64CE230C-2929-449A-A9BE-88AA9755CDBA}"/>
          </ac:spMkLst>
        </pc:spChg>
        <pc:picChg chg="add mod">
          <ac:chgData name="Ieva Dzene" userId="36e850b3-6b13-42b6-8b78-9778956e69b6" providerId="ADAL" clId="{8699CBCE-6ABF-40E5-82A5-86FE1EF32829}" dt="2021-12-06T15:49:55.979" v="823" actId="108"/>
          <ac:picMkLst>
            <pc:docMk/>
            <pc:sldMk cId="2492622638" sldId="1235"/>
            <ac:picMk id="3" creationId="{FE36BCDA-A0BF-45A7-8356-119FB0336E93}"/>
          </ac:picMkLst>
        </pc:picChg>
        <pc:picChg chg="add mod ord">
          <ac:chgData name="Ieva Dzene" userId="36e850b3-6b13-42b6-8b78-9778956e69b6" providerId="ADAL" clId="{8699CBCE-6ABF-40E5-82A5-86FE1EF32829}" dt="2021-12-06T15:56:32.727" v="834" actId="108"/>
          <ac:picMkLst>
            <pc:docMk/>
            <pc:sldMk cId="2492622638" sldId="1235"/>
            <ac:picMk id="5" creationId="{31B7AA0C-A9EA-45F5-A255-CC48DBFEDEC8}"/>
          </ac:picMkLst>
        </pc:picChg>
        <pc:picChg chg="del">
          <ac:chgData name="Ieva Dzene" userId="36e850b3-6b13-42b6-8b78-9778956e69b6" providerId="ADAL" clId="{8699CBCE-6ABF-40E5-82A5-86FE1EF32829}" dt="2021-12-06T15:56:12.004" v="826" actId="478"/>
          <ac:picMkLst>
            <pc:docMk/>
            <pc:sldMk cId="2492622638" sldId="1235"/>
            <ac:picMk id="6" creationId="{1B89E18D-C933-4612-A744-BBD749A7479F}"/>
          </ac:picMkLst>
        </pc:picChg>
        <pc:picChg chg="del">
          <ac:chgData name="Ieva Dzene" userId="36e850b3-6b13-42b6-8b78-9778956e69b6" providerId="ADAL" clId="{8699CBCE-6ABF-40E5-82A5-86FE1EF32829}" dt="2021-12-06T15:49:44.053" v="818" actId="478"/>
          <ac:picMkLst>
            <pc:docMk/>
            <pc:sldMk cId="2492622638" sldId="1235"/>
            <ac:picMk id="13" creationId="{B130A448-2FA1-4239-9682-5D7E6EA6BC82}"/>
          </ac:picMkLst>
        </pc:picChg>
      </pc:sldChg>
      <pc:sldChg chg="addSp delSp modSp mod setBg">
        <pc:chgData name="Ieva Dzene" userId="36e850b3-6b13-42b6-8b78-9778956e69b6" providerId="ADAL" clId="{8699CBCE-6ABF-40E5-82A5-86FE1EF32829}" dt="2021-12-06T15:59:20.773" v="850" actId="108"/>
        <pc:sldMkLst>
          <pc:docMk/>
          <pc:sldMk cId="1854249031" sldId="1236"/>
        </pc:sldMkLst>
        <pc:spChg chg="mod">
          <ac:chgData name="Ieva Dzene" userId="36e850b3-6b13-42b6-8b78-9778956e69b6" providerId="ADAL" clId="{8699CBCE-6ABF-40E5-82A5-86FE1EF32829}" dt="2021-12-06T15:58:43.667" v="844" actId="14100"/>
          <ac:spMkLst>
            <pc:docMk/>
            <pc:sldMk cId="1854249031" sldId="1236"/>
            <ac:spMk id="6" creationId="{6FD89FEB-87FB-4632-8108-6E59B254A9C7}"/>
          </ac:spMkLst>
        </pc:spChg>
        <pc:spChg chg="mod">
          <ac:chgData name="Ieva Dzene" userId="36e850b3-6b13-42b6-8b78-9778956e69b6" providerId="ADAL" clId="{8699CBCE-6ABF-40E5-82A5-86FE1EF32829}" dt="2021-12-06T15:59:13.499" v="849" actId="108"/>
          <ac:spMkLst>
            <pc:docMk/>
            <pc:sldMk cId="1854249031" sldId="1236"/>
            <ac:spMk id="11" creationId="{F4C04A4C-6B27-453E-91D1-E74C1A8BF64F}"/>
          </ac:spMkLst>
        </pc:spChg>
        <pc:spChg chg="mod">
          <ac:chgData name="Ieva Dzene" userId="36e850b3-6b13-42b6-8b78-9778956e69b6" providerId="ADAL" clId="{8699CBCE-6ABF-40E5-82A5-86FE1EF32829}" dt="2021-12-06T15:58:51.904" v="845"/>
          <ac:spMkLst>
            <pc:docMk/>
            <pc:sldMk cId="1854249031" sldId="1236"/>
            <ac:spMk id="12" creationId="{F8AE885E-BAD3-4A40-A830-7AB4FFC2113D}"/>
          </ac:spMkLst>
        </pc:spChg>
        <pc:picChg chg="del">
          <ac:chgData name="Ieva Dzene" userId="36e850b3-6b13-42b6-8b78-9778956e69b6" providerId="ADAL" clId="{8699CBCE-6ABF-40E5-82A5-86FE1EF32829}" dt="2021-12-06T15:58:14.749" v="837" actId="478"/>
          <ac:picMkLst>
            <pc:docMk/>
            <pc:sldMk cId="1854249031" sldId="1236"/>
            <ac:picMk id="3" creationId="{49140C31-CFA1-4042-8C2F-1CED06B1AD91}"/>
          </ac:picMkLst>
        </pc:picChg>
        <pc:picChg chg="add mod ord">
          <ac:chgData name="Ieva Dzene" userId="36e850b3-6b13-42b6-8b78-9778956e69b6" providerId="ADAL" clId="{8699CBCE-6ABF-40E5-82A5-86FE1EF32829}" dt="2021-12-06T15:59:20.773" v="850" actId="108"/>
          <ac:picMkLst>
            <pc:docMk/>
            <pc:sldMk cId="1854249031" sldId="1236"/>
            <ac:picMk id="4" creationId="{206C7248-A544-41BB-8076-13596F341D1A}"/>
          </ac:picMkLst>
        </pc:picChg>
      </pc:sldChg>
      <pc:sldChg chg="addSp delSp modSp mod setBg">
        <pc:chgData name="Ieva Dzene" userId="36e850b3-6b13-42b6-8b78-9778956e69b6" providerId="ADAL" clId="{8699CBCE-6ABF-40E5-82A5-86FE1EF32829}" dt="2021-12-06T17:00:13.294" v="1156" actId="14100"/>
        <pc:sldMkLst>
          <pc:docMk/>
          <pc:sldMk cId="3026775920" sldId="1238"/>
        </pc:sldMkLst>
        <pc:spChg chg="mod ord">
          <ac:chgData name="Ieva Dzene" userId="36e850b3-6b13-42b6-8b78-9778956e69b6" providerId="ADAL" clId="{8699CBCE-6ABF-40E5-82A5-86FE1EF32829}" dt="2021-12-06T17:00:09.817" v="1155" actId="1076"/>
          <ac:spMkLst>
            <pc:docMk/>
            <pc:sldMk cId="3026775920" sldId="1238"/>
            <ac:spMk id="10" creationId="{F32B2B0C-3555-4CD5-97B9-A2CE53500FC1}"/>
          </ac:spMkLst>
        </pc:spChg>
        <pc:spChg chg="mod">
          <ac:chgData name="Ieva Dzene" userId="36e850b3-6b13-42b6-8b78-9778956e69b6" providerId="ADAL" clId="{8699CBCE-6ABF-40E5-82A5-86FE1EF32829}" dt="2021-12-06T16:59:13.921" v="1144"/>
          <ac:spMkLst>
            <pc:docMk/>
            <pc:sldMk cId="3026775920" sldId="1238"/>
            <ac:spMk id="16" creationId="{F8EA009E-6988-417B-AA33-A3221D4DE665}"/>
          </ac:spMkLst>
        </pc:spChg>
        <pc:spChg chg="mod">
          <ac:chgData name="Ieva Dzene" userId="36e850b3-6b13-42b6-8b78-9778956e69b6" providerId="ADAL" clId="{8699CBCE-6ABF-40E5-82A5-86FE1EF32829}" dt="2021-12-06T16:59:13.921" v="1144"/>
          <ac:spMkLst>
            <pc:docMk/>
            <pc:sldMk cId="3026775920" sldId="1238"/>
            <ac:spMk id="17" creationId="{2D47D1DC-633F-48B1-B0E1-1FFE9E650A0E}"/>
          </ac:spMkLst>
        </pc:spChg>
        <pc:spChg chg="mod ord">
          <ac:chgData name="Ieva Dzene" userId="36e850b3-6b13-42b6-8b78-9778956e69b6" providerId="ADAL" clId="{8699CBCE-6ABF-40E5-82A5-86FE1EF32829}" dt="2021-12-06T17:00:13.294" v="1156" actId="14100"/>
          <ac:spMkLst>
            <pc:docMk/>
            <pc:sldMk cId="3026775920" sldId="1238"/>
            <ac:spMk id="19" creationId="{5C21513C-0B28-478A-A946-BCAF91F945A6}"/>
          </ac:spMkLst>
        </pc:spChg>
        <pc:picChg chg="add mod">
          <ac:chgData name="Ieva Dzene" userId="36e850b3-6b13-42b6-8b78-9778956e69b6" providerId="ADAL" clId="{8699CBCE-6ABF-40E5-82A5-86FE1EF32829}" dt="2021-12-06T17:00:02.848" v="1153" actId="1076"/>
          <ac:picMkLst>
            <pc:docMk/>
            <pc:sldMk cId="3026775920" sldId="1238"/>
            <ac:picMk id="3" creationId="{BCDC7DBA-8CFA-4C28-8FB3-AB55E84F3B75}"/>
          </ac:picMkLst>
        </pc:picChg>
        <pc:picChg chg="del">
          <ac:chgData name="Ieva Dzene" userId="36e850b3-6b13-42b6-8b78-9778956e69b6" providerId="ADAL" clId="{8699CBCE-6ABF-40E5-82A5-86FE1EF32829}" dt="2021-12-06T16:59:04.659" v="1140" actId="478"/>
          <ac:picMkLst>
            <pc:docMk/>
            <pc:sldMk cId="3026775920" sldId="1238"/>
            <ac:picMk id="21" creationId="{A3EA3CCB-BB69-42AD-AD3C-5CF17CFB644A}"/>
          </ac:picMkLst>
        </pc:picChg>
      </pc:sldChg>
      <pc:sldChg chg="addSp delSp modSp mod">
        <pc:chgData name="Ieva Dzene" userId="36e850b3-6b13-42b6-8b78-9778956e69b6" providerId="ADAL" clId="{8699CBCE-6ABF-40E5-82A5-86FE1EF32829}" dt="2021-12-08T10:00:41.320" v="3384" actId="255"/>
        <pc:sldMkLst>
          <pc:docMk/>
          <pc:sldMk cId="718142970" sldId="1241"/>
        </pc:sldMkLst>
        <pc:spChg chg="mod">
          <ac:chgData name="Ieva Dzene" userId="36e850b3-6b13-42b6-8b78-9778956e69b6" providerId="ADAL" clId="{8699CBCE-6ABF-40E5-82A5-86FE1EF32829}" dt="2021-12-06T17:20:24.317" v="1299" actId="1038"/>
          <ac:spMkLst>
            <pc:docMk/>
            <pc:sldMk cId="718142970" sldId="1241"/>
            <ac:spMk id="22" creationId="{5CB53CF6-B939-4CF5-B01A-98C36E6C7FEB}"/>
          </ac:spMkLst>
        </pc:spChg>
        <pc:spChg chg="mod">
          <ac:chgData name="Ieva Dzene" userId="36e850b3-6b13-42b6-8b78-9778956e69b6" providerId="ADAL" clId="{8699CBCE-6ABF-40E5-82A5-86FE1EF32829}" dt="2021-12-08T10:00:41.320" v="3384" actId="255"/>
          <ac:spMkLst>
            <pc:docMk/>
            <pc:sldMk cId="718142970" sldId="1241"/>
            <ac:spMk id="23" creationId="{099FAF26-B274-43C4-AC51-C502752691FF}"/>
          </ac:spMkLst>
        </pc:spChg>
        <pc:grpChg chg="del">
          <ac:chgData name="Ieva Dzene" userId="36e850b3-6b13-42b6-8b78-9778956e69b6" providerId="ADAL" clId="{8699CBCE-6ABF-40E5-82A5-86FE1EF32829}" dt="2021-12-06T17:20:52.278" v="1300" actId="478"/>
          <ac:grpSpMkLst>
            <pc:docMk/>
            <pc:sldMk cId="718142970" sldId="1241"/>
            <ac:grpSpMk id="6" creationId="{8C4089DD-92EC-4596-98C9-B5D508123DCA}"/>
          </ac:grpSpMkLst>
        </pc:grpChg>
        <pc:picChg chg="add mod ord">
          <ac:chgData name="Ieva Dzene" userId="36e850b3-6b13-42b6-8b78-9778956e69b6" providerId="ADAL" clId="{8699CBCE-6ABF-40E5-82A5-86FE1EF32829}" dt="2021-12-06T17:20:07.952" v="1293" actId="1076"/>
          <ac:picMkLst>
            <pc:docMk/>
            <pc:sldMk cId="718142970" sldId="1241"/>
            <ac:picMk id="3" creationId="{0639A550-7636-491B-985F-68917E3A446C}"/>
          </ac:picMkLst>
        </pc:picChg>
        <pc:picChg chg="add mod modCrop">
          <ac:chgData name="Ieva Dzene" userId="36e850b3-6b13-42b6-8b78-9778956e69b6" providerId="ADAL" clId="{8699CBCE-6ABF-40E5-82A5-86FE1EF32829}" dt="2021-12-06T17:21:18.525" v="1310" actId="1076"/>
          <ac:picMkLst>
            <pc:docMk/>
            <pc:sldMk cId="718142970" sldId="1241"/>
            <ac:picMk id="7" creationId="{69AEB7F5-538F-4B46-BC09-4450315976CA}"/>
          </ac:picMkLst>
        </pc:picChg>
        <pc:picChg chg="del">
          <ac:chgData name="Ieva Dzene" userId="36e850b3-6b13-42b6-8b78-9778956e69b6" providerId="ADAL" clId="{8699CBCE-6ABF-40E5-82A5-86FE1EF32829}" dt="2021-12-06T17:19:40.163" v="1285" actId="478"/>
          <ac:picMkLst>
            <pc:docMk/>
            <pc:sldMk cId="718142970" sldId="1241"/>
            <ac:picMk id="8" creationId="{9A8C1491-943C-43B3-82B8-7FABB928747A}"/>
          </ac:picMkLst>
        </pc:picChg>
      </pc:sldChg>
      <pc:sldChg chg="addSp delSp modSp mod">
        <pc:chgData name="Ieva Dzene" userId="36e850b3-6b13-42b6-8b78-9778956e69b6" providerId="ADAL" clId="{8699CBCE-6ABF-40E5-82A5-86FE1EF32829}" dt="2021-12-07T07:52:46.915" v="1358" actId="14100"/>
        <pc:sldMkLst>
          <pc:docMk/>
          <pc:sldMk cId="3675731293" sldId="1244"/>
        </pc:sldMkLst>
        <pc:spChg chg="del">
          <ac:chgData name="Ieva Dzene" userId="36e850b3-6b13-42b6-8b78-9778956e69b6" providerId="ADAL" clId="{8699CBCE-6ABF-40E5-82A5-86FE1EF32829}" dt="2021-12-07T07:51:24.649" v="1346" actId="478"/>
          <ac:spMkLst>
            <pc:docMk/>
            <pc:sldMk cId="3675731293" sldId="1244"/>
            <ac:spMk id="19" creationId="{7130449C-0A07-4C6E-BCC2-BD50AB1CF34F}"/>
          </ac:spMkLst>
        </pc:spChg>
        <pc:spChg chg="del">
          <ac:chgData name="Ieva Dzene" userId="36e850b3-6b13-42b6-8b78-9778956e69b6" providerId="ADAL" clId="{8699CBCE-6ABF-40E5-82A5-86FE1EF32829}" dt="2021-12-07T07:52:35.417" v="1354" actId="478"/>
          <ac:spMkLst>
            <pc:docMk/>
            <pc:sldMk cId="3675731293" sldId="1244"/>
            <ac:spMk id="21" creationId="{84415443-1B98-43A1-81D0-7D105AFB28E8}"/>
          </ac:spMkLst>
        </pc:spChg>
        <pc:spChg chg="mod">
          <ac:chgData name="Ieva Dzene" userId="36e850b3-6b13-42b6-8b78-9778956e69b6" providerId="ADAL" clId="{8699CBCE-6ABF-40E5-82A5-86FE1EF32829}" dt="2021-12-07T07:50:28.593" v="1344" actId="20577"/>
          <ac:spMkLst>
            <pc:docMk/>
            <pc:sldMk cId="3675731293" sldId="1244"/>
            <ac:spMk id="32" creationId="{12A9DCD9-595D-4D3C-8D8E-DC2168A33E8C}"/>
          </ac:spMkLst>
        </pc:spChg>
        <pc:picChg chg="del">
          <ac:chgData name="Ieva Dzene" userId="36e850b3-6b13-42b6-8b78-9778956e69b6" providerId="ADAL" clId="{8699CBCE-6ABF-40E5-82A5-86FE1EF32829}" dt="2021-12-07T07:51:22.041" v="1345" actId="478"/>
          <ac:picMkLst>
            <pc:docMk/>
            <pc:sldMk cId="3675731293" sldId="1244"/>
            <ac:picMk id="3" creationId="{0C2EC4DB-BD3C-44D3-8478-ADA1293DCE54}"/>
          </ac:picMkLst>
        </pc:picChg>
        <pc:picChg chg="add mod">
          <ac:chgData name="Ieva Dzene" userId="36e850b3-6b13-42b6-8b78-9778956e69b6" providerId="ADAL" clId="{8699CBCE-6ABF-40E5-82A5-86FE1EF32829}" dt="2021-12-07T07:51:35.668" v="1352" actId="1076"/>
          <ac:picMkLst>
            <pc:docMk/>
            <pc:sldMk cId="3675731293" sldId="1244"/>
            <ac:picMk id="4" creationId="{11250243-31A2-4178-8F63-988D2A804228}"/>
          </ac:picMkLst>
        </pc:picChg>
        <pc:picChg chg="add mod">
          <ac:chgData name="Ieva Dzene" userId="36e850b3-6b13-42b6-8b78-9778956e69b6" providerId="ADAL" clId="{8699CBCE-6ABF-40E5-82A5-86FE1EF32829}" dt="2021-12-07T07:52:46.915" v="1358" actId="14100"/>
          <ac:picMkLst>
            <pc:docMk/>
            <pc:sldMk cId="3675731293" sldId="1244"/>
            <ac:picMk id="6" creationId="{1101241C-2C5C-4117-A58A-244FB24E9D7B}"/>
          </ac:picMkLst>
        </pc:picChg>
        <pc:picChg chg="del">
          <ac:chgData name="Ieva Dzene" userId="36e850b3-6b13-42b6-8b78-9778956e69b6" providerId="ADAL" clId="{8699CBCE-6ABF-40E5-82A5-86FE1EF32829}" dt="2021-12-07T07:52:34.585" v="1353" actId="478"/>
          <ac:picMkLst>
            <pc:docMk/>
            <pc:sldMk cId="3675731293" sldId="1244"/>
            <ac:picMk id="11" creationId="{0DCF4F6D-3119-48D7-9B60-AD757B46C09D}"/>
          </ac:picMkLst>
        </pc:picChg>
      </pc:sldChg>
      <pc:sldChg chg="addSp delSp modSp mod">
        <pc:chgData name="Ieva Dzene" userId="36e850b3-6b13-42b6-8b78-9778956e69b6" providerId="ADAL" clId="{8699CBCE-6ABF-40E5-82A5-86FE1EF32829}" dt="2021-12-08T10:03:19.228" v="3397" actId="255"/>
        <pc:sldMkLst>
          <pc:docMk/>
          <pc:sldMk cId="2646104225" sldId="1245"/>
        </pc:sldMkLst>
        <pc:spChg chg="mod">
          <ac:chgData name="Ieva Dzene" userId="36e850b3-6b13-42b6-8b78-9778956e69b6" providerId="ADAL" clId="{8699CBCE-6ABF-40E5-82A5-86FE1EF32829}" dt="2021-12-07T07:58:29.076" v="1391" actId="1076"/>
          <ac:spMkLst>
            <pc:docMk/>
            <pc:sldMk cId="2646104225" sldId="1245"/>
            <ac:spMk id="11" creationId="{2215C285-AE57-4CBC-8270-C8031446C5C4}"/>
          </ac:spMkLst>
        </pc:spChg>
        <pc:spChg chg="mod">
          <ac:chgData name="Ieva Dzene" userId="36e850b3-6b13-42b6-8b78-9778956e69b6" providerId="ADAL" clId="{8699CBCE-6ABF-40E5-82A5-86FE1EF32829}" dt="2021-12-08T10:03:13.386" v="3396" actId="255"/>
          <ac:spMkLst>
            <pc:docMk/>
            <pc:sldMk cId="2646104225" sldId="1245"/>
            <ac:spMk id="12" creationId="{B2577342-5197-463B-B5A5-2977A0169F18}"/>
          </ac:spMkLst>
        </pc:spChg>
        <pc:spChg chg="mod">
          <ac:chgData name="Ieva Dzene" userId="36e850b3-6b13-42b6-8b78-9778956e69b6" providerId="ADAL" clId="{8699CBCE-6ABF-40E5-82A5-86FE1EF32829}" dt="2021-12-08T10:03:19.228" v="3397" actId="255"/>
          <ac:spMkLst>
            <pc:docMk/>
            <pc:sldMk cId="2646104225" sldId="1245"/>
            <ac:spMk id="13" creationId="{055DEF0D-9924-40B5-B6FF-2AA8DA9909BE}"/>
          </ac:spMkLst>
        </pc:spChg>
        <pc:spChg chg="del">
          <ac:chgData name="Ieva Dzene" userId="36e850b3-6b13-42b6-8b78-9778956e69b6" providerId="ADAL" clId="{8699CBCE-6ABF-40E5-82A5-86FE1EF32829}" dt="2021-12-07T07:53:10.546" v="1360" actId="478"/>
          <ac:spMkLst>
            <pc:docMk/>
            <pc:sldMk cId="2646104225" sldId="1245"/>
            <ac:spMk id="20" creationId="{B44B7E66-9498-4FA4-9B03-DF40E6361A43}"/>
          </ac:spMkLst>
        </pc:spChg>
        <pc:spChg chg="mod">
          <ac:chgData name="Ieva Dzene" userId="36e850b3-6b13-42b6-8b78-9778956e69b6" providerId="ADAL" clId="{8699CBCE-6ABF-40E5-82A5-86FE1EF32829}" dt="2021-12-07T07:58:11.503" v="1387" actId="14100"/>
          <ac:spMkLst>
            <pc:docMk/>
            <pc:sldMk cId="2646104225" sldId="1245"/>
            <ac:spMk id="22" creationId="{6DF8D629-6263-44AA-8AB0-4C2EF56E1D77}"/>
          </ac:spMkLst>
        </pc:spChg>
        <pc:spChg chg="mod">
          <ac:chgData name="Ieva Dzene" userId="36e850b3-6b13-42b6-8b78-9778956e69b6" providerId="ADAL" clId="{8699CBCE-6ABF-40E5-82A5-86FE1EF32829}" dt="2021-12-07T07:58:25.454" v="1390" actId="14100"/>
          <ac:spMkLst>
            <pc:docMk/>
            <pc:sldMk cId="2646104225" sldId="1245"/>
            <ac:spMk id="23" creationId="{3ED9F339-DB99-4B99-8B5C-E66BEC409649}"/>
          </ac:spMkLst>
        </pc:spChg>
        <pc:spChg chg="mod">
          <ac:chgData name="Ieva Dzene" userId="36e850b3-6b13-42b6-8b78-9778956e69b6" providerId="ADAL" clId="{8699CBCE-6ABF-40E5-82A5-86FE1EF32829}" dt="2021-12-07T07:57:55.900" v="1382" actId="14100"/>
          <ac:spMkLst>
            <pc:docMk/>
            <pc:sldMk cId="2646104225" sldId="1245"/>
            <ac:spMk id="24" creationId="{FFDE4383-F008-4D5D-A77B-000B170DD669}"/>
          </ac:spMkLst>
        </pc:spChg>
        <pc:picChg chg="add del mod ord">
          <ac:chgData name="Ieva Dzene" userId="36e850b3-6b13-42b6-8b78-9778956e69b6" providerId="ADAL" clId="{8699CBCE-6ABF-40E5-82A5-86FE1EF32829}" dt="2021-12-07T07:57:19.123" v="1372" actId="22"/>
          <ac:picMkLst>
            <pc:docMk/>
            <pc:sldMk cId="2646104225" sldId="1245"/>
            <ac:picMk id="3" creationId="{54155499-9B38-4C0B-B937-0F93889DF819}"/>
          </ac:picMkLst>
        </pc:picChg>
        <pc:picChg chg="add mod ord">
          <ac:chgData name="Ieva Dzene" userId="36e850b3-6b13-42b6-8b78-9778956e69b6" providerId="ADAL" clId="{8699CBCE-6ABF-40E5-82A5-86FE1EF32829}" dt="2021-12-07T07:58:34.029" v="1392" actId="108"/>
          <ac:picMkLst>
            <pc:docMk/>
            <pc:sldMk cId="2646104225" sldId="1245"/>
            <ac:picMk id="6" creationId="{D6EE0416-3A77-4210-ADDB-689152B091F2}"/>
          </ac:picMkLst>
        </pc:picChg>
        <pc:picChg chg="del">
          <ac:chgData name="Ieva Dzene" userId="36e850b3-6b13-42b6-8b78-9778956e69b6" providerId="ADAL" clId="{8699CBCE-6ABF-40E5-82A5-86FE1EF32829}" dt="2021-12-07T07:53:07.618" v="1359" actId="478"/>
          <ac:picMkLst>
            <pc:docMk/>
            <pc:sldMk cId="2646104225" sldId="1245"/>
            <ac:picMk id="14" creationId="{6CA4941F-7E3F-49E5-9C7D-4564F055D5AC}"/>
          </ac:picMkLst>
        </pc:picChg>
        <pc:picChg chg="add mod">
          <ac:chgData name="Ieva Dzene" userId="36e850b3-6b13-42b6-8b78-9778956e69b6" providerId="ADAL" clId="{8699CBCE-6ABF-40E5-82A5-86FE1EF32829}" dt="2021-12-07T07:53:20.114" v="1365" actId="14100"/>
          <ac:picMkLst>
            <pc:docMk/>
            <pc:sldMk cId="2646104225" sldId="1245"/>
            <ac:picMk id="15" creationId="{7E8EAE23-4DB1-4BA8-B20F-9979159198B4}"/>
          </ac:picMkLst>
        </pc:picChg>
        <pc:picChg chg="add del">
          <ac:chgData name="Ieva Dzene" userId="36e850b3-6b13-42b6-8b78-9778956e69b6" providerId="ADAL" clId="{8699CBCE-6ABF-40E5-82A5-86FE1EF32829}" dt="2021-12-07T07:57:28.720" v="1374" actId="478"/>
          <ac:picMkLst>
            <pc:docMk/>
            <pc:sldMk cId="2646104225" sldId="1245"/>
            <ac:picMk id="21" creationId="{68BBF5D9-8E48-4219-833C-0047B3B2061C}"/>
          </ac:picMkLst>
        </pc:picChg>
      </pc:sldChg>
      <pc:sldChg chg="addSp delSp modSp mod delAnim modAnim addCm delCm">
        <pc:chgData name="Ieva Dzene" userId="36e850b3-6b13-42b6-8b78-9778956e69b6" providerId="ADAL" clId="{8699CBCE-6ABF-40E5-82A5-86FE1EF32829}" dt="2021-12-07T15:20:50.780" v="2875"/>
        <pc:sldMkLst>
          <pc:docMk/>
          <pc:sldMk cId="787866711" sldId="1248"/>
        </pc:sldMkLst>
        <pc:spChg chg="mod">
          <ac:chgData name="Ieva Dzene" userId="36e850b3-6b13-42b6-8b78-9778956e69b6" providerId="ADAL" clId="{8699CBCE-6ABF-40E5-82A5-86FE1EF32829}" dt="2021-12-07T15:20:07.388" v="2874" actId="20577"/>
          <ac:spMkLst>
            <pc:docMk/>
            <pc:sldMk cId="787866711" sldId="1248"/>
            <ac:spMk id="4" creationId="{C481A0CD-49C9-4BF9-B570-4A41BC1B88B5}"/>
          </ac:spMkLst>
        </pc:spChg>
        <pc:spChg chg="mod ord">
          <ac:chgData name="Ieva Dzene" userId="36e850b3-6b13-42b6-8b78-9778956e69b6" providerId="ADAL" clId="{8699CBCE-6ABF-40E5-82A5-86FE1EF32829}" dt="2021-12-07T08:32:50.245" v="1422" actId="14100"/>
          <ac:spMkLst>
            <pc:docMk/>
            <pc:sldMk cId="787866711" sldId="1248"/>
            <ac:spMk id="25" creationId="{DF8D5315-8324-4142-B94B-565394CDFF87}"/>
          </ac:spMkLst>
        </pc:spChg>
        <pc:spChg chg="mod ord">
          <ac:chgData name="Ieva Dzene" userId="36e850b3-6b13-42b6-8b78-9778956e69b6" providerId="ADAL" clId="{8699CBCE-6ABF-40E5-82A5-86FE1EF32829}" dt="2021-12-07T08:38:35.438" v="1475" actId="1582"/>
          <ac:spMkLst>
            <pc:docMk/>
            <pc:sldMk cId="787866711" sldId="1248"/>
            <ac:spMk id="27" creationId="{AFB4DBE5-93F7-42EE-A490-9AD4D403CB8C}"/>
          </ac:spMkLst>
        </pc:spChg>
        <pc:spChg chg="mod ord">
          <ac:chgData name="Ieva Dzene" userId="36e850b3-6b13-42b6-8b78-9778956e69b6" providerId="ADAL" clId="{8699CBCE-6ABF-40E5-82A5-86FE1EF32829}" dt="2021-12-07T08:35:07.868" v="1447" actId="14100"/>
          <ac:spMkLst>
            <pc:docMk/>
            <pc:sldMk cId="787866711" sldId="1248"/>
            <ac:spMk id="28" creationId="{A0F23B50-5B74-4DB8-B32D-5389AAD78197}"/>
          </ac:spMkLst>
        </pc:spChg>
        <pc:spChg chg="mod ord">
          <ac:chgData name="Ieva Dzene" userId="36e850b3-6b13-42b6-8b78-9778956e69b6" providerId="ADAL" clId="{8699CBCE-6ABF-40E5-82A5-86FE1EF32829}" dt="2021-12-07T08:39:51.248" v="1488" actId="14100"/>
          <ac:spMkLst>
            <pc:docMk/>
            <pc:sldMk cId="787866711" sldId="1248"/>
            <ac:spMk id="30" creationId="{F7850059-9D21-4065-B0C9-C3D789FA7A64}"/>
          </ac:spMkLst>
        </pc:spChg>
        <pc:spChg chg="mod ord">
          <ac:chgData name="Ieva Dzene" userId="36e850b3-6b13-42b6-8b78-9778956e69b6" providerId="ADAL" clId="{8699CBCE-6ABF-40E5-82A5-86FE1EF32829}" dt="2021-12-07T08:37:36.675" v="1464" actId="14100"/>
          <ac:spMkLst>
            <pc:docMk/>
            <pc:sldMk cId="787866711" sldId="1248"/>
            <ac:spMk id="32" creationId="{7B5074F2-7116-42E4-A787-C99DD8340F99}"/>
          </ac:spMkLst>
        </pc:spChg>
        <pc:spChg chg="add mod">
          <ac:chgData name="Ieva Dzene" userId="36e850b3-6b13-42b6-8b78-9778956e69b6" providerId="ADAL" clId="{8699CBCE-6ABF-40E5-82A5-86FE1EF32829}" dt="2021-12-07T08:39:00.600" v="1478" actId="14100"/>
          <ac:spMkLst>
            <pc:docMk/>
            <pc:sldMk cId="787866711" sldId="1248"/>
            <ac:spMk id="34" creationId="{4070BD7A-3353-4266-A956-8A96C7B8AE60}"/>
          </ac:spMkLst>
        </pc:spChg>
        <pc:spChg chg="add mod ord">
          <ac:chgData name="Ieva Dzene" userId="36e850b3-6b13-42b6-8b78-9778956e69b6" providerId="ADAL" clId="{8699CBCE-6ABF-40E5-82A5-86FE1EF32829}" dt="2021-12-07T08:40:56.219" v="1504" actId="14100"/>
          <ac:spMkLst>
            <pc:docMk/>
            <pc:sldMk cId="787866711" sldId="1248"/>
            <ac:spMk id="35" creationId="{F71502D2-4A9D-4336-A68D-70DFC54F5C12}"/>
          </ac:spMkLst>
        </pc:spChg>
        <pc:spChg chg="add mod">
          <ac:chgData name="Ieva Dzene" userId="36e850b3-6b13-42b6-8b78-9778956e69b6" providerId="ADAL" clId="{8699CBCE-6ABF-40E5-82A5-86FE1EF32829}" dt="2021-12-07T08:41:07.838" v="1507" actId="1076"/>
          <ac:spMkLst>
            <pc:docMk/>
            <pc:sldMk cId="787866711" sldId="1248"/>
            <ac:spMk id="36" creationId="{36886782-93F5-422D-A44E-E9276AC1EA20}"/>
          </ac:spMkLst>
        </pc:spChg>
        <pc:picChg chg="add mod modCrop">
          <ac:chgData name="Ieva Dzene" userId="36e850b3-6b13-42b6-8b78-9778956e69b6" providerId="ADAL" clId="{8699CBCE-6ABF-40E5-82A5-86FE1EF32829}" dt="2021-12-07T08:34:14.251" v="1437" actId="732"/>
          <ac:picMkLst>
            <pc:docMk/>
            <pc:sldMk cId="787866711" sldId="1248"/>
            <ac:picMk id="3" creationId="{E277CEEF-F31E-4BE0-B096-B058D07A0A31}"/>
          </ac:picMkLst>
        </pc:picChg>
        <pc:picChg chg="add del mod">
          <ac:chgData name="Ieva Dzene" userId="36e850b3-6b13-42b6-8b78-9778956e69b6" providerId="ADAL" clId="{8699CBCE-6ABF-40E5-82A5-86FE1EF32829}" dt="2021-12-07T08:34:06.731" v="1436" actId="21"/>
          <ac:picMkLst>
            <pc:docMk/>
            <pc:sldMk cId="787866711" sldId="1248"/>
            <ac:picMk id="6" creationId="{60C8B121-C823-4F38-BB4B-5F91D62283CA}"/>
          </ac:picMkLst>
        </pc:picChg>
        <pc:picChg chg="add mod">
          <ac:chgData name="Ieva Dzene" userId="36e850b3-6b13-42b6-8b78-9778956e69b6" providerId="ADAL" clId="{8699CBCE-6ABF-40E5-82A5-86FE1EF32829}" dt="2021-12-07T08:36:21.678" v="1451" actId="108"/>
          <ac:picMkLst>
            <pc:docMk/>
            <pc:sldMk cId="787866711" sldId="1248"/>
            <ac:picMk id="8" creationId="{0E252579-DAF6-4D37-99EC-F9EE2287E59E}"/>
          </ac:picMkLst>
        </pc:picChg>
        <pc:picChg chg="add mod modCrop">
          <ac:chgData name="Ieva Dzene" userId="36e850b3-6b13-42b6-8b78-9778956e69b6" providerId="ADAL" clId="{8699CBCE-6ABF-40E5-82A5-86FE1EF32829}" dt="2021-12-07T08:37:14.355" v="1459" actId="14100"/>
          <ac:picMkLst>
            <pc:docMk/>
            <pc:sldMk cId="787866711" sldId="1248"/>
            <ac:picMk id="10" creationId="{C0237323-CC59-4A7C-B584-6C0C7158CBDC}"/>
          </ac:picMkLst>
        </pc:picChg>
        <pc:picChg chg="add mod">
          <ac:chgData name="Ieva Dzene" userId="36e850b3-6b13-42b6-8b78-9778956e69b6" providerId="ADAL" clId="{8699CBCE-6ABF-40E5-82A5-86FE1EF32829}" dt="2021-12-07T08:38:12.203" v="1471" actId="1076"/>
          <ac:picMkLst>
            <pc:docMk/>
            <pc:sldMk cId="787866711" sldId="1248"/>
            <ac:picMk id="12" creationId="{43DE890C-642F-4851-8400-795D4E588A30}"/>
          </ac:picMkLst>
        </pc:picChg>
        <pc:picChg chg="add mod">
          <ac:chgData name="Ieva Dzene" userId="36e850b3-6b13-42b6-8b78-9778956e69b6" providerId="ADAL" clId="{8699CBCE-6ABF-40E5-82A5-86FE1EF32829}" dt="2021-12-07T08:40:36.047" v="1500" actId="1076"/>
          <ac:picMkLst>
            <pc:docMk/>
            <pc:sldMk cId="787866711" sldId="1248"/>
            <ac:picMk id="14" creationId="{C4A1C44A-7F86-4F16-B91B-9F7EF6A657E6}"/>
          </ac:picMkLst>
        </pc:picChg>
        <pc:picChg chg="add mod">
          <ac:chgData name="Ieva Dzene" userId="36e850b3-6b13-42b6-8b78-9778956e69b6" providerId="ADAL" clId="{8699CBCE-6ABF-40E5-82A5-86FE1EF32829}" dt="2021-12-07T08:34:23.104" v="1439" actId="1076"/>
          <ac:picMkLst>
            <pc:docMk/>
            <pc:sldMk cId="787866711" sldId="1248"/>
            <ac:picMk id="19" creationId="{F06EA5BF-9CA2-40EC-BBF5-DA05D8CA203A}"/>
          </ac:picMkLst>
        </pc:picChg>
        <pc:picChg chg="del">
          <ac:chgData name="Ieva Dzene" userId="36e850b3-6b13-42b6-8b78-9778956e69b6" providerId="ADAL" clId="{8699CBCE-6ABF-40E5-82A5-86FE1EF32829}" dt="2021-12-07T08:20:08.320" v="1397" actId="478"/>
          <ac:picMkLst>
            <pc:docMk/>
            <pc:sldMk cId="787866711" sldId="1248"/>
            <ac:picMk id="24" creationId="{AAC03E90-A6B4-46EA-B854-2FD09AF94C54}"/>
          </ac:picMkLst>
        </pc:picChg>
        <pc:picChg chg="del">
          <ac:chgData name="Ieva Dzene" userId="36e850b3-6b13-42b6-8b78-9778956e69b6" providerId="ADAL" clId="{8699CBCE-6ABF-40E5-82A5-86FE1EF32829}" dt="2021-12-07T08:20:07.449" v="1396" actId="478"/>
          <ac:picMkLst>
            <pc:docMk/>
            <pc:sldMk cId="787866711" sldId="1248"/>
            <ac:picMk id="26" creationId="{D46C1376-2B52-457A-95C1-FAAC16C8F00D}"/>
          </ac:picMkLst>
        </pc:picChg>
        <pc:picChg chg="del">
          <ac:chgData name="Ieva Dzene" userId="36e850b3-6b13-42b6-8b78-9778956e69b6" providerId="ADAL" clId="{8699CBCE-6ABF-40E5-82A5-86FE1EF32829}" dt="2021-12-07T08:20:06.557" v="1395" actId="478"/>
          <ac:picMkLst>
            <pc:docMk/>
            <pc:sldMk cId="787866711" sldId="1248"/>
            <ac:picMk id="29" creationId="{D4A71C62-E4F5-4282-A732-FA65C62F96F7}"/>
          </ac:picMkLst>
        </pc:picChg>
        <pc:picChg chg="del">
          <ac:chgData name="Ieva Dzene" userId="36e850b3-6b13-42b6-8b78-9778956e69b6" providerId="ADAL" clId="{8699CBCE-6ABF-40E5-82A5-86FE1EF32829}" dt="2021-12-07T08:20:05.692" v="1394" actId="478"/>
          <ac:picMkLst>
            <pc:docMk/>
            <pc:sldMk cId="787866711" sldId="1248"/>
            <ac:picMk id="31" creationId="{83C9E5AF-06A2-4CD8-9947-DCCF2F0916E7}"/>
          </ac:picMkLst>
        </pc:picChg>
        <pc:picChg chg="del">
          <ac:chgData name="Ieva Dzene" userId="36e850b3-6b13-42b6-8b78-9778956e69b6" providerId="ADAL" clId="{8699CBCE-6ABF-40E5-82A5-86FE1EF32829}" dt="2021-12-07T08:20:04.365" v="1393" actId="478"/>
          <ac:picMkLst>
            <pc:docMk/>
            <pc:sldMk cId="787866711" sldId="1248"/>
            <ac:picMk id="33" creationId="{052DCC53-5C47-4418-8CE3-8ADF078803F5}"/>
          </ac:picMkLst>
        </pc:picChg>
      </pc:sldChg>
      <pc:sldChg chg="addSp delSp modSp mod">
        <pc:chgData name="Ieva Dzene" userId="36e850b3-6b13-42b6-8b78-9778956e69b6" providerId="ADAL" clId="{8699CBCE-6ABF-40E5-82A5-86FE1EF32829}" dt="2021-12-07T10:09:08.772" v="1548" actId="108"/>
        <pc:sldMkLst>
          <pc:docMk/>
          <pc:sldMk cId="2366905453" sldId="1249"/>
        </pc:sldMkLst>
        <pc:spChg chg="mod">
          <ac:chgData name="Ieva Dzene" userId="36e850b3-6b13-42b6-8b78-9778956e69b6" providerId="ADAL" clId="{8699CBCE-6ABF-40E5-82A5-86FE1EF32829}" dt="2021-12-07T10:07:38.288" v="1545" actId="1076"/>
          <ac:spMkLst>
            <pc:docMk/>
            <pc:sldMk cId="2366905453" sldId="1249"/>
            <ac:spMk id="12" creationId="{418A92DC-D18C-4514-B3FF-2339228A8A29}"/>
          </ac:spMkLst>
        </pc:spChg>
        <pc:spChg chg="mod">
          <ac:chgData name="Ieva Dzene" userId="36e850b3-6b13-42b6-8b78-9778956e69b6" providerId="ADAL" clId="{8699CBCE-6ABF-40E5-82A5-86FE1EF32829}" dt="2021-12-07T10:08:39.635" v="1546" actId="1076"/>
          <ac:spMkLst>
            <pc:docMk/>
            <pc:sldMk cId="2366905453" sldId="1249"/>
            <ac:spMk id="13" creationId="{5F0B3493-AEBB-4DFC-A41F-1B46B58C42AC}"/>
          </ac:spMkLst>
        </pc:spChg>
        <pc:spChg chg="mod">
          <ac:chgData name="Ieva Dzene" userId="36e850b3-6b13-42b6-8b78-9778956e69b6" providerId="ADAL" clId="{8699CBCE-6ABF-40E5-82A5-86FE1EF32829}" dt="2021-12-07T10:07:31.772" v="1544" actId="1076"/>
          <ac:spMkLst>
            <pc:docMk/>
            <pc:sldMk cId="2366905453" sldId="1249"/>
            <ac:spMk id="20" creationId="{7D24A8A8-58B8-4F9F-9012-6C475C14F39F}"/>
          </ac:spMkLst>
        </pc:spChg>
        <pc:spChg chg="mod">
          <ac:chgData name="Ieva Dzene" userId="36e850b3-6b13-42b6-8b78-9778956e69b6" providerId="ADAL" clId="{8699CBCE-6ABF-40E5-82A5-86FE1EF32829}" dt="2021-12-07T10:08:43.787" v="1547" actId="14100"/>
          <ac:spMkLst>
            <pc:docMk/>
            <pc:sldMk cId="2366905453" sldId="1249"/>
            <ac:spMk id="21" creationId="{FE9CDD19-53FA-43BA-9D44-5C6466649B4A}"/>
          </ac:spMkLst>
        </pc:spChg>
        <pc:spChg chg="del">
          <ac:chgData name="Ieva Dzene" userId="36e850b3-6b13-42b6-8b78-9778956e69b6" providerId="ADAL" clId="{8699CBCE-6ABF-40E5-82A5-86FE1EF32829}" dt="2021-12-07T10:04:43.598" v="1513" actId="478"/>
          <ac:spMkLst>
            <pc:docMk/>
            <pc:sldMk cId="2366905453" sldId="1249"/>
            <ac:spMk id="30" creationId="{182C1989-E7F1-41C1-A6B0-D41635D92EC6}"/>
          </ac:spMkLst>
        </pc:spChg>
        <pc:picChg chg="add del mod ord">
          <ac:chgData name="Ieva Dzene" userId="36e850b3-6b13-42b6-8b78-9778956e69b6" providerId="ADAL" clId="{8699CBCE-6ABF-40E5-82A5-86FE1EF32829}" dt="2021-12-07T10:09:08.772" v="1548" actId="108"/>
          <ac:picMkLst>
            <pc:docMk/>
            <pc:sldMk cId="2366905453" sldId="1249"/>
            <ac:picMk id="3" creationId="{10FF8E57-F2CD-4AC6-BA14-CE3C8F4C6CC5}"/>
          </ac:picMkLst>
        </pc:picChg>
        <pc:picChg chg="add del">
          <ac:chgData name="Ieva Dzene" userId="36e850b3-6b13-42b6-8b78-9778956e69b6" providerId="ADAL" clId="{8699CBCE-6ABF-40E5-82A5-86FE1EF32829}" dt="2021-12-07T10:06:36.714" v="1524" actId="478"/>
          <ac:picMkLst>
            <pc:docMk/>
            <pc:sldMk cId="2366905453" sldId="1249"/>
            <ac:picMk id="10" creationId="{C989DD06-3F26-4EBF-A968-326E348517A8}"/>
          </ac:picMkLst>
        </pc:picChg>
        <pc:picChg chg="del">
          <ac:chgData name="Ieva Dzene" userId="36e850b3-6b13-42b6-8b78-9778956e69b6" providerId="ADAL" clId="{8699CBCE-6ABF-40E5-82A5-86FE1EF32829}" dt="2021-12-07T10:04:41.396" v="1512" actId="478"/>
          <ac:picMkLst>
            <pc:docMk/>
            <pc:sldMk cId="2366905453" sldId="1249"/>
            <ac:picMk id="14" creationId="{59C84CA4-A79A-440B-8ADA-CA16963EF121}"/>
          </ac:picMkLst>
        </pc:picChg>
        <pc:picChg chg="add mod">
          <ac:chgData name="Ieva Dzene" userId="36e850b3-6b13-42b6-8b78-9778956e69b6" providerId="ADAL" clId="{8699CBCE-6ABF-40E5-82A5-86FE1EF32829}" dt="2021-12-07T10:04:49.310" v="1515" actId="1076"/>
          <ac:picMkLst>
            <pc:docMk/>
            <pc:sldMk cId="2366905453" sldId="1249"/>
            <ac:picMk id="15" creationId="{AD576665-B843-488C-900F-D4AC23C67522}"/>
          </ac:picMkLst>
        </pc:picChg>
      </pc:sldChg>
      <pc:sldChg chg="addSp delSp modSp mod delAnim modAnim">
        <pc:chgData name="Ieva Dzene" userId="36e850b3-6b13-42b6-8b78-9778956e69b6" providerId="ADAL" clId="{8699CBCE-6ABF-40E5-82A5-86FE1EF32829}" dt="2021-12-08T10:07:10.417" v="3427" actId="255"/>
        <pc:sldMkLst>
          <pc:docMk/>
          <pc:sldMk cId="3784997034" sldId="1254"/>
        </pc:sldMkLst>
        <pc:spChg chg="del">
          <ac:chgData name="Ieva Dzene" userId="36e850b3-6b13-42b6-8b78-9778956e69b6" providerId="ADAL" clId="{8699CBCE-6ABF-40E5-82A5-86FE1EF32829}" dt="2021-12-07T12:06:35.416" v="1802" actId="478"/>
          <ac:spMkLst>
            <pc:docMk/>
            <pc:sldMk cId="3784997034" sldId="1254"/>
            <ac:spMk id="16" creationId="{662A3B83-D93B-4A19-9AA3-19E4F7BFAFDE}"/>
          </ac:spMkLst>
        </pc:spChg>
        <pc:spChg chg="del">
          <ac:chgData name="Ieva Dzene" userId="36e850b3-6b13-42b6-8b78-9778956e69b6" providerId="ADAL" clId="{8699CBCE-6ABF-40E5-82A5-86FE1EF32829}" dt="2021-12-07T12:06:55.424" v="1808" actId="478"/>
          <ac:spMkLst>
            <pc:docMk/>
            <pc:sldMk cId="3784997034" sldId="1254"/>
            <ac:spMk id="17" creationId="{111EF18A-F07C-4BDA-8594-8A7D6AAED1D8}"/>
          </ac:spMkLst>
        </pc:spChg>
        <pc:spChg chg="del">
          <ac:chgData name="Ieva Dzene" userId="36e850b3-6b13-42b6-8b78-9778956e69b6" providerId="ADAL" clId="{8699CBCE-6ABF-40E5-82A5-86FE1EF32829}" dt="2021-12-07T12:07:26.521" v="1816" actId="478"/>
          <ac:spMkLst>
            <pc:docMk/>
            <pc:sldMk cId="3784997034" sldId="1254"/>
            <ac:spMk id="18" creationId="{226350EF-0D5A-4D47-A51D-D68E23BFD497}"/>
          </ac:spMkLst>
        </pc:spChg>
        <pc:spChg chg="del mod">
          <ac:chgData name="Ieva Dzene" userId="36e850b3-6b13-42b6-8b78-9778956e69b6" providerId="ADAL" clId="{8699CBCE-6ABF-40E5-82A5-86FE1EF32829}" dt="2021-12-07T12:08:00.909" v="1827" actId="478"/>
          <ac:spMkLst>
            <pc:docMk/>
            <pc:sldMk cId="3784997034" sldId="1254"/>
            <ac:spMk id="19" creationId="{2E2A624F-E70C-4160-8C57-6C0EE620EF52}"/>
          </ac:spMkLst>
        </pc:spChg>
        <pc:spChg chg="del">
          <ac:chgData name="Ieva Dzene" userId="36e850b3-6b13-42b6-8b78-9778956e69b6" providerId="ADAL" clId="{8699CBCE-6ABF-40E5-82A5-86FE1EF32829}" dt="2021-12-07T10:46:31.612" v="1756" actId="478"/>
          <ac:spMkLst>
            <pc:docMk/>
            <pc:sldMk cId="3784997034" sldId="1254"/>
            <ac:spMk id="21" creationId="{C2A5B94E-0BF0-4332-BBD4-E5F816585FB1}"/>
          </ac:spMkLst>
        </pc:spChg>
        <pc:spChg chg="mod">
          <ac:chgData name="Ieva Dzene" userId="36e850b3-6b13-42b6-8b78-9778956e69b6" providerId="ADAL" clId="{8699CBCE-6ABF-40E5-82A5-86FE1EF32829}" dt="2021-12-07T12:20:01.961" v="1836" actId="14100"/>
          <ac:spMkLst>
            <pc:docMk/>
            <pc:sldMk cId="3784997034" sldId="1254"/>
            <ac:spMk id="23" creationId="{49A605B4-C047-4654-800E-4B386340AE21}"/>
          </ac:spMkLst>
        </pc:spChg>
        <pc:spChg chg="mod">
          <ac:chgData name="Ieva Dzene" userId="36e850b3-6b13-42b6-8b78-9778956e69b6" providerId="ADAL" clId="{8699CBCE-6ABF-40E5-82A5-86FE1EF32829}" dt="2021-12-07T12:06:47.846" v="1805" actId="14100"/>
          <ac:spMkLst>
            <pc:docMk/>
            <pc:sldMk cId="3784997034" sldId="1254"/>
            <ac:spMk id="24" creationId="{C470014D-86AB-4998-8C0C-A856EE27F7EA}"/>
          </ac:spMkLst>
        </pc:spChg>
        <pc:spChg chg="mod">
          <ac:chgData name="Ieva Dzene" userId="36e850b3-6b13-42b6-8b78-9778956e69b6" providerId="ADAL" clId="{8699CBCE-6ABF-40E5-82A5-86FE1EF32829}" dt="2021-12-07T12:06:29.113" v="1800" actId="1076"/>
          <ac:spMkLst>
            <pc:docMk/>
            <pc:sldMk cId="3784997034" sldId="1254"/>
            <ac:spMk id="26" creationId="{ABC8C899-F5D3-4046-AF4E-0CD8A6F2B1CD}"/>
          </ac:spMkLst>
        </pc:spChg>
        <pc:spChg chg="mod">
          <ac:chgData name="Ieva Dzene" userId="36e850b3-6b13-42b6-8b78-9778956e69b6" providerId="ADAL" clId="{8699CBCE-6ABF-40E5-82A5-86FE1EF32829}" dt="2021-12-07T12:07:53.661" v="1825" actId="14100"/>
          <ac:spMkLst>
            <pc:docMk/>
            <pc:sldMk cId="3784997034" sldId="1254"/>
            <ac:spMk id="27" creationId="{08D42065-A7A1-4915-990A-BFC51F2D2A6C}"/>
          </ac:spMkLst>
        </pc:spChg>
        <pc:spChg chg="mod">
          <ac:chgData name="Ieva Dzene" userId="36e850b3-6b13-42b6-8b78-9778956e69b6" providerId="ADAL" clId="{8699CBCE-6ABF-40E5-82A5-86FE1EF32829}" dt="2021-12-07T12:18:53.365" v="1829" actId="14100"/>
          <ac:spMkLst>
            <pc:docMk/>
            <pc:sldMk cId="3784997034" sldId="1254"/>
            <ac:spMk id="28" creationId="{56A1E27D-2407-4780-8FC1-EF29CEB796FA}"/>
          </ac:spMkLst>
        </pc:spChg>
        <pc:spChg chg="add mod">
          <ac:chgData name="Ieva Dzene" userId="36e850b3-6b13-42b6-8b78-9778956e69b6" providerId="ADAL" clId="{8699CBCE-6ABF-40E5-82A5-86FE1EF32829}" dt="2021-12-08T10:07:10.417" v="3427" actId="255"/>
          <ac:spMkLst>
            <pc:docMk/>
            <pc:sldMk cId="3784997034" sldId="1254"/>
            <ac:spMk id="29" creationId="{FFBEDA8E-252F-4D56-895F-EBF688CCB644}"/>
          </ac:spMkLst>
        </pc:spChg>
        <pc:spChg chg="mod">
          <ac:chgData name="Ieva Dzene" userId="36e850b3-6b13-42b6-8b78-9778956e69b6" providerId="ADAL" clId="{8699CBCE-6ABF-40E5-82A5-86FE1EF32829}" dt="2021-12-07T12:05:54.363" v="1794" actId="108"/>
          <ac:spMkLst>
            <pc:docMk/>
            <pc:sldMk cId="3784997034" sldId="1254"/>
            <ac:spMk id="30" creationId="{4CB41746-BB15-449B-B066-D1EF36B577F0}"/>
          </ac:spMkLst>
        </pc:spChg>
        <pc:spChg chg="mod">
          <ac:chgData name="Ieva Dzene" userId="36e850b3-6b13-42b6-8b78-9778956e69b6" providerId="ADAL" clId="{8699CBCE-6ABF-40E5-82A5-86FE1EF32829}" dt="2021-12-08T10:07:10.417" v="3427" actId="255"/>
          <ac:spMkLst>
            <pc:docMk/>
            <pc:sldMk cId="3784997034" sldId="1254"/>
            <ac:spMk id="32" creationId="{A53D7088-17BE-4167-B040-4D27B9564F89}"/>
          </ac:spMkLst>
        </pc:spChg>
        <pc:spChg chg="mod">
          <ac:chgData name="Ieva Dzene" userId="36e850b3-6b13-42b6-8b78-9778956e69b6" providerId="ADAL" clId="{8699CBCE-6ABF-40E5-82A5-86FE1EF32829}" dt="2021-12-08T10:07:10.417" v="3427" actId="255"/>
          <ac:spMkLst>
            <pc:docMk/>
            <pc:sldMk cId="3784997034" sldId="1254"/>
            <ac:spMk id="33" creationId="{5908A8CF-3870-4B2F-9F59-0DB6157D1617}"/>
          </ac:spMkLst>
        </pc:spChg>
        <pc:spChg chg="mod">
          <ac:chgData name="Ieva Dzene" userId="36e850b3-6b13-42b6-8b78-9778956e69b6" providerId="ADAL" clId="{8699CBCE-6ABF-40E5-82A5-86FE1EF32829}" dt="2021-12-08T10:07:10.417" v="3427" actId="255"/>
          <ac:spMkLst>
            <pc:docMk/>
            <pc:sldMk cId="3784997034" sldId="1254"/>
            <ac:spMk id="34" creationId="{5866ABAB-F230-40A3-82E2-1153694118A9}"/>
          </ac:spMkLst>
        </pc:spChg>
        <pc:spChg chg="mod">
          <ac:chgData name="Ieva Dzene" userId="36e850b3-6b13-42b6-8b78-9778956e69b6" providerId="ADAL" clId="{8699CBCE-6ABF-40E5-82A5-86FE1EF32829}" dt="2021-12-08T10:07:10.417" v="3427" actId="255"/>
          <ac:spMkLst>
            <pc:docMk/>
            <pc:sldMk cId="3784997034" sldId="1254"/>
            <ac:spMk id="35" creationId="{B13DD98E-A6EE-4FC1-857E-7C29DA40404E}"/>
          </ac:spMkLst>
        </pc:spChg>
        <pc:spChg chg="mod">
          <ac:chgData name="Ieva Dzene" userId="36e850b3-6b13-42b6-8b78-9778956e69b6" providerId="ADAL" clId="{8699CBCE-6ABF-40E5-82A5-86FE1EF32829}" dt="2021-12-08T10:07:10.417" v="3427" actId="255"/>
          <ac:spMkLst>
            <pc:docMk/>
            <pc:sldMk cId="3784997034" sldId="1254"/>
            <ac:spMk id="36" creationId="{6FCC8167-8627-46A7-8349-2F768A626259}"/>
          </ac:spMkLst>
        </pc:spChg>
        <pc:spChg chg="add mod">
          <ac:chgData name="Ieva Dzene" userId="36e850b3-6b13-42b6-8b78-9778956e69b6" providerId="ADAL" clId="{8699CBCE-6ABF-40E5-82A5-86FE1EF32829}" dt="2021-12-07T12:25:48.065" v="1864" actId="164"/>
          <ac:spMkLst>
            <pc:docMk/>
            <pc:sldMk cId="3784997034" sldId="1254"/>
            <ac:spMk id="37" creationId="{BCA31DC6-8658-46A8-9F90-11F63F57846B}"/>
          </ac:spMkLst>
        </pc:spChg>
        <pc:grpChg chg="add mod">
          <ac:chgData name="Ieva Dzene" userId="36e850b3-6b13-42b6-8b78-9778956e69b6" providerId="ADAL" clId="{8699CBCE-6ABF-40E5-82A5-86FE1EF32829}" dt="2021-12-07T12:25:48.065" v="1864" actId="164"/>
          <ac:grpSpMkLst>
            <pc:docMk/>
            <pc:sldMk cId="3784997034" sldId="1254"/>
            <ac:grpSpMk id="8" creationId="{F3646A4A-3994-4385-8756-0AC3BF911092}"/>
          </ac:grpSpMkLst>
        </pc:grpChg>
        <pc:picChg chg="add mod">
          <ac:chgData name="Ieva Dzene" userId="36e850b3-6b13-42b6-8b78-9778956e69b6" providerId="ADAL" clId="{8699CBCE-6ABF-40E5-82A5-86FE1EF32829}" dt="2021-12-07T10:46:40.634" v="1761" actId="108"/>
          <ac:picMkLst>
            <pc:docMk/>
            <pc:sldMk cId="3784997034" sldId="1254"/>
            <ac:picMk id="3" creationId="{26589761-8FEE-4B9F-A444-A47C0F791583}"/>
          </ac:picMkLst>
        </pc:picChg>
        <pc:picChg chg="add mod ord">
          <ac:chgData name="Ieva Dzene" userId="36e850b3-6b13-42b6-8b78-9778956e69b6" providerId="ADAL" clId="{8699CBCE-6ABF-40E5-82A5-86FE1EF32829}" dt="2021-12-07T12:07:37.353" v="1821" actId="1076"/>
          <ac:picMkLst>
            <pc:docMk/>
            <pc:sldMk cId="3784997034" sldId="1254"/>
            <ac:picMk id="5" creationId="{A54805E7-1B9B-4B0B-AE3A-988A8D38A89F}"/>
          </ac:picMkLst>
        </pc:picChg>
        <pc:picChg chg="add mod modCrop">
          <ac:chgData name="Ieva Dzene" userId="36e850b3-6b13-42b6-8b78-9778956e69b6" providerId="ADAL" clId="{8699CBCE-6ABF-40E5-82A5-86FE1EF32829}" dt="2021-12-07T12:25:48.065" v="1864" actId="164"/>
          <ac:picMkLst>
            <pc:docMk/>
            <pc:sldMk cId="3784997034" sldId="1254"/>
            <ac:picMk id="7" creationId="{1870E2C0-96E7-469F-88F0-3FED5BA0B833}"/>
          </ac:picMkLst>
        </pc:picChg>
        <pc:picChg chg="del">
          <ac:chgData name="Ieva Dzene" userId="36e850b3-6b13-42b6-8b78-9778956e69b6" providerId="ADAL" clId="{8699CBCE-6ABF-40E5-82A5-86FE1EF32829}" dt="2021-12-07T12:04:44.871" v="1774" actId="478"/>
          <ac:picMkLst>
            <pc:docMk/>
            <pc:sldMk cId="3784997034" sldId="1254"/>
            <ac:picMk id="15" creationId="{2050DD11-5057-44B1-BE05-2ABE310D4E5F}"/>
          </ac:picMkLst>
        </pc:picChg>
        <pc:picChg chg="del">
          <ac:chgData name="Ieva Dzene" userId="36e850b3-6b13-42b6-8b78-9778956e69b6" providerId="ADAL" clId="{8699CBCE-6ABF-40E5-82A5-86FE1EF32829}" dt="2021-12-07T10:46:29.404" v="1755" actId="478"/>
          <ac:picMkLst>
            <pc:docMk/>
            <pc:sldMk cId="3784997034" sldId="1254"/>
            <ac:picMk id="20" creationId="{9B5E6969-E707-4FFF-818F-A97912B5FEC4}"/>
          </ac:picMkLst>
        </pc:picChg>
        <pc:picChg chg="del">
          <ac:chgData name="Ieva Dzene" userId="36e850b3-6b13-42b6-8b78-9778956e69b6" providerId="ADAL" clId="{8699CBCE-6ABF-40E5-82A5-86FE1EF32829}" dt="2021-12-07T12:04:43.738" v="1773" actId="478"/>
          <ac:picMkLst>
            <pc:docMk/>
            <pc:sldMk cId="3784997034" sldId="1254"/>
            <ac:picMk id="22" creationId="{0259672A-9F67-4F30-8ABE-AA45F58C76AE}"/>
          </ac:picMkLst>
        </pc:picChg>
        <pc:picChg chg="del">
          <ac:chgData name="Ieva Dzene" userId="36e850b3-6b13-42b6-8b78-9778956e69b6" providerId="ADAL" clId="{8699CBCE-6ABF-40E5-82A5-86FE1EF32829}" dt="2021-12-07T12:04:42.121" v="1772" actId="478"/>
          <ac:picMkLst>
            <pc:docMk/>
            <pc:sldMk cId="3784997034" sldId="1254"/>
            <ac:picMk id="25" creationId="{96FAF8FA-6EEC-4D57-A670-C1C07E5D859D}"/>
          </ac:picMkLst>
        </pc:picChg>
      </pc:sldChg>
      <pc:sldChg chg="addSp delSp modSp mod addAnim delAnim modAnim">
        <pc:chgData name="Ieva Dzene" userId="36e850b3-6b13-42b6-8b78-9778956e69b6" providerId="ADAL" clId="{8699CBCE-6ABF-40E5-82A5-86FE1EF32829}" dt="2021-12-07T12:53:08.527" v="1919"/>
        <pc:sldMkLst>
          <pc:docMk/>
          <pc:sldMk cId="2506003538" sldId="1255"/>
        </pc:sldMkLst>
        <pc:spChg chg="mod ord">
          <ac:chgData name="Ieva Dzene" userId="36e850b3-6b13-42b6-8b78-9778956e69b6" providerId="ADAL" clId="{8699CBCE-6ABF-40E5-82A5-86FE1EF32829}" dt="2021-12-07T12:38:43.282" v="1878" actId="1076"/>
          <ac:spMkLst>
            <pc:docMk/>
            <pc:sldMk cId="2506003538" sldId="1255"/>
            <ac:spMk id="12" creationId="{736C8CCC-93B5-4E27-869F-9FE82389A69C}"/>
          </ac:spMkLst>
        </pc:spChg>
        <pc:spChg chg="mod ord">
          <ac:chgData name="Ieva Dzene" userId="36e850b3-6b13-42b6-8b78-9778956e69b6" providerId="ADAL" clId="{8699CBCE-6ABF-40E5-82A5-86FE1EF32829}" dt="2021-12-07T12:38:58.050" v="1883" actId="14100"/>
          <ac:spMkLst>
            <pc:docMk/>
            <pc:sldMk cId="2506003538" sldId="1255"/>
            <ac:spMk id="16" creationId="{F514AB4B-1D4E-4CA7-9F66-402E0D369059}"/>
          </ac:spMkLst>
        </pc:spChg>
        <pc:picChg chg="add mod">
          <ac:chgData name="Ieva Dzene" userId="36e850b3-6b13-42b6-8b78-9778956e69b6" providerId="ADAL" clId="{8699CBCE-6ABF-40E5-82A5-86FE1EF32829}" dt="2021-12-07T12:38:20.791" v="1872" actId="1076"/>
          <ac:picMkLst>
            <pc:docMk/>
            <pc:sldMk cId="2506003538" sldId="1255"/>
            <ac:picMk id="3" creationId="{78FC1B65-3841-4A44-9217-1C5860AD417E}"/>
          </ac:picMkLst>
        </pc:picChg>
        <pc:picChg chg="add del mod modCrop">
          <ac:chgData name="Ieva Dzene" userId="36e850b3-6b13-42b6-8b78-9778956e69b6" providerId="ADAL" clId="{8699CBCE-6ABF-40E5-82A5-86FE1EF32829}" dt="2021-12-07T12:50:30.020" v="1895" actId="478"/>
          <ac:picMkLst>
            <pc:docMk/>
            <pc:sldMk cId="2506003538" sldId="1255"/>
            <ac:picMk id="5" creationId="{B4FF5C8C-9795-45E9-ABD2-4928D118B1FD}"/>
          </ac:picMkLst>
        </pc:picChg>
        <pc:picChg chg="add mod modCrop">
          <ac:chgData name="Ieva Dzene" userId="36e850b3-6b13-42b6-8b78-9778956e69b6" providerId="ADAL" clId="{8699CBCE-6ABF-40E5-82A5-86FE1EF32829}" dt="2021-12-07T12:52:51.659" v="1914" actId="732"/>
          <ac:picMkLst>
            <pc:docMk/>
            <pc:sldMk cId="2506003538" sldId="1255"/>
            <ac:picMk id="7" creationId="{4A0F88B1-5C17-40B1-AD5C-B1B59978D9DC}"/>
          </ac:picMkLst>
        </pc:picChg>
        <pc:picChg chg="add mod modCrop">
          <ac:chgData name="Ieva Dzene" userId="36e850b3-6b13-42b6-8b78-9778956e69b6" providerId="ADAL" clId="{8699CBCE-6ABF-40E5-82A5-86FE1EF32829}" dt="2021-12-07T12:53:06.992" v="1918" actId="1076"/>
          <ac:picMkLst>
            <pc:docMk/>
            <pc:sldMk cId="2506003538" sldId="1255"/>
            <ac:picMk id="9" creationId="{792A207B-B10B-4D1A-B22B-C8BFEAB550CA}"/>
          </ac:picMkLst>
        </pc:picChg>
        <pc:picChg chg="del">
          <ac:chgData name="Ieva Dzene" userId="36e850b3-6b13-42b6-8b78-9778956e69b6" providerId="ADAL" clId="{8699CBCE-6ABF-40E5-82A5-86FE1EF32829}" dt="2021-12-07T12:38:07.814" v="1867" actId="478"/>
          <ac:picMkLst>
            <pc:docMk/>
            <pc:sldMk cId="2506003538" sldId="1255"/>
            <ac:picMk id="15" creationId="{BD4B041B-AD85-485D-8B21-C30F0C2CD01C}"/>
          </ac:picMkLst>
        </pc:picChg>
        <pc:picChg chg="del">
          <ac:chgData name="Ieva Dzene" userId="36e850b3-6b13-42b6-8b78-9778956e69b6" providerId="ADAL" clId="{8699CBCE-6ABF-40E5-82A5-86FE1EF32829}" dt="2021-12-07T12:45:50.691" v="1888" actId="478"/>
          <ac:picMkLst>
            <pc:docMk/>
            <pc:sldMk cId="2506003538" sldId="1255"/>
            <ac:picMk id="17" creationId="{00F0C57A-E237-4FFD-B04B-D03FE85FD644}"/>
          </ac:picMkLst>
        </pc:picChg>
        <pc:picChg chg="add del">
          <ac:chgData name="Ieva Dzene" userId="36e850b3-6b13-42b6-8b78-9778956e69b6" providerId="ADAL" clId="{8699CBCE-6ABF-40E5-82A5-86FE1EF32829}" dt="2021-12-07T12:45:49.922" v="1887" actId="478"/>
          <ac:picMkLst>
            <pc:docMk/>
            <pc:sldMk cId="2506003538" sldId="1255"/>
            <ac:picMk id="18" creationId="{0773F03C-3138-4E46-BBDB-61EBE66B332C}"/>
          </ac:picMkLst>
        </pc:picChg>
      </pc:sldChg>
      <pc:sldChg chg="addSp delSp modSp mod delAnim modAnim">
        <pc:chgData name="Ieva Dzene" userId="36e850b3-6b13-42b6-8b78-9778956e69b6" providerId="ADAL" clId="{8699CBCE-6ABF-40E5-82A5-86FE1EF32829}" dt="2021-12-07T14:16:24.450" v="2206" actId="14100"/>
        <pc:sldMkLst>
          <pc:docMk/>
          <pc:sldMk cId="902396068" sldId="1257"/>
        </pc:sldMkLst>
        <pc:spChg chg="mod">
          <ac:chgData name="Ieva Dzene" userId="36e850b3-6b13-42b6-8b78-9778956e69b6" providerId="ADAL" clId="{8699CBCE-6ABF-40E5-82A5-86FE1EF32829}" dt="2021-12-07T13:32:02.426" v="2010" actId="14100"/>
          <ac:spMkLst>
            <pc:docMk/>
            <pc:sldMk cId="902396068" sldId="1257"/>
            <ac:spMk id="18" creationId="{D49BAB6D-BE61-44D4-B46F-21F3BA0A0764}"/>
          </ac:spMkLst>
        </pc:spChg>
        <pc:spChg chg="del">
          <ac:chgData name="Ieva Dzene" userId="36e850b3-6b13-42b6-8b78-9778956e69b6" providerId="ADAL" clId="{8699CBCE-6ABF-40E5-82A5-86FE1EF32829}" dt="2021-12-07T13:23:36.166" v="1929" actId="478"/>
          <ac:spMkLst>
            <pc:docMk/>
            <pc:sldMk cId="902396068" sldId="1257"/>
            <ac:spMk id="19" creationId="{E526249B-4C15-43B1-8E7B-324E2F51C495}"/>
          </ac:spMkLst>
        </pc:spChg>
        <pc:spChg chg="del">
          <ac:chgData name="Ieva Dzene" userId="36e850b3-6b13-42b6-8b78-9778956e69b6" providerId="ADAL" clId="{8699CBCE-6ABF-40E5-82A5-86FE1EF32829}" dt="2021-12-07T13:23:31.838" v="1928" actId="478"/>
          <ac:spMkLst>
            <pc:docMk/>
            <pc:sldMk cId="902396068" sldId="1257"/>
            <ac:spMk id="20" creationId="{DF1B1145-6CB5-4DD6-8AD9-DF702717532C}"/>
          </ac:spMkLst>
        </pc:spChg>
        <pc:spChg chg="mod">
          <ac:chgData name="Ieva Dzene" userId="36e850b3-6b13-42b6-8b78-9778956e69b6" providerId="ADAL" clId="{8699CBCE-6ABF-40E5-82A5-86FE1EF32829}" dt="2021-12-07T13:26:39.780" v="1950" actId="14100"/>
          <ac:spMkLst>
            <pc:docMk/>
            <pc:sldMk cId="902396068" sldId="1257"/>
            <ac:spMk id="24" creationId="{0C038D7E-3153-4884-A0D6-A87CDE1ABDAE}"/>
          </ac:spMkLst>
        </pc:spChg>
        <pc:spChg chg="mod">
          <ac:chgData name="Ieva Dzene" userId="36e850b3-6b13-42b6-8b78-9778956e69b6" providerId="ADAL" clId="{8699CBCE-6ABF-40E5-82A5-86FE1EF32829}" dt="2021-12-07T14:08:36.145" v="2162" actId="14100"/>
          <ac:spMkLst>
            <pc:docMk/>
            <pc:sldMk cId="902396068" sldId="1257"/>
            <ac:spMk id="25" creationId="{7954A657-8287-48EA-A62F-59FFB7F2D6FD}"/>
          </ac:spMkLst>
        </pc:spChg>
        <pc:spChg chg="del mod">
          <ac:chgData name="Ieva Dzene" userId="36e850b3-6b13-42b6-8b78-9778956e69b6" providerId="ADAL" clId="{8699CBCE-6ABF-40E5-82A5-86FE1EF32829}" dt="2021-12-07T14:03:40.461" v="2145" actId="478"/>
          <ac:spMkLst>
            <pc:docMk/>
            <pc:sldMk cId="902396068" sldId="1257"/>
            <ac:spMk id="26" creationId="{4F14FDE1-7C32-4758-A9C2-49D9439D6402}"/>
          </ac:spMkLst>
        </pc:spChg>
        <pc:spChg chg="mod">
          <ac:chgData name="Ieva Dzene" userId="36e850b3-6b13-42b6-8b78-9778956e69b6" providerId="ADAL" clId="{8699CBCE-6ABF-40E5-82A5-86FE1EF32829}" dt="2021-12-07T13:29:13.550" v="1969" actId="14100"/>
          <ac:spMkLst>
            <pc:docMk/>
            <pc:sldMk cId="902396068" sldId="1257"/>
            <ac:spMk id="27" creationId="{1298B177-F9FA-4EE2-9B62-D16991C6198B}"/>
          </ac:spMkLst>
        </pc:spChg>
        <pc:spChg chg="mod">
          <ac:chgData name="Ieva Dzene" userId="36e850b3-6b13-42b6-8b78-9778956e69b6" providerId="ADAL" clId="{8699CBCE-6ABF-40E5-82A5-86FE1EF32829}" dt="2021-12-07T13:29:56.830" v="1978" actId="14100"/>
          <ac:spMkLst>
            <pc:docMk/>
            <pc:sldMk cId="902396068" sldId="1257"/>
            <ac:spMk id="28" creationId="{7D539016-2407-4C42-BBF0-732FD9C4F657}"/>
          </ac:spMkLst>
        </pc:spChg>
        <pc:spChg chg="del mod">
          <ac:chgData name="Ieva Dzene" userId="36e850b3-6b13-42b6-8b78-9778956e69b6" providerId="ADAL" clId="{8699CBCE-6ABF-40E5-82A5-86FE1EF32829}" dt="2021-12-07T14:03:41.557" v="2146" actId="478"/>
          <ac:spMkLst>
            <pc:docMk/>
            <pc:sldMk cId="902396068" sldId="1257"/>
            <ac:spMk id="29" creationId="{B0FB0DFB-593D-4101-909A-40F6EA304D84}"/>
          </ac:spMkLst>
        </pc:spChg>
        <pc:spChg chg="add mod">
          <ac:chgData name="Ieva Dzene" userId="36e850b3-6b13-42b6-8b78-9778956e69b6" providerId="ADAL" clId="{8699CBCE-6ABF-40E5-82A5-86FE1EF32829}" dt="2021-12-07T14:16:24.450" v="2206" actId="14100"/>
          <ac:spMkLst>
            <pc:docMk/>
            <pc:sldMk cId="902396068" sldId="1257"/>
            <ac:spMk id="31" creationId="{78A5A45C-85D9-4ADA-8357-6D51F52894AF}"/>
          </ac:spMkLst>
        </pc:spChg>
        <pc:spChg chg="del mod">
          <ac:chgData name="Ieva Dzene" userId="36e850b3-6b13-42b6-8b78-9778956e69b6" providerId="ADAL" clId="{8699CBCE-6ABF-40E5-82A5-86FE1EF32829}" dt="2021-12-07T13:23:24.743" v="1927" actId="478"/>
          <ac:spMkLst>
            <pc:docMk/>
            <pc:sldMk cId="902396068" sldId="1257"/>
            <ac:spMk id="32" creationId="{3EBBBE6B-EA1D-4E58-94D1-DCF9AEB73DA6}"/>
          </ac:spMkLst>
        </pc:spChg>
        <pc:spChg chg="mod">
          <ac:chgData name="Ieva Dzene" userId="36e850b3-6b13-42b6-8b78-9778956e69b6" providerId="ADAL" clId="{8699CBCE-6ABF-40E5-82A5-86FE1EF32829}" dt="2021-12-07T13:59:20.786" v="2140" actId="20577"/>
          <ac:spMkLst>
            <pc:docMk/>
            <pc:sldMk cId="902396068" sldId="1257"/>
            <ac:spMk id="33" creationId="{9ABBAC7D-C309-4C8F-8B39-7F28B014BDF2}"/>
          </ac:spMkLst>
        </pc:spChg>
        <pc:spChg chg="add mod">
          <ac:chgData name="Ieva Dzene" userId="36e850b3-6b13-42b6-8b78-9778956e69b6" providerId="ADAL" clId="{8699CBCE-6ABF-40E5-82A5-86FE1EF32829}" dt="2021-12-07T13:31:43.473" v="2006" actId="14100"/>
          <ac:spMkLst>
            <pc:docMk/>
            <pc:sldMk cId="902396068" sldId="1257"/>
            <ac:spMk id="34" creationId="{11FA9368-D712-47A4-8CD7-2208F655E53E}"/>
          </ac:spMkLst>
        </pc:spChg>
        <pc:spChg chg="mod">
          <ac:chgData name="Ieva Dzene" userId="36e850b3-6b13-42b6-8b78-9778956e69b6" providerId="ADAL" clId="{8699CBCE-6ABF-40E5-82A5-86FE1EF32829}" dt="2021-12-07T13:31:06.145" v="1993" actId="14100"/>
          <ac:spMkLst>
            <pc:docMk/>
            <pc:sldMk cId="902396068" sldId="1257"/>
            <ac:spMk id="35" creationId="{BEAE9307-0251-46CC-9716-BC034EDBC2BF}"/>
          </ac:spMkLst>
        </pc:spChg>
        <pc:spChg chg="del">
          <ac:chgData name="Ieva Dzene" userId="36e850b3-6b13-42b6-8b78-9778956e69b6" providerId="ADAL" clId="{8699CBCE-6ABF-40E5-82A5-86FE1EF32829}" dt="2021-12-07T10:47:05.293" v="1762" actId="478"/>
          <ac:spMkLst>
            <pc:docMk/>
            <pc:sldMk cId="902396068" sldId="1257"/>
            <ac:spMk id="37" creationId="{E67C8C1D-6F83-4DF9-B1D6-25357F1D99BD}"/>
          </ac:spMkLst>
        </pc:spChg>
        <pc:spChg chg="add mod">
          <ac:chgData name="Ieva Dzene" userId="36e850b3-6b13-42b6-8b78-9778956e69b6" providerId="ADAL" clId="{8699CBCE-6ABF-40E5-82A5-86FE1EF32829}" dt="2021-12-07T13:30:15.174" v="1982" actId="14100"/>
          <ac:spMkLst>
            <pc:docMk/>
            <pc:sldMk cId="902396068" sldId="1257"/>
            <ac:spMk id="38" creationId="{916D9392-EDE3-4F45-A410-CF1F3280AEF9}"/>
          </ac:spMkLst>
        </pc:spChg>
        <pc:spChg chg="add mod">
          <ac:chgData name="Ieva Dzene" userId="36e850b3-6b13-42b6-8b78-9778956e69b6" providerId="ADAL" clId="{8699CBCE-6ABF-40E5-82A5-86FE1EF32829}" dt="2021-12-07T13:32:09.845" v="2011" actId="14100"/>
          <ac:spMkLst>
            <pc:docMk/>
            <pc:sldMk cId="902396068" sldId="1257"/>
            <ac:spMk id="39" creationId="{CE3DAFD7-CDAA-42E7-9E69-8A9621E6C793}"/>
          </ac:spMkLst>
        </pc:spChg>
        <pc:spChg chg="add mod">
          <ac:chgData name="Ieva Dzene" userId="36e850b3-6b13-42b6-8b78-9778956e69b6" providerId="ADAL" clId="{8699CBCE-6ABF-40E5-82A5-86FE1EF32829}" dt="2021-12-07T13:58:21.834" v="2122" actId="1076"/>
          <ac:spMkLst>
            <pc:docMk/>
            <pc:sldMk cId="902396068" sldId="1257"/>
            <ac:spMk id="40" creationId="{5184C557-9A4E-4708-AF10-59FEBFF80C36}"/>
          </ac:spMkLst>
        </pc:spChg>
        <pc:spChg chg="add mod">
          <ac:chgData name="Ieva Dzene" userId="36e850b3-6b13-42b6-8b78-9778956e69b6" providerId="ADAL" clId="{8699CBCE-6ABF-40E5-82A5-86FE1EF32829}" dt="2021-12-07T14:07:28.651" v="2158" actId="1076"/>
          <ac:spMkLst>
            <pc:docMk/>
            <pc:sldMk cId="902396068" sldId="1257"/>
            <ac:spMk id="42" creationId="{989BBA40-4DC1-4C27-8E50-8194E42B9A69}"/>
          </ac:spMkLst>
        </pc:spChg>
        <pc:spChg chg="add mod">
          <ac:chgData name="Ieva Dzene" userId="36e850b3-6b13-42b6-8b78-9778956e69b6" providerId="ADAL" clId="{8699CBCE-6ABF-40E5-82A5-86FE1EF32829}" dt="2021-12-07T14:07:28.651" v="2158" actId="1076"/>
          <ac:spMkLst>
            <pc:docMk/>
            <pc:sldMk cId="902396068" sldId="1257"/>
            <ac:spMk id="43" creationId="{9D51A718-80A3-4F0F-A6A4-B59276DDDFB1}"/>
          </ac:spMkLst>
        </pc:spChg>
        <pc:picChg chg="add del">
          <ac:chgData name="Ieva Dzene" userId="36e850b3-6b13-42b6-8b78-9778956e69b6" providerId="ADAL" clId="{8699CBCE-6ABF-40E5-82A5-86FE1EF32829}" dt="2021-12-07T13:23:15.723" v="1924" actId="478"/>
          <ac:picMkLst>
            <pc:docMk/>
            <pc:sldMk cId="902396068" sldId="1257"/>
            <ac:picMk id="3" creationId="{1A816D2A-3660-4EB3-A332-CE9126C88837}"/>
          </ac:picMkLst>
        </pc:picChg>
        <pc:picChg chg="add mod ord">
          <ac:chgData name="Ieva Dzene" userId="36e850b3-6b13-42b6-8b78-9778956e69b6" providerId="ADAL" clId="{8699CBCE-6ABF-40E5-82A5-86FE1EF32829}" dt="2021-12-07T13:58:42.173" v="2128" actId="1076"/>
          <ac:picMkLst>
            <pc:docMk/>
            <pc:sldMk cId="902396068" sldId="1257"/>
            <ac:picMk id="4" creationId="{C3EA7832-C805-4116-9589-310EEDE59D3A}"/>
          </ac:picMkLst>
        </pc:picChg>
        <pc:picChg chg="add mod modCrop">
          <ac:chgData name="Ieva Dzene" userId="36e850b3-6b13-42b6-8b78-9778956e69b6" providerId="ADAL" clId="{8699CBCE-6ABF-40E5-82A5-86FE1EF32829}" dt="2021-12-07T14:07:48.443" v="2159" actId="732"/>
          <ac:picMkLst>
            <pc:docMk/>
            <pc:sldMk cId="902396068" sldId="1257"/>
            <ac:picMk id="6" creationId="{8A8CE6A3-0FBF-44A5-B64C-B906E1E6A5B6}"/>
          </ac:picMkLst>
        </pc:picChg>
        <pc:picChg chg="del">
          <ac:chgData name="Ieva Dzene" userId="36e850b3-6b13-42b6-8b78-9778956e69b6" providerId="ADAL" clId="{8699CBCE-6ABF-40E5-82A5-86FE1EF32829}" dt="2021-12-07T10:47:07.173" v="1763" actId="478"/>
          <ac:picMkLst>
            <pc:docMk/>
            <pc:sldMk cId="902396068" sldId="1257"/>
            <ac:picMk id="23" creationId="{F38AF71C-8127-46D2-A847-114D25CA7AAC}"/>
          </ac:picMkLst>
        </pc:picChg>
        <pc:picChg chg="add mod">
          <ac:chgData name="Ieva Dzene" userId="36e850b3-6b13-42b6-8b78-9778956e69b6" providerId="ADAL" clId="{8699CBCE-6ABF-40E5-82A5-86FE1EF32829}" dt="2021-12-07T10:47:08.792" v="1764"/>
          <ac:picMkLst>
            <pc:docMk/>
            <pc:sldMk cId="902396068" sldId="1257"/>
            <ac:picMk id="30" creationId="{AA88EABD-CF48-4BAE-8407-C278E4CE28AD}"/>
          </ac:picMkLst>
        </pc:picChg>
        <pc:picChg chg="del">
          <ac:chgData name="Ieva Dzene" userId="36e850b3-6b13-42b6-8b78-9778956e69b6" providerId="ADAL" clId="{8699CBCE-6ABF-40E5-82A5-86FE1EF32829}" dt="2021-12-07T13:23:18.093" v="1925" actId="478"/>
          <ac:picMkLst>
            <pc:docMk/>
            <pc:sldMk cId="902396068" sldId="1257"/>
            <ac:picMk id="36" creationId="{803DEF53-D4DC-4B10-8D60-B9C0829CB425}"/>
          </ac:picMkLst>
        </pc:picChg>
        <pc:picChg chg="add del mod">
          <ac:chgData name="Ieva Dzene" userId="36e850b3-6b13-42b6-8b78-9778956e69b6" providerId="ADAL" clId="{8699CBCE-6ABF-40E5-82A5-86FE1EF32829}" dt="2021-12-07T13:58:29.551" v="2124"/>
          <ac:picMkLst>
            <pc:docMk/>
            <pc:sldMk cId="902396068" sldId="1257"/>
            <ac:picMk id="41" creationId="{0B84040A-1730-478A-A302-7AA33154AFBE}"/>
          </ac:picMkLst>
        </pc:picChg>
      </pc:sldChg>
      <pc:sldChg chg="addSp delSp modSp mod">
        <pc:chgData name="Ieva Dzene" userId="36e850b3-6b13-42b6-8b78-9778956e69b6" providerId="ADAL" clId="{8699CBCE-6ABF-40E5-82A5-86FE1EF32829}" dt="2021-12-07T14:37:11.599" v="2545" actId="20577"/>
        <pc:sldMkLst>
          <pc:docMk/>
          <pc:sldMk cId="2836246578" sldId="1258"/>
        </pc:sldMkLst>
        <pc:spChg chg="add mod">
          <ac:chgData name="Ieva Dzene" userId="36e850b3-6b13-42b6-8b78-9778956e69b6" providerId="ADAL" clId="{8699CBCE-6ABF-40E5-82A5-86FE1EF32829}" dt="2021-12-07T14:35:20.506" v="2391" actId="1076"/>
          <ac:spMkLst>
            <pc:docMk/>
            <pc:sldMk cId="2836246578" sldId="1258"/>
            <ac:spMk id="13" creationId="{C6BE8EA2-AD8F-4C2B-9034-8B08A1074488}"/>
          </ac:spMkLst>
        </pc:spChg>
        <pc:spChg chg="add mod">
          <ac:chgData name="Ieva Dzene" userId="36e850b3-6b13-42b6-8b78-9778956e69b6" providerId="ADAL" clId="{8699CBCE-6ABF-40E5-82A5-86FE1EF32829}" dt="2021-12-07T14:35:20.506" v="2391" actId="1076"/>
          <ac:spMkLst>
            <pc:docMk/>
            <pc:sldMk cId="2836246578" sldId="1258"/>
            <ac:spMk id="14" creationId="{1545CDD7-E935-4A6B-9782-BC01CDDC7E98}"/>
          </ac:spMkLst>
        </pc:spChg>
        <pc:spChg chg="del">
          <ac:chgData name="Ieva Dzene" userId="36e850b3-6b13-42b6-8b78-9778956e69b6" providerId="ADAL" clId="{8699CBCE-6ABF-40E5-82A5-86FE1EF32829}" dt="2021-12-07T14:11:04.234" v="2167" actId="478"/>
          <ac:spMkLst>
            <pc:docMk/>
            <pc:sldMk cId="2836246578" sldId="1258"/>
            <ac:spMk id="16" creationId="{0EAB0492-B8F6-4D7A-B127-B2CA0A7D58CF}"/>
          </ac:spMkLst>
        </pc:spChg>
        <pc:spChg chg="mod ord">
          <ac:chgData name="Ieva Dzene" userId="36e850b3-6b13-42b6-8b78-9778956e69b6" providerId="ADAL" clId="{8699CBCE-6ABF-40E5-82A5-86FE1EF32829}" dt="2021-12-07T14:35:20.506" v="2391" actId="1076"/>
          <ac:spMkLst>
            <pc:docMk/>
            <pc:sldMk cId="2836246578" sldId="1258"/>
            <ac:spMk id="18" creationId="{CFE59228-346F-4FE3-9D6C-D376D8B28378}"/>
          </ac:spMkLst>
        </pc:spChg>
        <pc:spChg chg="mod">
          <ac:chgData name="Ieva Dzene" userId="36e850b3-6b13-42b6-8b78-9778956e69b6" providerId="ADAL" clId="{8699CBCE-6ABF-40E5-82A5-86FE1EF32829}" dt="2021-12-07T14:37:11.599" v="2545" actId="20577"/>
          <ac:spMkLst>
            <pc:docMk/>
            <pc:sldMk cId="2836246578" sldId="1258"/>
            <ac:spMk id="20" creationId="{32454CC3-385C-42A1-829D-CBADBEF3B39D}"/>
          </ac:spMkLst>
        </pc:spChg>
        <pc:picChg chg="add mod modCrop">
          <ac:chgData name="Ieva Dzene" userId="36e850b3-6b13-42b6-8b78-9778956e69b6" providerId="ADAL" clId="{8699CBCE-6ABF-40E5-82A5-86FE1EF32829}" dt="2021-12-07T14:35:20.506" v="2391" actId="1076"/>
          <ac:picMkLst>
            <pc:docMk/>
            <pc:sldMk cId="2836246578" sldId="1258"/>
            <ac:picMk id="3" creationId="{0AFCD8EE-686F-40D6-BD5B-4350C292F5D2}"/>
          </ac:picMkLst>
        </pc:picChg>
        <pc:picChg chg="add mod">
          <ac:chgData name="Ieva Dzene" userId="36e850b3-6b13-42b6-8b78-9778956e69b6" providerId="ADAL" clId="{8699CBCE-6ABF-40E5-82A5-86FE1EF32829}" dt="2021-12-07T14:35:20.506" v="2391" actId="1076"/>
          <ac:picMkLst>
            <pc:docMk/>
            <pc:sldMk cId="2836246578" sldId="1258"/>
            <ac:picMk id="5" creationId="{40FC1654-671A-44B1-BAED-927DC33DF6CE}"/>
          </ac:picMkLst>
        </pc:picChg>
        <pc:picChg chg="del">
          <ac:chgData name="Ieva Dzene" userId="36e850b3-6b13-42b6-8b78-9778956e69b6" providerId="ADAL" clId="{8699CBCE-6ABF-40E5-82A5-86FE1EF32829}" dt="2021-12-07T14:11:01.748" v="2165" actId="478"/>
          <ac:picMkLst>
            <pc:docMk/>
            <pc:sldMk cId="2836246578" sldId="1258"/>
            <ac:picMk id="15" creationId="{A2EB2D48-5D72-4C54-97BC-5B8CE438F12A}"/>
          </ac:picMkLst>
        </pc:picChg>
        <pc:picChg chg="del">
          <ac:chgData name="Ieva Dzene" userId="36e850b3-6b13-42b6-8b78-9778956e69b6" providerId="ADAL" clId="{8699CBCE-6ABF-40E5-82A5-86FE1EF32829}" dt="2021-12-07T14:11:03.196" v="2166" actId="478"/>
          <ac:picMkLst>
            <pc:docMk/>
            <pc:sldMk cId="2836246578" sldId="1258"/>
            <ac:picMk id="17" creationId="{05DE6F5B-2BDE-4966-858E-66652F2A1BD7}"/>
          </ac:picMkLst>
        </pc:picChg>
      </pc:sldChg>
      <pc:sldChg chg="addSp delSp modSp mod">
        <pc:chgData name="Ieva Dzene" userId="36e850b3-6b13-42b6-8b78-9778956e69b6" providerId="ADAL" clId="{8699CBCE-6ABF-40E5-82A5-86FE1EF32829}" dt="2021-12-07T14:33:12.311" v="2329" actId="1076"/>
        <pc:sldMkLst>
          <pc:docMk/>
          <pc:sldMk cId="2623727456" sldId="1259"/>
        </pc:sldMkLst>
        <pc:spChg chg="add mod">
          <ac:chgData name="Ieva Dzene" userId="36e850b3-6b13-42b6-8b78-9778956e69b6" providerId="ADAL" clId="{8699CBCE-6ABF-40E5-82A5-86FE1EF32829}" dt="2021-12-07T14:33:12.311" v="2329" actId="1076"/>
          <ac:spMkLst>
            <pc:docMk/>
            <pc:sldMk cId="2623727456" sldId="1259"/>
            <ac:spMk id="7" creationId="{90E25B4F-9ED9-4857-B3DD-BCFBE0BBA17F}"/>
          </ac:spMkLst>
        </pc:spChg>
        <pc:spChg chg="del mod ord">
          <ac:chgData name="Ieva Dzene" userId="36e850b3-6b13-42b6-8b78-9778956e69b6" providerId="ADAL" clId="{8699CBCE-6ABF-40E5-82A5-86FE1EF32829}" dt="2021-12-07T14:32:11.354" v="2326" actId="478"/>
          <ac:spMkLst>
            <pc:docMk/>
            <pc:sldMk cId="2623727456" sldId="1259"/>
            <ac:spMk id="13" creationId="{9195CA8F-4CC7-47B3-9BF4-DCCDA5CB1D5C}"/>
          </ac:spMkLst>
        </pc:spChg>
        <pc:spChg chg="del mod ord">
          <ac:chgData name="Ieva Dzene" userId="36e850b3-6b13-42b6-8b78-9778956e69b6" providerId="ADAL" clId="{8699CBCE-6ABF-40E5-82A5-86FE1EF32829}" dt="2021-12-07T14:29:27.513" v="2241" actId="478"/>
          <ac:spMkLst>
            <pc:docMk/>
            <pc:sldMk cId="2623727456" sldId="1259"/>
            <ac:spMk id="14" creationId="{26A6B95A-DA5A-4728-B094-D990C1780DD9}"/>
          </ac:spMkLst>
        </pc:spChg>
        <pc:spChg chg="add mod">
          <ac:chgData name="Ieva Dzene" userId="36e850b3-6b13-42b6-8b78-9778956e69b6" providerId="ADAL" clId="{8699CBCE-6ABF-40E5-82A5-86FE1EF32829}" dt="2021-12-07T14:33:12.311" v="2329" actId="1076"/>
          <ac:spMkLst>
            <pc:docMk/>
            <pc:sldMk cId="2623727456" sldId="1259"/>
            <ac:spMk id="15" creationId="{C25AD8E8-A48A-4D64-BE5E-D7FF7609E549}"/>
          </ac:spMkLst>
        </pc:spChg>
        <pc:picChg chg="add mod modCrop">
          <ac:chgData name="Ieva Dzene" userId="36e850b3-6b13-42b6-8b78-9778956e69b6" providerId="ADAL" clId="{8699CBCE-6ABF-40E5-82A5-86FE1EF32829}" dt="2021-12-07T14:33:12.311" v="2329" actId="1076"/>
          <ac:picMkLst>
            <pc:docMk/>
            <pc:sldMk cId="2623727456" sldId="1259"/>
            <ac:picMk id="3" creationId="{011EB904-83DB-433E-84D5-7B30ACE4CBE6}"/>
          </ac:picMkLst>
        </pc:picChg>
        <pc:picChg chg="add del mod modCrop">
          <ac:chgData name="Ieva Dzene" userId="36e850b3-6b13-42b6-8b78-9778956e69b6" providerId="ADAL" clId="{8699CBCE-6ABF-40E5-82A5-86FE1EF32829}" dt="2021-12-07T14:33:12.311" v="2329" actId="1076"/>
          <ac:picMkLst>
            <pc:docMk/>
            <pc:sldMk cId="2623727456" sldId="1259"/>
            <ac:picMk id="5" creationId="{CB2DDAC2-B663-4DFA-8035-6410A44D523F}"/>
          </ac:picMkLst>
        </pc:picChg>
        <pc:picChg chg="del">
          <ac:chgData name="Ieva Dzene" userId="36e850b3-6b13-42b6-8b78-9778956e69b6" providerId="ADAL" clId="{8699CBCE-6ABF-40E5-82A5-86FE1EF32829}" dt="2021-12-07T14:26:14.235" v="2209" actId="478"/>
          <ac:picMkLst>
            <pc:docMk/>
            <pc:sldMk cId="2623727456" sldId="1259"/>
            <ac:picMk id="11" creationId="{121F4123-ECF6-4E58-A540-0AFD23D81E25}"/>
          </ac:picMkLst>
        </pc:picChg>
        <pc:picChg chg="del">
          <ac:chgData name="Ieva Dzene" userId="36e850b3-6b13-42b6-8b78-9778956e69b6" providerId="ADAL" clId="{8699CBCE-6ABF-40E5-82A5-86FE1EF32829}" dt="2021-12-07T14:26:16.859" v="2210" actId="478"/>
          <ac:picMkLst>
            <pc:docMk/>
            <pc:sldMk cId="2623727456" sldId="1259"/>
            <ac:picMk id="12" creationId="{135C24CF-D4CB-4F58-9A67-E2E0D6944C0F}"/>
          </ac:picMkLst>
        </pc:picChg>
      </pc:sldChg>
      <pc:sldChg chg="addSp delSp modSp mod modAnim">
        <pc:chgData name="Ieva Dzene" userId="36e850b3-6b13-42b6-8b78-9778956e69b6" providerId="ADAL" clId="{8699CBCE-6ABF-40E5-82A5-86FE1EF32829}" dt="2021-12-07T15:07:36.505" v="2644" actId="20577"/>
        <pc:sldMkLst>
          <pc:docMk/>
          <pc:sldMk cId="472098171" sldId="1261"/>
        </pc:sldMkLst>
        <pc:spChg chg="add mod">
          <ac:chgData name="Ieva Dzene" userId="36e850b3-6b13-42b6-8b78-9778956e69b6" providerId="ADAL" clId="{8699CBCE-6ABF-40E5-82A5-86FE1EF32829}" dt="2021-12-07T15:05:40.497" v="2633" actId="255"/>
          <ac:spMkLst>
            <pc:docMk/>
            <pc:sldMk cId="472098171" sldId="1261"/>
            <ac:spMk id="4" creationId="{E9954FDD-5B03-4DB9-B89E-D5908C258231}"/>
          </ac:spMkLst>
        </pc:spChg>
        <pc:spChg chg="mod">
          <ac:chgData name="Ieva Dzene" userId="36e850b3-6b13-42b6-8b78-9778956e69b6" providerId="ADAL" clId="{8699CBCE-6ABF-40E5-82A5-86FE1EF32829}" dt="2021-12-07T14:48:40.161" v="2568" actId="1076"/>
          <ac:spMkLst>
            <pc:docMk/>
            <pc:sldMk cId="472098171" sldId="1261"/>
            <ac:spMk id="11" creationId="{03642EBD-47BC-49BD-90C8-10EAD4A2C93E}"/>
          </ac:spMkLst>
        </pc:spChg>
        <pc:spChg chg="mod">
          <ac:chgData name="Ieva Dzene" userId="36e850b3-6b13-42b6-8b78-9778956e69b6" providerId="ADAL" clId="{8699CBCE-6ABF-40E5-82A5-86FE1EF32829}" dt="2021-12-07T14:48:20.079" v="2562" actId="1076"/>
          <ac:spMkLst>
            <pc:docMk/>
            <pc:sldMk cId="472098171" sldId="1261"/>
            <ac:spMk id="12" creationId="{5E380A8B-C845-4236-95EE-9472A414EA3F}"/>
          </ac:spMkLst>
        </pc:spChg>
        <pc:spChg chg="mod">
          <ac:chgData name="Ieva Dzene" userId="36e850b3-6b13-42b6-8b78-9778956e69b6" providerId="ADAL" clId="{8699CBCE-6ABF-40E5-82A5-86FE1EF32829}" dt="2021-12-07T15:07:36.505" v="2644" actId="20577"/>
          <ac:spMkLst>
            <pc:docMk/>
            <pc:sldMk cId="472098171" sldId="1261"/>
            <ac:spMk id="14" creationId="{36915E40-EA46-477B-8522-263023964501}"/>
          </ac:spMkLst>
        </pc:spChg>
        <pc:spChg chg="del">
          <ac:chgData name="Ieva Dzene" userId="36e850b3-6b13-42b6-8b78-9778956e69b6" providerId="ADAL" clId="{8699CBCE-6ABF-40E5-82A5-86FE1EF32829}" dt="2021-12-07T10:47:17.470" v="1766" actId="478"/>
          <ac:spMkLst>
            <pc:docMk/>
            <pc:sldMk cId="472098171" sldId="1261"/>
            <ac:spMk id="18" creationId="{45473E86-3F86-41F7-A6E6-0286E9EAAD77}"/>
          </ac:spMkLst>
        </pc:spChg>
        <pc:spChg chg="mod">
          <ac:chgData name="Ieva Dzene" userId="36e850b3-6b13-42b6-8b78-9778956e69b6" providerId="ADAL" clId="{8699CBCE-6ABF-40E5-82A5-86FE1EF32829}" dt="2021-12-07T14:47:11.526" v="2555" actId="1076"/>
          <ac:spMkLst>
            <pc:docMk/>
            <pc:sldMk cId="472098171" sldId="1261"/>
            <ac:spMk id="19" creationId="{F3A4EE3E-3685-4698-AEB2-63A87360DF91}"/>
          </ac:spMkLst>
        </pc:spChg>
        <pc:spChg chg="mod">
          <ac:chgData name="Ieva Dzene" userId="36e850b3-6b13-42b6-8b78-9778956e69b6" providerId="ADAL" clId="{8699CBCE-6ABF-40E5-82A5-86FE1EF32829}" dt="2021-12-07T14:47:31.213" v="2561" actId="14100"/>
          <ac:spMkLst>
            <pc:docMk/>
            <pc:sldMk cId="472098171" sldId="1261"/>
            <ac:spMk id="20" creationId="{4C28A8D8-0D36-4001-8895-E5E6EE701754}"/>
          </ac:spMkLst>
        </pc:spChg>
        <pc:spChg chg="mod">
          <ac:chgData name="Ieva Dzene" userId="36e850b3-6b13-42b6-8b78-9778956e69b6" providerId="ADAL" clId="{8699CBCE-6ABF-40E5-82A5-86FE1EF32829}" dt="2021-12-07T14:49:07.341" v="2570" actId="14100"/>
          <ac:spMkLst>
            <pc:docMk/>
            <pc:sldMk cId="472098171" sldId="1261"/>
            <ac:spMk id="21" creationId="{68FC3A2E-2ED8-48D0-BA9B-01E972C76214}"/>
          </ac:spMkLst>
        </pc:spChg>
        <pc:picChg chg="add mod ord">
          <ac:chgData name="Ieva Dzene" userId="36e850b3-6b13-42b6-8b78-9778956e69b6" providerId="ADAL" clId="{8699CBCE-6ABF-40E5-82A5-86FE1EF32829}" dt="2021-12-07T14:47:08.758" v="2554" actId="1076"/>
          <ac:picMkLst>
            <pc:docMk/>
            <pc:sldMk cId="472098171" sldId="1261"/>
            <ac:picMk id="3" creationId="{3F5B10F8-B8B0-4E94-A54E-C677DF7FDB05}"/>
          </ac:picMkLst>
        </pc:picChg>
        <pc:picChg chg="del">
          <ac:chgData name="Ieva Dzene" userId="36e850b3-6b13-42b6-8b78-9778956e69b6" providerId="ADAL" clId="{8699CBCE-6ABF-40E5-82A5-86FE1EF32829}" dt="2021-12-07T10:47:16.457" v="1765" actId="478"/>
          <ac:picMkLst>
            <pc:docMk/>
            <pc:sldMk cId="472098171" sldId="1261"/>
            <ac:picMk id="13" creationId="{8B74BB40-2E4C-49BF-B0FC-8FBEF549E223}"/>
          </ac:picMkLst>
        </pc:picChg>
        <pc:picChg chg="del">
          <ac:chgData name="Ieva Dzene" userId="36e850b3-6b13-42b6-8b78-9778956e69b6" providerId="ADAL" clId="{8699CBCE-6ABF-40E5-82A5-86FE1EF32829}" dt="2021-12-07T14:46:47.172" v="2548" actId="478"/>
          <ac:picMkLst>
            <pc:docMk/>
            <pc:sldMk cId="472098171" sldId="1261"/>
            <ac:picMk id="16" creationId="{2D9207F8-CCC4-4884-A49D-22FF472478D0}"/>
          </ac:picMkLst>
        </pc:picChg>
        <pc:picChg chg="add mod">
          <ac:chgData name="Ieva Dzene" userId="36e850b3-6b13-42b6-8b78-9778956e69b6" providerId="ADAL" clId="{8699CBCE-6ABF-40E5-82A5-86FE1EF32829}" dt="2021-12-07T10:47:25.349" v="1770" actId="14100"/>
          <ac:picMkLst>
            <pc:docMk/>
            <pc:sldMk cId="472098171" sldId="1261"/>
            <ac:picMk id="17" creationId="{FA40DEDD-AFB5-4817-AD91-F568574C48D6}"/>
          </ac:picMkLst>
        </pc:picChg>
      </pc:sldChg>
      <pc:sldChg chg="addSp delSp modSp mod modAnim">
        <pc:chgData name="Ieva Dzene" userId="36e850b3-6b13-42b6-8b78-9778956e69b6" providerId="ADAL" clId="{8699CBCE-6ABF-40E5-82A5-86FE1EF32829}" dt="2021-12-07T15:09:50.788" v="2668" actId="1076"/>
        <pc:sldMkLst>
          <pc:docMk/>
          <pc:sldMk cId="818281892" sldId="1262"/>
        </pc:sldMkLst>
        <pc:spChg chg="mod">
          <ac:chgData name="Ieva Dzene" userId="36e850b3-6b13-42b6-8b78-9778956e69b6" providerId="ADAL" clId="{8699CBCE-6ABF-40E5-82A5-86FE1EF32829}" dt="2021-12-07T15:00:17.134" v="2580" actId="1076"/>
          <ac:spMkLst>
            <pc:docMk/>
            <pc:sldMk cId="818281892" sldId="1262"/>
            <ac:spMk id="9" creationId="{7863C5E6-6444-49B0-A98D-E83734695839}"/>
          </ac:spMkLst>
        </pc:spChg>
        <pc:spChg chg="add mod">
          <ac:chgData name="Ieva Dzene" userId="36e850b3-6b13-42b6-8b78-9778956e69b6" providerId="ADAL" clId="{8699CBCE-6ABF-40E5-82A5-86FE1EF32829}" dt="2021-12-07T15:08:42.087" v="2656" actId="20577"/>
          <ac:spMkLst>
            <pc:docMk/>
            <pc:sldMk cId="818281892" sldId="1262"/>
            <ac:spMk id="11" creationId="{9768C9E1-6C7C-4776-968C-043CD5851B4A}"/>
          </ac:spMkLst>
        </pc:spChg>
        <pc:spChg chg="add mod">
          <ac:chgData name="Ieva Dzene" userId="36e850b3-6b13-42b6-8b78-9778956e69b6" providerId="ADAL" clId="{8699CBCE-6ABF-40E5-82A5-86FE1EF32829}" dt="2021-12-07T15:07:15.531" v="2639" actId="1076"/>
          <ac:spMkLst>
            <pc:docMk/>
            <pc:sldMk cId="818281892" sldId="1262"/>
            <ac:spMk id="13" creationId="{1BFAF987-AB23-4973-8BEF-706FA9857F1C}"/>
          </ac:spMkLst>
        </pc:spChg>
        <pc:spChg chg="mod">
          <ac:chgData name="Ieva Dzene" userId="36e850b3-6b13-42b6-8b78-9778956e69b6" providerId="ADAL" clId="{8699CBCE-6ABF-40E5-82A5-86FE1EF32829}" dt="2021-12-07T15:09:45.081" v="2664" actId="20577"/>
          <ac:spMkLst>
            <pc:docMk/>
            <pc:sldMk cId="818281892" sldId="1262"/>
            <ac:spMk id="15" creationId="{E4CEB371-9A1C-4F6A-AEDB-34DFE231AA01}"/>
          </ac:spMkLst>
        </pc:spChg>
        <pc:spChg chg="mod">
          <ac:chgData name="Ieva Dzene" userId="36e850b3-6b13-42b6-8b78-9778956e69b6" providerId="ADAL" clId="{8699CBCE-6ABF-40E5-82A5-86FE1EF32829}" dt="2021-12-07T15:00:13.131" v="2579" actId="1076"/>
          <ac:spMkLst>
            <pc:docMk/>
            <pc:sldMk cId="818281892" sldId="1262"/>
            <ac:spMk id="18" creationId="{92D2B0A5-D21B-44F8-950C-5EE61FBCB909}"/>
          </ac:spMkLst>
        </pc:spChg>
        <pc:spChg chg="mod">
          <ac:chgData name="Ieva Dzene" userId="36e850b3-6b13-42b6-8b78-9778956e69b6" providerId="ADAL" clId="{8699CBCE-6ABF-40E5-82A5-86FE1EF32829}" dt="2021-12-07T15:02:22.355" v="2597" actId="164"/>
          <ac:spMkLst>
            <pc:docMk/>
            <pc:sldMk cId="818281892" sldId="1262"/>
            <ac:spMk id="20" creationId="{CA4356EA-D0F3-4734-8919-6D4BA4699E51}"/>
          </ac:spMkLst>
        </pc:spChg>
        <pc:grpChg chg="add mod">
          <ac:chgData name="Ieva Dzene" userId="36e850b3-6b13-42b6-8b78-9778956e69b6" providerId="ADAL" clId="{8699CBCE-6ABF-40E5-82A5-86FE1EF32829}" dt="2021-12-07T15:09:50.304" v="2667" actId="1076"/>
          <ac:grpSpMkLst>
            <pc:docMk/>
            <pc:sldMk cId="818281892" sldId="1262"/>
            <ac:grpSpMk id="2" creationId="{7B0CA601-927C-4FC8-9D80-CF2CA15A356F}"/>
          </ac:grpSpMkLst>
        </pc:grpChg>
        <pc:picChg chg="add mod ord">
          <ac:chgData name="Ieva Dzene" userId="36e850b3-6b13-42b6-8b78-9778956e69b6" providerId="ADAL" clId="{8699CBCE-6ABF-40E5-82A5-86FE1EF32829}" dt="2021-12-07T15:00:10.592" v="2578" actId="1076"/>
          <ac:picMkLst>
            <pc:docMk/>
            <pc:sldMk cId="818281892" sldId="1262"/>
            <ac:picMk id="10" creationId="{C3F44269-5CA9-44D9-BD8D-2C21A497D1E3}"/>
          </ac:picMkLst>
        </pc:picChg>
        <pc:picChg chg="del">
          <ac:chgData name="Ieva Dzene" userId="36e850b3-6b13-42b6-8b78-9778956e69b6" providerId="ADAL" clId="{8699CBCE-6ABF-40E5-82A5-86FE1EF32829}" dt="2021-12-07T15:00:03.179" v="2575" actId="478"/>
          <ac:picMkLst>
            <pc:docMk/>
            <pc:sldMk cId="818281892" sldId="1262"/>
            <ac:picMk id="17" creationId="{598F541D-AAAE-4728-9C10-74EC5814469F}"/>
          </ac:picMkLst>
        </pc:picChg>
        <pc:picChg chg="mod">
          <ac:chgData name="Ieva Dzene" userId="36e850b3-6b13-42b6-8b78-9778956e69b6" providerId="ADAL" clId="{8699CBCE-6ABF-40E5-82A5-86FE1EF32829}" dt="2021-12-07T15:03:34.291" v="2607" actId="108"/>
          <ac:picMkLst>
            <pc:docMk/>
            <pc:sldMk cId="818281892" sldId="1262"/>
            <ac:picMk id="19" creationId="{F9A98996-DF80-4200-9EC1-705C348B47B6}"/>
          </ac:picMkLst>
        </pc:picChg>
        <pc:picChg chg="mod ord">
          <ac:chgData name="Ieva Dzene" userId="36e850b3-6b13-42b6-8b78-9778956e69b6" providerId="ADAL" clId="{8699CBCE-6ABF-40E5-82A5-86FE1EF32829}" dt="2021-12-07T15:09:50.788" v="2668" actId="1076"/>
          <ac:picMkLst>
            <pc:docMk/>
            <pc:sldMk cId="818281892" sldId="1262"/>
            <ac:picMk id="21" creationId="{B6E35AD9-8D14-40FB-B3A8-F2F6D8D671FB}"/>
          </ac:picMkLst>
        </pc:picChg>
      </pc:sldChg>
      <pc:sldChg chg="modSp mod">
        <pc:chgData name="Ieva Dzene" userId="36e850b3-6b13-42b6-8b78-9778956e69b6" providerId="ADAL" clId="{8699CBCE-6ABF-40E5-82A5-86FE1EF32829}" dt="2021-12-07T15:11:33.641" v="2685" actId="14100"/>
        <pc:sldMkLst>
          <pc:docMk/>
          <pc:sldMk cId="2097992450" sldId="1263"/>
        </pc:sldMkLst>
        <pc:spChg chg="mod">
          <ac:chgData name="Ieva Dzene" userId="36e850b3-6b13-42b6-8b78-9778956e69b6" providerId="ADAL" clId="{8699CBCE-6ABF-40E5-82A5-86FE1EF32829}" dt="2021-12-07T15:10:57.320" v="2681" actId="14861"/>
          <ac:spMkLst>
            <pc:docMk/>
            <pc:sldMk cId="2097992450" sldId="1263"/>
            <ac:spMk id="22" creationId="{FB55565A-5057-44A0-A5E1-2FEDEF597A01}"/>
          </ac:spMkLst>
        </pc:spChg>
        <pc:spChg chg="mod">
          <ac:chgData name="Ieva Dzene" userId="36e850b3-6b13-42b6-8b78-9778956e69b6" providerId="ADAL" clId="{8699CBCE-6ABF-40E5-82A5-86FE1EF32829}" dt="2021-12-07T15:10:56.888" v="2680" actId="14861"/>
          <ac:spMkLst>
            <pc:docMk/>
            <pc:sldMk cId="2097992450" sldId="1263"/>
            <ac:spMk id="23" creationId="{F90EBF36-97B9-4CD8-9BC1-DB38C509019F}"/>
          </ac:spMkLst>
        </pc:spChg>
        <pc:spChg chg="mod">
          <ac:chgData name="Ieva Dzene" userId="36e850b3-6b13-42b6-8b78-9778956e69b6" providerId="ADAL" clId="{8699CBCE-6ABF-40E5-82A5-86FE1EF32829}" dt="2021-12-07T15:10:53.347" v="2679" actId="108"/>
          <ac:spMkLst>
            <pc:docMk/>
            <pc:sldMk cId="2097992450" sldId="1263"/>
            <ac:spMk id="38" creationId="{24FBE1BF-5F92-4141-8501-981596D8114F}"/>
          </ac:spMkLst>
        </pc:spChg>
        <pc:spChg chg="mod">
          <ac:chgData name="Ieva Dzene" userId="36e850b3-6b13-42b6-8b78-9778956e69b6" providerId="ADAL" clId="{8699CBCE-6ABF-40E5-82A5-86FE1EF32829}" dt="2021-12-07T15:10:04.064" v="2673" actId="20577"/>
          <ac:spMkLst>
            <pc:docMk/>
            <pc:sldMk cId="2097992450" sldId="1263"/>
            <ac:spMk id="55" creationId="{F415A60D-56C1-4E01-94FC-C67FF5D9A62F}"/>
          </ac:spMkLst>
        </pc:spChg>
        <pc:cxnChg chg="mod">
          <ac:chgData name="Ieva Dzene" userId="36e850b3-6b13-42b6-8b78-9778956e69b6" providerId="ADAL" clId="{8699CBCE-6ABF-40E5-82A5-86FE1EF32829}" dt="2021-12-07T15:11:33.641" v="2685" actId="14100"/>
          <ac:cxnSpMkLst>
            <pc:docMk/>
            <pc:sldMk cId="2097992450" sldId="1263"/>
            <ac:cxnSpMk id="36" creationId="{ABF2008D-6FEC-4B31-90F3-7EDC8D325B81}"/>
          </ac:cxnSpMkLst>
        </pc:cxnChg>
        <pc:cxnChg chg="mod">
          <ac:chgData name="Ieva Dzene" userId="36e850b3-6b13-42b6-8b78-9778956e69b6" providerId="ADAL" clId="{8699CBCE-6ABF-40E5-82A5-86FE1EF32829}" dt="2021-12-07T15:11:17.534" v="2682" actId="14100"/>
          <ac:cxnSpMkLst>
            <pc:docMk/>
            <pc:sldMk cId="2097992450" sldId="1263"/>
            <ac:cxnSpMk id="53" creationId="{4240649C-2E0A-4DB3-91BC-19E15E1BFEC0}"/>
          </ac:cxnSpMkLst>
        </pc:cxnChg>
      </pc:sldChg>
      <pc:sldChg chg="modSp mod">
        <pc:chgData name="Ieva Dzene" userId="36e850b3-6b13-42b6-8b78-9778956e69b6" providerId="ADAL" clId="{8699CBCE-6ABF-40E5-82A5-86FE1EF32829}" dt="2021-12-06T12:10:31.594" v="202" actId="20577"/>
        <pc:sldMkLst>
          <pc:docMk/>
          <pc:sldMk cId="3315475924" sldId="1272"/>
        </pc:sldMkLst>
        <pc:spChg chg="mod">
          <ac:chgData name="Ieva Dzene" userId="36e850b3-6b13-42b6-8b78-9778956e69b6" providerId="ADAL" clId="{8699CBCE-6ABF-40E5-82A5-86FE1EF32829}" dt="2021-12-06T12:10:31.594" v="202" actId="20577"/>
          <ac:spMkLst>
            <pc:docMk/>
            <pc:sldMk cId="3315475924" sldId="1272"/>
            <ac:spMk id="3" creationId="{7716F4FB-E2A6-4989-A910-CBF8CC87B56B}"/>
          </ac:spMkLst>
        </pc:spChg>
      </pc:sldChg>
      <pc:sldChg chg="modSp mod">
        <pc:chgData name="Ieva Dzene" userId="36e850b3-6b13-42b6-8b78-9778956e69b6" providerId="ADAL" clId="{8699CBCE-6ABF-40E5-82A5-86FE1EF32829}" dt="2021-12-08T09:32:56.080" v="3161" actId="20577"/>
        <pc:sldMkLst>
          <pc:docMk/>
          <pc:sldMk cId="649153855" sldId="1273"/>
        </pc:sldMkLst>
        <pc:spChg chg="mod">
          <ac:chgData name="Ieva Dzene" userId="36e850b3-6b13-42b6-8b78-9778956e69b6" providerId="ADAL" clId="{8699CBCE-6ABF-40E5-82A5-86FE1EF32829}" dt="2021-12-08T09:32:48.355" v="3156" actId="20577"/>
          <ac:spMkLst>
            <pc:docMk/>
            <pc:sldMk cId="649153855" sldId="1273"/>
            <ac:spMk id="37" creationId="{C4BE9CCD-C203-414F-B252-20F9929F8E62}"/>
          </ac:spMkLst>
        </pc:spChg>
        <pc:spChg chg="mod">
          <ac:chgData name="Ieva Dzene" userId="36e850b3-6b13-42b6-8b78-9778956e69b6" providerId="ADAL" clId="{8699CBCE-6ABF-40E5-82A5-86FE1EF32829}" dt="2021-12-08T09:32:56.080" v="3161" actId="20577"/>
          <ac:spMkLst>
            <pc:docMk/>
            <pc:sldMk cId="649153855" sldId="1273"/>
            <ac:spMk id="86" creationId="{BE02670F-8114-4463-936A-9D2672146D41}"/>
          </ac:spMkLst>
        </pc:spChg>
      </pc:sldChg>
      <pc:sldChg chg="modSp mod">
        <pc:chgData name="Ieva Dzene" userId="36e850b3-6b13-42b6-8b78-9778956e69b6" providerId="ADAL" clId="{8699CBCE-6ABF-40E5-82A5-86FE1EF32829}" dt="2021-12-08T09:35:20.763" v="3184" actId="20577"/>
        <pc:sldMkLst>
          <pc:docMk/>
          <pc:sldMk cId="2439780910" sldId="1274"/>
        </pc:sldMkLst>
        <pc:spChg chg="mod">
          <ac:chgData name="Ieva Dzene" userId="36e850b3-6b13-42b6-8b78-9778956e69b6" providerId="ADAL" clId="{8699CBCE-6ABF-40E5-82A5-86FE1EF32829}" dt="2021-12-08T09:35:13.359" v="3179" actId="20577"/>
          <ac:spMkLst>
            <pc:docMk/>
            <pc:sldMk cId="2439780910" sldId="1274"/>
            <ac:spMk id="37" creationId="{C4BE9CCD-C203-414F-B252-20F9929F8E62}"/>
          </ac:spMkLst>
        </pc:spChg>
        <pc:spChg chg="mod">
          <ac:chgData name="Ieva Dzene" userId="36e850b3-6b13-42b6-8b78-9778956e69b6" providerId="ADAL" clId="{8699CBCE-6ABF-40E5-82A5-86FE1EF32829}" dt="2021-12-08T09:35:20.763" v="3184" actId="20577"/>
          <ac:spMkLst>
            <pc:docMk/>
            <pc:sldMk cId="2439780910" sldId="1274"/>
            <ac:spMk id="86" creationId="{BE02670F-8114-4463-936A-9D2672146D41}"/>
          </ac:spMkLst>
        </pc:spChg>
      </pc:sldChg>
      <pc:sldChg chg="modSp mod">
        <pc:chgData name="Ieva Dzene" userId="36e850b3-6b13-42b6-8b78-9778956e69b6" providerId="ADAL" clId="{8699CBCE-6ABF-40E5-82A5-86FE1EF32829}" dt="2021-12-08T09:40:20.679" v="3204" actId="20577"/>
        <pc:sldMkLst>
          <pc:docMk/>
          <pc:sldMk cId="1309742216" sldId="1275"/>
        </pc:sldMkLst>
        <pc:spChg chg="mod">
          <ac:chgData name="Ieva Dzene" userId="36e850b3-6b13-42b6-8b78-9778956e69b6" providerId="ADAL" clId="{8699CBCE-6ABF-40E5-82A5-86FE1EF32829}" dt="2021-12-08T09:40:14.106" v="3199" actId="20577"/>
          <ac:spMkLst>
            <pc:docMk/>
            <pc:sldMk cId="1309742216" sldId="1275"/>
            <ac:spMk id="37" creationId="{C4BE9CCD-C203-414F-B252-20F9929F8E62}"/>
          </ac:spMkLst>
        </pc:spChg>
        <pc:spChg chg="mod">
          <ac:chgData name="Ieva Dzene" userId="36e850b3-6b13-42b6-8b78-9778956e69b6" providerId="ADAL" clId="{8699CBCE-6ABF-40E5-82A5-86FE1EF32829}" dt="2021-12-08T09:40:20.679" v="3204" actId="20577"/>
          <ac:spMkLst>
            <pc:docMk/>
            <pc:sldMk cId="1309742216" sldId="1275"/>
            <ac:spMk id="86" creationId="{BE02670F-8114-4463-936A-9D2672146D41}"/>
          </ac:spMkLst>
        </pc:spChg>
      </pc:sldChg>
      <pc:sldChg chg="modSp mod">
        <pc:chgData name="Ieva Dzene" userId="36e850b3-6b13-42b6-8b78-9778956e69b6" providerId="ADAL" clId="{8699CBCE-6ABF-40E5-82A5-86FE1EF32829}" dt="2021-12-08T09:55:57.942" v="3354" actId="20577"/>
        <pc:sldMkLst>
          <pc:docMk/>
          <pc:sldMk cId="782947647" sldId="1276"/>
        </pc:sldMkLst>
        <pc:spChg chg="mod">
          <ac:chgData name="Ieva Dzene" userId="36e850b3-6b13-42b6-8b78-9778956e69b6" providerId="ADAL" clId="{8699CBCE-6ABF-40E5-82A5-86FE1EF32829}" dt="2021-12-08T09:55:50.118" v="3349" actId="20577"/>
          <ac:spMkLst>
            <pc:docMk/>
            <pc:sldMk cId="782947647" sldId="1276"/>
            <ac:spMk id="37" creationId="{C4BE9CCD-C203-414F-B252-20F9929F8E62}"/>
          </ac:spMkLst>
        </pc:spChg>
        <pc:spChg chg="mod">
          <ac:chgData name="Ieva Dzene" userId="36e850b3-6b13-42b6-8b78-9778956e69b6" providerId="ADAL" clId="{8699CBCE-6ABF-40E5-82A5-86FE1EF32829}" dt="2021-12-08T09:55:57.942" v="3354" actId="20577"/>
          <ac:spMkLst>
            <pc:docMk/>
            <pc:sldMk cId="782947647" sldId="1276"/>
            <ac:spMk id="86" creationId="{BE02670F-8114-4463-936A-9D2672146D41}"/>
          </ac:spMkLst>
        </pc:spChg>
      </pc:sldChg>
      <pc:sldChg chg="modSp mod">
        <pc:chgData name="Ieva Dzene" userId="36e850b3-6b13-42b6-8b78-9778956e69b6" providerId="ADAL" clId="{8699CBCE-6ABF-40E5-82A5-86FE1EF32829}" dt="2021-12-08T10:01:59.058" v="3395" actId="20577"/>
        <pc:sldMkLst>
          <pc:docMk/>
          <pc:sldMk cId="3332168581" sldId="1277"/>
        </pc:sldMkLst>
        <pc:spChg chg="mod">
          <ac:chgData name="Ieva Dzene" userId="36e850b3-6b13-42b6-8b78-9778956e69b6" providerId="ADAL" clId="{8699CBCE-6ABF-40E5-82A5-86FE1EF32829}" dt="2021-12-08T10:01:52.854" v="3390" actId="20577"/>
          <ac:spMkLst>
            <pc:docMk/>
            <pc:sldMk cId="3332168581" sldId="1277"/>
            <ac:spMk id="37" creationId="{C4BE9CCD-C203-414F-B252-20F9929F8E62}"/>
          </ac:spMkLst>
        </pc:spChg>
        <pc:spChg chg="mod">
          <ac:chgData name="Ieva Dzene" userId="36e850b3-6b13-42b6-8b78-9778956e69b6" providerId="ADAL" clId="{8699CBCE-6ABF-40E5-82A5-86FE1EF32829}" dt="2021-12-08T10:01:59.058" v="3395" actId="20577"/>
          <ac:spMkLst>
            <pc:docMk/>
            <pc:sldMk cId="3332168581" sldId="1277"/>
            <ac:spMk id="86" creationId="{BE02670F-8114-4463-936A-9D2672146D41}"/>
          </ac:spMkLst>
        </pc:spChg>
      </pc:sldChg>
      <pc:sldChg chg="modSp mod">
        <pc:chgData name="Ieva Dzene" userId="36e850b3-6b13-42b6-8b78-9778956e69b6" providerId="ADAL" clId="{8699CBCE-6ABF-40E5-82A5-86FE1EF32829}" dt="2021-12-08T10:00:23.241" v="3383" actId="20577"/>
        <pc:sldMkLst>
          <pc:docMk/>
          <pc:sldMk cId="2268086466" sldId="1278"/>
        </pc:sldMkLst>
        <pc:spChg chg="mod">
          <ac:chgData name="Ieva Dzene" userId="36e850b3-6b13-42b6-8b78-9778956e69b6" providerId="ADAL" clId="{8699CBCE-6ABF-40E5-82A5-86FE1EF32829}" dt="2021-12-08T10:00:16.466" v="3378" actId="20577"/>
          <ac:spMkLst>
            <pc:docMk/>
            <pc:sldMk cId="2268086466" sldId="1278"/>
            <ac:spMk id="37" creationId="{C4BE9CCD-C203-414F-B252-20F9929F8E62}"/>
          </ac:spMkLst>
        </pc:spChg>
        <pc:spChg chg="mod">
          <ac:chgData name="Ieva Dzene" userId="36e850b3-6b13-42b6-8b78-9778956e69b6" providerId="ADAL" clId="{8699CBCE-6ABF-40E5-82A5-86FE1EF32829}" dt="2021-12-08T10:00:23.241" v="3383" actId="20577"/>
          <ac:spMkLst>
            <pc:docMk/>
            <pc:sldMk cId="2268086466" sldId="1278"/>
            <ac:spMk id="86" creationId="{BE02670F-8114-4463-936A-9D2672146D41}"/>
          </ac:spMkLst>
        </pc:spChg>
      </pc:sldChg>
      <pc:sldChg chg="addSp delSp modSp mod delAnim modAnim">
        <pc:chgData name="Ieva Dzene" userId="36e850b3-6b13-42b6-8b78-9778956e69b6" providerId="ADAL" clId="{8699CBCE-6ABF-40E5-82A5-86FE1EF32829}" dt="2021-12-08T10:06:02.694" v="3419" actId="14100"/>
        <pc:sldMkLst>
          <pc:docMk/>
          <pc:sldMk cId="3010360863" sldId="1280"/>
        </pc:sldMkLst>
        <pc:spChg chg="mod">
          <ac:chgData name="Ieva Dzene" userId="36e850b3-6b13-42b6-8b78-9778956e69b6" providerId="ADAL" clId="{8699CBCE-6ABF-40E5-82A5-86FE1EF32829}" dt="2021-12-08T10:06:02.694" v="3419" actId="14100"/>
          <ac:spMkLst>
            <pc:docMk/>
            <pc:sldMk cId="3010360863" sldId="1280"/>
            <ac:spMk id="4" creationId="{C481A0CD-49C9-4BF9-B570-4A41BC1B88B5}"/>
          </ac:spMkLst>
        </pc:spChg>
        <pc:spChg chg="mod ord topLvl">
          <ac:chgData name="Ieva Dzene" userId="36e850b3-6b13-42b6-8b78-9778956e69b6" providerId="ADAL" clId="{8699CBCE-6ABF-40E5-82A5-86FE1EF32829}" dt="2021-12-07T10:41:16.465" v="1719" actId="164"/>
          <ac:spMkLst>
            <pc:docMk/>
            <pc:sldMk cId="3010360863" sldId="1280"/>
            <ac:spMk id="11" creationId="{32B448A4-8E2C-47D0-96D3-A1B2D34F367A}"/>
          </ac:spMkLst>
        </pc:spChg>
        <pc:spChg chg="mod">
          <ac:chgData name="Ieva Dzene" userId="36e850b3-6b13-42b6-8b78-9778956e69b6" providerId="ADAL" clId="{8699CBCE-6ABF-40E5-82A5-86FE1EF32829}" dt="2021-12-08T10:04:47.054" v="3399" actId="6549"/>
          <ac:spMkLst>
            <pc:docMk/>
            <pc:sldMk cId="3010360863" sldId="1280"/>
            <ac:spMk id="28" creationId="{B03D40D4-6BC8-4922-A797-7924243511ED}"/>
          </ac:spMkLst>
        </pc:spChg>
        <pc:spChg chg="add mod topLvl">
          <ac:chgData name="Ieva Dzene" userId="36e850b3-6b13-42b6-8b78-9778956e69b6" providerId="ADAL" clId="{8699CBCE-6ABF-40E5-82A5-86FE1EF32829}" dt="2021-12-08T10:05:59.127" v="3418" actId="1076"/>
          <ac:spMkLst>
            <pc:docMk/>
            <pc:sldMk cId="3010360863" sldId="1280"/>
            <ac:spMk id="29" creationId="{9AD9290B-C461-4114-A6F1-0C5B6E677FCB}"/>
          </ac:spMkLst>
        </pc:spChg>
        <pc:spChg chg="del mod">
          <ac:chgData name="Ieva Dzene" userId="36e850b3-6b13-42b6-8b78-9778956e69b6" providerId="ADAL" clId="{8699CBCE-6ABF-40E5-82A5-86FE1EF32829}" dt="2021-12-07T10:37:58.989" v="1703" actId="478"/>
          <ac:spMkLst>
            <pc:docMk/>
            <pc:sldMk cId="3010360863" sldId="1280"/>
            <ac:spMk id="30" creationId="{F3C736AA-0E69-43F9-8D3E-00926B9238C3}"/>
          </ac:spMkLst>
        </pc:spChg>
        <pc:spChg chg="mod ord topLvl">
          <ac:chgData name="Ieva Dzene" userId="36e850b3-6b13-42b6-8b78-9778956e69b6" providerId="ADAL" clId="{8699CBCE-6ABF-40E5-82A5-86FE1EF32829}" dt="2021-12-07T10:43:30.153" v="1743" actId="164"/>
          <ac:spMkLst>
            <pc:docMk/>
            <pc:sldMk cId="3010360863" sldId="1280"/>
            <ac:spMk id="31" creationId="{D0D24BE8-1787-4E93-8AD1-AD002E38052C}"/>
          </ac:spMkLst>
        </pc:spChg>
        <pc:spChg chg="del mod ord topLvl">
          <ac:chgData name="Ieva Dzene" userId="36e850b3-6b13-42b6-8b78-9778956e69b6" providerId="ADAL" clId="{8699CBCE-6ABF-40E5-82A5-86FE1EF32829}" dt="2021-12-07T10:36:15.640" v="1675" actId="478"/>
          <ac:spMkLst>
            <pc:docMk/>
            <pc:sldMk cId="3010360863" sldId="1280"/>
            <ac:spMk id="32" creationId="{8790CD13-0C7D-4E99-8B3B-49C4470C2C25}"/>
          </ac:spMkLst>
        </pc:spChg>
        <pc:spChg chg="mod ord">
          <ac:chgData name="Ieva Dzene" userId="36e850b3-6b13-42b6-8b78-9778956e69b6" providerId="ADAL" clId="{8699CBCE-6ABF-40E5-82A5-86FE1EF32829}" dt="2021-12-07T10:36:23.822" v="1676" actId="164"/>
          <ac:spMkLst>
            <pc:docMk/>
            <pc:sldMk cId="3010360863" sldId="1280"/>
            <ac:spMk id="35" creationId="{B9E6DE20-326B-4A24-948E-A3A260C66625}"/>
          </ac:spMkLst>
        </pc:spChg>
        <pc:spChg chg="del mod ord">
          <ac:chgData name="Ieva Dzene" userId="36e850b3-6b13-42b6-8b78-9778956e69b6" providerId="ADAL" clId="{8699CBCE-6ABF-40E5-82A5-86FE1EF32829}" dt="2021-12-07T10:35:47.877" v="1670" actId="478"/>
          <ac:spMkLst>
            <pc:docMk/>
            <pc:sldMk cId="3010360863" sldId="1280"/>
            <ac:spMk id="36" creationId="{E93857F5-AD5F-4FE7-A3A5-D3B221139DC5}"/>
          </ac:spMkLst>
        </pc:spChg>
        <pc:spChg chg="add del mod">
          <ac:chgData name="Ieva Dzene" userId="36e850b3-6b13-42b6-8b78-9778956e69b6" providerId="ADAL" clId="{8699CBCE-6ABF-40E5-82A5-86FE1EF32829}" dt="2021-12-07T10:39:47.654" v="1708" actId="478"/>
          <ac:spMkLst>
            <pc:docMk/>
            <pc:sldMk cId="3010360863" sldId="1280"/>
            <ac:spMk id="38" creationId="{3F9ADBFE-FF68-43EF-98FB-30EA06780FE2}"/>
          </ac:spMkLst>
        </pc:spChg>
        <pc:spChg chg="add mod">
          <ac:chgData name="Ieva Dzene" userId="36e850b3-6b13-42b6-8b78-9778956e69b6" providerId="ADAL" clId="{8699CBCE-6ABF-40E5-82A5-86FE1EF32829}" dt="2021-12-07T10:40:23.181" v="1715" actId="164"/>
          <ac:spMkLst>
            <pc:docMk/>
            <pc:sldMk cId="3010360863" sldId="1280"/>
            <ac:spMk id="39" creationId="{22F160FE-79EE-4312-A4BB-98CBB250BC4A}"/>
          </ac:spMkLst>
        </pc:spChg>
        <pc:grpChg chg="add del mod">
          <ac:chgData name="Ieva Dzene" userId="36e850b3-6b13-42b6-8b78-9778956e69b6" providerId="ADAL" clId="{8699CBCE-6ABF-40E5-82A5-86FE1EF32829}" dt="2021-12-07T10:41:03.956" v="1718" actId="165"/>
          <ac:grpSpMkLst>
            <pc:docMk/>
            <pc:sldMk cId="3010360863" sldId="1280"/>
            <ac:grpSpMk id="21" creationId="{B49F26BC-3A06-4F37-8680-4609ECD4B0E7}"/>
          </ac:grpSpMkLst>
        </pc:grpChg>
        <pc:grpChg chg="add del mod">
          <ac:chgData name="Ieva Dzene" userId="36e850b3-6b13-42b6-8b78-9778956e69b6" providerId="ADAL" clId="{8699CBCE-6ABF-40E5-82A5-86FE1EF32829}" dt="2021-12-07T10:36:15.640" v="1675" actId="478"/>
          <ac:grpSpMkLst>
            <pc:docMk/>
            <pc:sldMk cId="3010360863" sldId="1280"/>
            <ac:grpSpMk id="23" creationId="{C1853BD1-DC95-4188-BCB6-7BE70C0655C9}"/>
          </ac:grpSpMkLst>
        </pc:grpChg>
        <pc:grpChg chg="add mod">
          <ac:chgData name="Ieva Dzene" userId="36e850b3-6b13-42b6-8b78-9778956e69b6" providerId="ADAL" clId="{8699CBCE-6ABF-40E5-82A5-86FE1EF32829}" dt="2021-12-08T10:05:59.127" v="3418" actId="1076"/>
          <ac:grpSpMkLst>
            <pc:docMk/>
            <pc:sldMk cId="3010360863" sldId="1280"/>
            <ac:grpSpMk id="24" creationId="{62B717FD-58D2-4D6C-A0C9-BA456725ED59}"/>
          </ac:grpSpMkLst>
        </pc:grpChg>
        <pc:grpChg chg="add del mod">
          <ac:chgData name="Ieva Dzene" userId="36e850b3-6b13-42b6-8b78-9778956e69b6" providerId="ADAL" clId="{8699CBCE-6ABF-40E5-82A5-86FE1EF32829}" dt="2021-12-07T10:43:06.518" v="1736" actId="165"/>
          <ac:grpSpMkLst>
            <pc:docMk/>
            <pc:sldMk cId="3010360863" sldId="1280"/>
            <ac:grpSpMk id="25" creationId="{0FFCB69D-9420-4252-A3A4-91CD5A2645A6}"/>
          </ac:grpSpMkLst>
        </pc:grpChg>
        <pc:grpChg chg="add mod">
          <ac:chgData name="Ieva Dzene" userId="36e850b3-6b13-42b6-8b78-9778956e69b6" providerId="ADAL" clId="{8699CBCE-6ABF-40E5-82A5-86FE1EF32829}" dt="2021-12-08T10:05:59.127" v="3418" actId="1076"/>
          <ac:grpSpMkLst>
            <pc:docMk/>
            <pc:sldMk cId="3010360863" sldId="1280"/>
            <ac:grpSpMk id="26" creationId="{D0B08550-47F3-41A4-84A3-43B06D1659BD}"/>
          </ac:grpSpMkLst>
        </pc:grpChg>
        <pc:grpChg chg="add mod">
          <ac:chgData name="Ieva Dzene" userId="36e850b3-6b13-42b6-8b78-9778956e69b6" providerId="ADAL" clId="{8699CBCE-6ABF-40E5-82A5-86FE1EF32829}" dt="2021-12-08T10:05:59.127" v="3418" actId="1076"/>
          <ac:grpSpMkLst>
            <pc:docMk/>
            <pc:sldMk cId="3010360863" sldId="1280"/>
            <ac:grpSpMk id="27" creationId="{A926DC93-7528-4FAC-8604-7D6C0CBEF626}"/>
          </ac:grpSpMkLst>
        </pc:grpChg>
        <pc:grpChg chg="add mod">
          <ac:chgData name="Ieva Dzene" userId="36e850b3-6b13-42b6-8b78-9778956e69b6" providerId="ADAL" clId="{8699CBCE-6ABF-40E5-82A5-86FE1EF32829}" dt="2021-12-08T10:05:59.127" v="3418" actId="1076"/>
          <ac:grpSpMkLst>
            <pc:docMk/>
            <pc:sldMk cId="3010360863" sldId="1280"/>
            <ac:grpSpMk id="33" creationId="{B41A5D0C-E2DD-4C00-98BF-95BD2F9FF50C}"/>
          </ac:grpSpMkLst>
        </pc:grpChg>
        <pc:picChg chg="add mod topLvl">
          <ac:chgData name="Ieva Dzene" userId="36e850b3-6b13-42b6-8b78-9778956e69b6" providerId="ADAL" clId="{8699CBCE-6ABF-40E5-82A5-86FE1EF32829}" dt="2021-12-07T10:43:30.153" v="1743" actId="164"/>
          <ac:picMkLst>
            <pc:docMk/>
            <pc:sldMk cId="3010360863" sldId="1280"/>
            <ac:picMk id="3" creationId="{CD81F2A7-17F5-4AF4-9F1D-417B56BE0E6E}"/>
          </ac:picMkLst>
        </pc:picChg>
        <pc:picChg chg="add mod modCrop">
          <ac:chgData name="Ieva Dzene" userId="36e850b3-6b13-42b6-8b78-9778956e69b6" providerId="ADAL" clId="{8699CBCE-6ABF-40E5-82A5-86FE1EF32829}" dt="2021-12-08T10:05:59.127" v="3418" actId="1076"/>
          <ac:picMkLst>
            <pc:docMk/>
            <pc:sldMk cId="3010360863" sldId="1280"/>
            <ac:picMk id="6" creationId="{43CA1ACA-B205-4D52-AF79-BB36C50CCAEC}"/>
          </ac:picMkLst>
        </pc:picChg>
        <pc:picChg chg="add mod">
          <ac:chgData name="Ieva Dzene" userId="36e850b3-6b13-42b6-8b78-9778956e69b6" providerId="ADAL" clId="{8699CBCE-6ABF-40E5-82A5-86FE1EF32829}" dt="2021-12-07T10:36:23.822" v="1676" actId="164"/>
          <ac:picMkLst>
            <pc:docMk/>
            <pc:sldMk cId="3010360863" sldId="1280"/>
            <ac:picMk id="8" creationId="{FE194114-E27D-4E40-90ED-D2E76904F9FC}"/>
          </ac:picMkLst>
        </pc:picChg>
        <pc:picChg chg="del">
          <ac:chgData name="Ieva Dzene" userId="36e850b3-6b13-42b6-8b78-9778956e69b6" providerId="ADAL" clId="{8699CBCE-6ABF-40E5-82A5-86FE1EF32829}" dt="2021-12-07T10:10:56.924" v="1555" actId="478"/>
          <ac:picMkLst>
            <pc:docMk/>
            <pc:sldMk cId="3010360863" sldId="1280"/>
            <ac:picMk id="10" creationId="{719F8B1A-C1D0-4EAE-94F4-B8513E6E6087}"/>
          </ac:picMkLst>
        </pc:picChg>
        <pc:picChg chg="add del">
          <ac:chgData name="Ieva Dzene" userId="36e850b3-6b13-42b6-8b78-9778956e69b6" providerId="ADAL" clId="{8699CBCE-6ABF-40E5-82A5-86FE1EF32829}" dt="2021-12-07T10:25:41.895" v="1598" actId="22"/>
          <ac:picMkLst>
            <pc:docMk/>
            <pc:sldMk cId="3010360863" sldId="1280"/>
            <ac:picMk id="12" creationId="{0293BEE8-186C-49A8-B395-8A24232DDE42}"/>
          </ac:picMkLst>
        </pc:picChg>
        <pc:picChg chg="del">
          <ac:chgData name="Ieva Dzene" userId="36e850b3-6b13-42b6-8b78-9778956e69b6" providerId="ADAL" clId="{8699CBCE-6ABF-40E5-82A5-86FE1EF32829}" dt="2021-12-07T10:10:56.176" v="1554" actId="478"/>
          <ac:picMkLst>
            <pc:docMk/>
            <pc:sldMk cId="3010360863" sldId="1280"/>
            <ac:picMk id="13" creationId="{3AF98898-F82A-4BCD-8AA8-F9E8FA053B5A}"/>
          </ac:picMkLst>
        </pc:picChg>
        <pc:picChg chg="add del mod">
          <ac:chgData name="Ieva Dzene" userId="36e850b3-6b13-42b6-8b78-9778956e69b6" providerId="ADAL" clId="{8699CBCE-6ABF-40E5-82A5-86FE1EF32829}" dt="2021-12-07T10:33:07.723" v="1637" actId="478"/>
          <ac:picMkLst>
            <pc:docMk/>
            <pc:sldMk cId="3010360863" sldId="1280"/>
            <ac:picMk id="15" creationId="{7CCF96EB-EAE6-4475-A96C-01557BD048DD}"/>
          </ac:picMkLst>
        </pc:picChg>
        <pc:picChg chg="add mod ord topLvl">
          <ac:chgData name="Ieva Dzene" userId="36e850b3-6b13-42b6-8b78-9778956e69b6" providerId="ADAL" clId="{8699CBCE-6ABF-40E5-82A5-86FE1EF32829}" dt="2021-12-07T10:40:23.181" v="1715" actId="164"/>
          <ac:picMkLst>
            <pc:docMk/>
            <pc:sldMk cId="3010360863" sldId="1280"/>
            <ac:picMk id="17" creationId="{66AC7205-092F-47BF-A5FA-EA998DEA2B3F}"/>
          </ac:picMkLst>
        </pc:picChg>
        <pc:picChg chg="del">
          <ac:chgData name="Ieva Dzene" userId="36e850b3-6b13-42b6-8b78-9778956e69b6" providerId="ADAL" clId="{8699CBCE-6ABF-40E5-82A5-86FE1EF32829}" dt="2021-12-07T10:10:55.325" v="1553" actId="478"/>
          <ac:picMkLst>
            <pc:docMk/>
            <pc:sldMk cId="3010360863" sldId="1280"/>
            <ac:picMk id="19" creationId="{FAAAFA4F-2CF7-427E-93E5-5A2E6E7BC704}"/>
          </ac:picMkLst>
        </pc:picChg>
        <pc:picChg chg="add mod topLvl">
          <ac:chgData name="Ieva Dzene" userId="36e850b3-6b13-42b6-8b78-9778956e69b6" providerId="ADAL" clId="{8699CBCE-6ABF-40E5-82A5-86FE1EF32829}" dt="2021-12-07T10:41:22.646" v="1721" actId="1076"/>
          <ac:picMkLst>
            <pc:docMk/>
            <pc:sldMk cId="3010360863" sldId="1280"/>
            <ac:picMk id="20" creationId="{EF0DF100-B564-4A70-A0DA-B27715B64B04}"/>
          </ac:picMkLst>
        </pc:picChg>
        <pc:picChg chg="del">
          <ac:chgData name="Ieva Dzene" userId="36e850b3-6b13-42b6-8b78-9778956e69b6" providerId="ADAL" clId="{8699CBCE-6ABF-40E5-82A5-86FE1EF32829}" dt="2021-12-07T10:10:53.994" v="1552" actId="478"/>
          <ac:picMkLst>
            <pc:docMk/>
            <pc:sldMk cId="3010360863" sldId="1280"/>
            <ac:picMk id="22" creationId="{7849251A-7E77-488E-A228-D24EFDAB41F8}"/>
          </ac:picMkLst>
        </pc:picChg>
        <pc:picChg chg="add del mod">
          <ac:chgData name="Ieva Dzene" userId="36e850b3-6b13-42b6-8b78-9778956e69b6" providerId="ADAL" clId="{8699CBCE-6ABF-40E5-82A5-86FE1EF32829}" dt="2021-12-07T10:39:47.654" v="1708" actId="478"/>
          <ac:picMkLst>
            <pc:docMk/>
            <pc:sldMk cId="3010360863" sldId="1280"/>
            <ac:picMk id="37" creationId="{00FCF85B-FBD5-4C28-92BF-7D1F9F30EA71}"/>
          </ac:picMkLst>
        </pc:picChg>
      </pc:sldChg>
      <pc:sldChg chg="modSp mod">
        <pc:chgData name="Ieva Dzene" userId="36e850b3-6b13-42b6-8b78-9778956e69b6" providerId="ADAL" clId="{8699CBCE-6ABF-40E5-82A5-86FE1EF32829}" dt="2021-12-08T10:06:32.748" v="3426" actId="20577"/>
        <pc:sldMkLst>
          <pc:docMk/>
          <pc:sldMk cId="3486765988" sldId="1281"/>
        </pc:sldMkLst>
        <pc:spChg chg="mod">
          <ac:chgData name="Ieva Dzene" userId="36e850b3-6b13-42b6-8b78-9778956e69b6" providerId="ADAL" clId="{8699CBCE-6ABF-40E5-82A5-86FE1EF32829}" dt="2021-12-08T10:06:26.020" v="3421" actId="20577"/>
          <ac:spMkLst>
            <pc:docMk/>
            <pc:sldMk cId="3486765988" sldId="1281"/>
            <ac:spMk id="37" creationId="{C4BE9CCD-C203-414F-B252-20F9929F8E62}"/>
          </ac:spMkLst>
        </pc:spChg>
        <pc:spChg chg="mod">
          <ac:chgData name="Ieva Dzene" userId="36e850b3-6b13-42b6-8b78-9778956e69b6" providerId="ADAL" clId="{8699CBCE-6ABF-40E5-82A5-86FE1EF32829}" dt="2021-12-08T10:06:32.748" v="3426" actId="20577"/>
          <ac:spMkLst>
            <pc:docMk/>
            <pc:sldMk cId="3486765988" sldId="1281"/>
            <ac:spMk id="86" creationId="{BE02670F-8114-4463-936A-9D2672146D41}"/>
          </ac:spMkLst>
        </pc:spChg>
      </pc:sldChg>
      <pc:sldChg chg="modSp mod">
        <pc:chgData name="Ieva Dzene" userId="36e850b3-6b13-42b6-8b78-9778956e69b6" providerId="ADAL" clId="{8699CBCE-6ABF-40E5-82A5-86FE1EF32829}" dt="2021-12-08T10:08:13.161" v="3434" actId="20577"/>
        <pc:sldMkLst>
          <pc:docMk/>
          <pc:sldMk cId="822394876" sldId="1282"/>
        </pc:sldMkLst>
        <pc:spChg chg="mod">
          <ac:chgData name="Ieva Dzene" userId="36e850b3-6b13-42b6-8b78-9778956e69b6" providerId="ADAL" clId="{8699CBCE-6ABF-40E5-82A5-86FE1EF32829}" dt="2021-12-08T10:07:52.648" v="3429" actId="20577"/>
          <ac:spMkLst>
            <pc:docMk/>
            <pc:sldMk cId="822394876" sldId="1282"/>
            <ac:spMk id="37" creationId="{C4BE9CCD-C203-414F-B252-20F9929F8E62}"/>
          </ac:spMkLst>
        </pc:spChg>
        <pc:spChg chg="mod">
          <ac:chgData name="Ieva Dzene" userId="36e850b3-6b13-42b6-8b78-9778956e69b6" providerId="ADAL" clId="{8699CBCE-6ABF-40E5-82A5-86FE1EF32829}" dt="2021-12-08T10:08:13.161" v="3434" actId="20577"/>
          <ac:spMkLst>
            <pc:docMk/>
            <pc:sldMk cId="822394876" sldId="1282"/>
            <ac:spMk id="86" creationId="{BE02670F-8114-4463-936A-9D2672146D41}"/>
          </ac:spMkLst>
        </pc:spChg>
      </pc:sldChg>
      <pc:sldChg chg="modSp mod">
        <pc:chgData name="Ieva Dzene" userId="36e850b3-6b13-42b6-8b78-9778956e69b6" providerId="ADAL" clId="{8699CBCE-6ABF-40E5-82A5-86FE1EF32829}" dt="2021-12-08T10:10:07.556" v="3446" actId="20577"/>
        <pc:sldMkLst>
          <pc:docMk/>
          <pc:sldMk cId="2092146857" sldId="1283"/>
        </pc:sldMkLst>
        <pc:spChg chg="mod">
          <ac:chgData name="Ieva Dzene" userId="36e850b3-6b13-42b6-8b78-9778956e69b6" providerId="ADAL" clId="{8699CBCE-6ABF-40E5-82A5-86FE1EF32829}" dt="2021-12-08T10:10:07.556" v="3446" actId="20577"/>
          <ac:spMkLst>
            <pc:docMk/>
            <pc:sldMk cId="2092146857" sldId="1283"/>
            <ac:spMk id="6" creationId="{A19744FE-0122-4458-A703-1ED9355A7C5F}"/>
          </ac:spMkLst>
        </pc:spChg>
        <pc:spChg chg="mod">
          <ac:chgData name="Ieva Dzene" userId="36e850b3-6b13-42b6-8b78-9778956e69b6" providerId="ADAL" clId="{8699CBCE-6ABF-40E5-82A5-86FE1EF32829}" dt="2021-12-08T10:09:52.855" v="3436" actId="20577"/>
          <ac:spMkLst>
            <pc:docMk/>
            <pc:sldMk cId="2092146857" sldId="1283"/>
            <ac:spMk id="37" creationId="{C4BE9CCD-C203-414F-B252-20F9929F8E62}"/>
          </ac:spMkLst>
        </pc:spChg>
        <pc:spChg chg="mod">
          <ac:chgData name="Ieva Dzene" userId="36e850b3-6b13-42b6-8b78-9778956e69b6" providerId="ADAL" clId="{8699CBCE-6ABF-40E5-82A5-86FE1EF32829}" dt="2021-12-08T10:09:59.484" v="3441" actId="20577"/>
          <ac:spMkLst>
            <pc:docMk/>
            <pc:sldMk cId="2092146857" sldId="1283"/>
            <ac:spMk id="86" creationId="{BE02670F-8114-4463-936A-9D2672146D41}"/>
          </ac:spMkLst>
        </pc:spChg>
      </pc:sldChg>
      <pc:sldChg chg="modSp mod">
        <pc:chgData name="Ieva Dzene" userId="36e850b3-6b13-42b6-8b78-9778956e69b6" providerId="ADAL" clId="{8699CBCE-6ABF-40E5-82A5-86FE1EF32829}" dt="2021-12-06T15:24:40.009" v="760" actId="1076"/>
        <pc:sldMkLst>
          <pc:docMk/>
          <pc:sldMk cId="4010631327" sldId="1284"/>
        </pc:sldMkLst>
        <pc:picChg chg="mod">
          <ac:chgData name="Ieva Dzene" userId="36e850b3-6b13-42b6-8b78-9778956e69b6" providerId="ADAL" clId="{8699CBCE-6ABF-40E5-82A5-86FE1EF32829}" dt="2021-12-06T15:24:40.009" v="760" actId="1076"/>
          <ac:picMkLst>
            <pc:docMk/>
            <pc:sldMk cId="4010631327" sldId="1284"/>
            <ac:picMk id="3" creationId="{3C77731F-620E-4B85-91BD-EBBE3ACAD315}"/>
          </ac:picMkLst>
        </pc:picChg>
      </pc:sldChg>
      <pc:sldChg chg="addSp delSp modSp mod">
        <pc:chgData name="Ieva Dzene" userId="36e850b3-6b13-42b6-8b78-9778956e69b6" providerId="ADAL" clId="{8699CBCE-6ABF-40E5-82A5-86FE1EF32829}" dt="2021-12-08T09:35:06.285" v="3177" actId="255"/>
        <pc:sldMkLst>
          <pc:docMk/>
          <pc:sldMk cId="4185054735" sldId="1285"/>
        </pc:sldMkLst>
        <pc:spChg chg="mod">
          <ac:chgData name="Ieva Dzene" userId="36e850b3-6b13-42b6-8b78-9778956e69b6" providerId="ADAL" clId="{8699CBCE-6ABF-40E5-82A5-86FE1EF32829}" dt="2021-12-08T09:35:06.285" v="3177" actId="255"/>
          <ac:spMkLst>
            <pc:docMk/>
            <pc:sldMk cId="4185054735" sldId="1285"/>
            <ac:spMk id="10" creationId="{4ABA9E16-29FF-4F2C-A65A-AE9FF5E0F948}"/>
          </ac:spMkLst>
        </pc:spChg>
        <pc:spChg chg="mod">
          <ac:chgData name="Ieva Dzene" userId="36e850b3-6b13-42b6-8b78-9778956e69b6" providerId="ADAL" clId="{8699CBCE-6ABF-40E5-82A5-86FE1EF32829}" dt="2021-12-08T09:35:00.751" v="3176" actId="1037"/>
          <ac:spMkLst>
            <pc:docMk/>
            <pc:sldMk cId="4185054735" sldId="1285"/>
            <ac:spMk id="12" creationId="{C2D546A4-89C7-47B5-B100-D237EB6009CC}"/>
          </ac:spMkLst>
        </pc:spChg>
        <pc:picChg chg="add mod ord">
          <ac:chgData name="Ieva Dzene" userId="36e850b3-6b13-42b6-8b78-9778956e69b6" providerId="ADAL" clId="{8699CBCE-6ABF-40E5-82A5-86FE1EF32829}" dt="2021-12-07T15:32:35.668" v="2941" actId="1076"/>
          <ac:picMkLst>
            <pc:docMk/>
            <pc:sldMk cId="4185054735" sldId="1285"/>
            <ac:picMk id="3" creationId="{0E649F1D-214D-49C3-8847-249EF378B3C0}"/>
          </ac:picMkLst>
        </pc:picChg>
        <pc:picChg chg="del">
          <ac:chgData name="Ieva Dzene" userId="36e850b3-6b13-42b6-8b78-9778956e69b6" providerId="ADAL" clId="{8699CBCE-6ABF-40E5-82A5-86FE1EF32829}" dt="2021-12-06T13:17:34.239" v="495" actId="478"/>
          <ac:picMkLst>
            <pc:docMk/>
            <pc:sldMk cId="4185054735" sldId="1285"/>
            <ac:picMk id="4" creationId="{E5E40A4B-9E81-4AA8-91F3-3596A40C58E6}"/>
          </ac:picMkLst>
        </pc:picChg>
      </pc:sldChg>
      <pc:sldChg chg="addSp delSp modSp mod">
        <pc:chgData name="Ieva Dzene" userId="36e850b3-6b13-42b6-8b78-9778956e69b6" providerId="ADAL" clId="{8699CBCE-6ABF-40E5-82A5-86FE1EF32829}" dt="2021-12-06T15:28:41.192" v="775" actId="1076"/>
        <pc:sldMkLst>
          <pc:docMk/>
          <pc:sldMk cId="1181025130" sldId="1286"/>
        </pc:sldMkLst>
        <pc:spChg chg="mod">
          <ac:chgData name="Ieva Dzene" userId="36e850b3-6b13-42b6-8b78-9778956e69b6" providerId="ADAL" clId="{8699CBCE-6ABF-40E5-82A5-86FE1EF32829}" dt="2021-12-06T15:25:32.838" v="761" actId="20577"/>
          <ac:spMkLst>
            <pc:docMk/>
            <pc:sldMk cId="1181025130" sldId="1286"/>
            <ac:spMk id="9" creationId="{6EA210E0-48B9-4A31-9991-2A0879C7CF5A}"/>
          </ac:spMkLst>
        </pc:spChg>
        <pc:picChg chg="add mod">
          <ac:chgData name="Ieva Dzene" userId="36e850b3-6b13-42b6-8b78-9778956e69b6" providerId="ADAL" clId="{8699CBCE-6ABF-40E5-82A5-86FE1EF32829}" dt="2021-12-06T15:27:32.550" v="767" actId="108"/>
          <ac:picMkLst>
            <pc:docMk/>
            <pc:sldMk cId="1181025130" sldId="1286"/>
            <ac:picMk id="3" creationId="{D6559161-DEEA-45A8-B605-5EDCB5D1BDA9}"/>
          </ac:picMkLst>
        </pc:picChg>
        <pc:picChg chg="add mod">
          <ac:chgData name="Ieva Dzene" userId="36e850b3-6b13-42b6-8b78-9778956e69b6" providerId="ADAL" clId="{8699CBCE-6ABF-40E5-82A5-86FE1EF32829}" dt="2021-12-06T15:28:41.192" v="775" actId="1076"/>
          <ac:picMkLst>
            <pc:docMk/>
            <pc:sldMk cId="1181025130" sldId="1286"/>
            <ac:picMk id="5" creationId="{35D77381-CD61-40B4-A8C2-72C9B61CC110}"/>
          </ac:picMkLst>
        </pc:picChg>
        <pc:picChg chg="del">
          <ac:chgData name="Ieva Dzene" userId="36e850b3-6b13-42b6-8b78-9778956e69b6" providerId="ADAL" clId="{8699CBCE-6ABF-40E5-82A5-86FE1EF32829}" dt="2021-12-06T15:27:20.533" v="762" actId="478"/>
          <ac:picMkLst>
            <pc:docMk/>
            <pc:sldMk cId="1181025130" sldId="1286"/>
            <ac:picMk id="10" creationId="{0CFA3C0E-8E37-4D9D-A7DA-9D5703F7CF8F}"/>
          </ac:picMkLst>
        </pc:picChg>
        <pc:picChg chg="del">
          <ac:chgData name="Ieva Dzene" userId="36e850b3-6b13-42b6-8b78-9778956e69b6" providerId="ADAL" clId="{8699CBCE-6ABF-40E5-82A5-86FE1EF32829}" dt="2021-12-06T15:28:20.857" v="768" actId="478"/>
          <ac:picMkLst>
            <pc:docMk/>
            <pc:sldMk cId="1181025130" sldId="1286"/>
            <ac:picMk id="12" creationId="{75D60B28-9757-4B47-9CAC-AE1F5F4637B6}"/>
          </ac:picMkLst>
        </pc:picChg>
      </pc:sldChg>
      <pc:sldChg chg="addSp delSp modSp mod addAnim delAnim modAnim">
        <pc:chgData name="Ieva Dzene" userId="36e850b3-6b13-42b6-8b78-9778956e69b6" providerId="ADAL" clId="{8699CBCE-6ABF-40E5-82A5-86FE1EF32829}" dt="2021-12-08T09:39:10.611" v="3197"/>
        <pc:sldMkLst>
          <pc:docMk/>
          <pc:sldMk cId="1593946341" sldId="1287"/>
        </pc:sldMkLst>
        <pc:spChg chg="add mod">
          <ac:chgData name="Ieva Dzene" userId="36e850b3-6b13-42b6-8b78-9778956e69b6" providerId="ADAL" clId="{8699CBCE-6ABF-40E5-82A5-86FE1EF32829}" dt="2021-12-08T09:38:50.803" v="3196" actId="164"/>
          <ac:spMkLst>
            <pc:docMk/>
            <pc:sldMk cId="1593946341" sldId="1287"/>
            <ac:spMk id="2" creationId="{A65B305A-F79C-4E0C-B065-AFEEA04AE86A}"/>
          </ac:spMkLst>
        </pc:spChg>
        <pc:spChg chg="mod">
          <ac:chgData name="Ieva Dzene" userId="36e850b3-6b13-42b6-8b78-9778956e69b6" providerId="ADAL" clId="{8699CBCE-6ABF-40E5-82A5-86FE1EF32829}" dt="2021-12-06T15:24:33.335" v="759" actId="1076"/>
          <ac:spMkLst>
            <pc:docMk/>
            <pc:sldMk cId="1593946341" sldId="1287"/>
            <ac:spMk id="11" creationId="{C619EA10-47CE-4B1A-BAA4-797664F8BA40}"/>
          </ac:spMkLst>
        </pc:spChg>
        <pc:spChg chg="add mod ord">
          <ac:chgData name="Ieva Dzene" userId="36e850b3-6b13-42b6-8b78-9778956e69b6" providerId="ADAL" clId="{8699CBCE-6ABF-40E5-82A5-86FE1EF32829}" dt="2021-12-07T15:43:56.612" v="3059" actId="14100"/>
          <ac:spMkLst>
            <pc:docMk/>
            <pc:sldMk cId="1593946341" sldId="1287"/>
            <ac:spMk id="15" creationId="{B53F3D20-4D2B-4CEA-8298-9BBD85376FB5}"/>
          </ac:spMkLst>
        </pc:spChg>
        <pc:spChg chg="add mod ord">
          <ac:chgData name="Ieva Dzene" userId="36e850b3-6b13-42b6-8b78-9778956e69b6" providerId="ADAL" clId="{8699CBCE-6ABF-40E5-82A5-86FE1EF32829}" dt="2021-12-07T15:44:07.687" v="3062" actId="1076"/>
          <ac:spMkLst>
            <pc:docMk/>
            <pc:sldMk cId="1593946341" sldId="1287"/>
            <ac:spMk id="18" creationId="{4035C889-8334-4B00-AB62-6DF91A040FB4}"/>
          </ac:spMkLst>
        </pc:spChg>
        <pc:spChg chg="mod ord">
          <ac:chgData name="Ieva Dzene" userId="36e850b3-6b13-42b6-8b78-9778956e69b6" providerId="ADAL" clId="{8699CBCE-6ABF-40E5-82A5-86FE1EF32829}" dt="2021-12-07T15:43:17.771" v="3047" actId="1076"/>
          <ac:spMkLst>
            <pc:docMk/>
            <pc:sldMk cId="1593946341" sldId="1287"/>
            <ac:spMk id="21" creationId="{6EF2C1FF-DABD-455D-AD7D-CFE34D23AEB9}"/>
          </ac:spMkLst>
        </pc:spChg>
        <pc:spChg chg="mod ord topLvl">
          <ac:chgData name="Ieva Dzene" userId="36e850b3-6b13-42b6-8b78-9778956e69b6" providerId="ADAL" clId="{8699CBCE-6ABF-40E5-82A5-86FE1EF32829}" dt="2021-12-07T15:42:15.132" v="3034" actId="165"/>
          <ac:spMkLst>
            <pc:docMk/>
            <pc:sldMk cId="1593946341" sldId="1287"/>
            <ac:spMk id="36" creationId="{44D3489F-2B54-4080-A4F6-18230F3B7081}"/>
          </ac:spMkLst>
        </pc:spChg>
        <pc:spChg chg="mod ord">
          <ac:chgData name="Ieva Dzene" userId="36e850b3-6b13-42b6-8b78-9778956e69b6" providerId="ADAL" clId="{8699CBCE-6ABF-40E5-82A5-86FE1EF32829}" dt="2021-12-07T15:43:26.316" v="3049" actId="1076"/>
          <ac:spMkLst>
            <pc:docMk/>
            <pc:sldMk cId="1593946341" sldId="1287"/>
            <ac:spMk id="38" creationId="{683AB757-9064-4D13-8D12-E8240260DE31}"/>
          </ac:spMkLst>
        </pc:spChg>
        <pc:spChg chg="mod ord topLvl">
          <ac:chgData name="Ieva Dzene" userId="36e850b3-6b13-42b6-8b78-9778956e69b6" providerId="ADAL" clId="{8699CBCE-6ABF-40E5-82A5-86FE1EF32829}" dt="2021-12-07T15:42:15.132" v="3034" actId="165"/>
          <ac:spMkLst>
            <pc:docMk/>
            <pc:sldMk cId="1593946341" sldId="1287"/>
            <ac:spMk id="43" creationId="{921CCF4E-975F-4CB3-9D7E-0444EA0CDFA8}"/>
          </ac:spMkLst>
        </pc:spChg>
        <pc:grpChg chg="add del mod">
          <ac:chgData name="Ieva Dzene" userId="36e850b3-6b13-42b6-8b78-9778956e69b6" providerId="ADAL" clId="{8699CBCE-6ABF-40E5-82A5-86FE1EF32829}" dt="2021-12-07T15:37:53.976" v="2987" actId="165"/>
          <ac:grpSpMkLst>
            <pc:docMk/>
            <pc:sldMk cId="1593946341" sldId="1287"/>
            <ac:grpSpMk id="2" creationId="{2D669611-B490-4506-8244-7B7E52847CEF}"/>
          </ac:grpSpMkLst>
        </pc:grpChg>
        <pc:grpChg chg="add del mod">
          <ac:chgData name="Ieva Dzene" userId="36e850b3-6b13-42b6-8b78-9778956e69b6" providerId="ADAL" clId="{8699CBCE-6ABF-40E5-82A5-86FE1EF32829}" dt="2021-12-07T15:42:15.132" v="3034" actId="165"/>
          <ac:grpSpMkLst>
            <pc:docMk/>
            <pc:sldMk cId="1593946341" sldId="1287"/>
            <ac:grpSpMk id="3" creationId="{580C60AF-1353-41CC-9569-3B2EACEC0B8B}"/>
          </ac:grpSpMkLst>
        </pc:grpChg>
        <pc:grpChg chg="add mod">
          <ac:chgData name="Ieva Dzene" userId="36e850b3-6b13-42b6-8b78-9778956e69b6" providerId="ADAL" clId="{8699CBCE-6ABF-40E5-82A5-86FE1EF32829}" dt="2021-12-08T09:38:50.803" v="3196" actId="164"/>
          <ac:grpSpMkLst>
            <pc:docMk/>
            <pc:sldMk cId="1593946341" sldId="1287"/>
            <ac:grpSpMk id="3" creationId="{D4C95012-9AEB-4A48-9C73-87D0003858A1}"/>
          </ac:grpSpMkLst>
        </pc:grpChg>
        <pc:picChg chg="del">
          <ac:chgData name="Ieva Dzene" userId="36e850b3-6b13-42b6-8b78-9778956e69b6" providerId="ADAL" clId="{8699CBCE-6ABF-40E5-82A5-86FE1EF32829}" dt="2021-12-06T14:33:41.340" v="559" actId="478"/>
          <ac:picMkLst>
            <pc:docMk/>
            <pc:sldMk cId="1593946341" sldId="1287"/>
            <ac:picMk id="3" creationId="{627AFC50-AB67-4F49-BF2D-8AD266B8891D}"/>
          </ac:picMkLst>
        </pc:picChg>
        <pc:picChg chg="add mod topLvl">
          <ac:chgData name="Ieva Dzene" userId="36e850b3-6b13-42b6-8b78-9778956e69b6" providerId="ADAL" clId="{8699CBCE-6ABF-40E5-82A5-86FE1EF32829}" dt="2021-12-07T15:42:15.132" v="3034" actId="165"/>
          <ac:picMkLst>
            <pc:docMk/>
            <pc:sldMk cId="1593946341" sldId="1287"/>
            <ac:picMk id="4" creationId="{2B369030-F7B1-4CD4-96DB-7B8FF1A168AA}"/>
          </ac:picMkLst>
        </pc:picChg>
        <pc:picChg chg="add mod ord">
          <ac:chgData name="Ieva Dzene" userId="36e850b3-6b13-42b6-8b78-9778956e69b6" providerId="ADAL" clId="{8699CBCE-6ABF-40E5-82A5-86FE1EF32829}" dt="2021-12-07T15:43:02.240" v="3044" actId="1076"/>
          <ac:picMkLst>
            <pc:docMk/>
            <pc:sldMk cId="1593946341" sldId="1287"/>
            <ac:picMk id="6" creationId="{A4D6F3B7-31A1-4EDB-9AF0-D2484725B250}"/>
          </ac:picMkLst>
        </pc:picChg>
        <pc:picChg chg="add mod ord modCrop">
          <ac:chgData name="Ieva Dzene" userId="36e850b3-6b13-42b6-8b78-9778956e69b6" providerId="ADAL" clId="{8699CBCE-6ABF-40E5-82A5-86FE1EF32829}" dt="2021-12-08T09:38:50.803" v="3196" actId="164"/>
          <ac:picMkLst>
            <pc:docMk/>
            <pc:sldMk cId="1593946341" sldId="1287"/>
            <ac:picMk id="8" creationId="{5AA63617-5558-4EDD-9BC3-6D13127FE0BF}"/>
          </ac:picMkLst>
        </pc:picChg>
        <pc:picChg chg="del">
          <ac:chgData name="Ieva Dzene" userId="36e850b3-6b13-42b6-8b78-9778956e69b6" providerId="ADAL" clId="{8699CBCE-6ABF-40E5-82A5-86FE1EF32829}" dt="2021-12-06T14:33:39.770" v="558" actId="478"/>
          <ac:picMkLst>
            <pc:docMk/>
            <pc:sldMk cId="1593946341" sldId="1287"/>
            <ac:picMk id="9" creationId="{A0AC256D-9057-4AD8-B284-A33C26009E9B}"/>
          </ac:picMkLst>
        </pc:picChg>
        <pc:picChg chg="del">
          <ac:chgData name="Ieva Dzene" userId="36e850b3-6b13-42b6-8b78-9778956e69b6" providerId="ADAL" clId="{8699CBCE-6ABF-40E5-82A5-86FE1EF32829}" dt="2021-12-06T14:33:38.437" v="557" actId="478"/>
          <ac:picMkLst>
            <pc:docMk/>
            <pc:sldMk cId="1593946341" sldId="1287"/>
            <ac:picMk id="12" creationId="{8BEAAEA5-3AB1-42BA-908F-24867E2266EF}"/>
          </ac:picMkLst>
        </pc:picChg>
        <pc:picChg chg="add mod ord">
          <ac:chgData name="Ieva Dzene" userId="36e850b3-6b13-42b6-8b78-9778956e69b6" providerId="ADAL" clId="{8699CBCE-6ABF-40E5-82A5-86FE1EF32829}" dt="2021-12-07T15:43:40.532" v="3053" actId="1076"/>
          <ac:picMkLst>
            <pc:docMk/>
            <pc:sldMk cId="1593946341" sldId="1287"/>
            <ac:picMk id="13" creationId="{A5025E72-A035-48A8-BF56-B58F5652097F}"/>
          </ac:picMkLst>
        </pc:picChg>
        <pc:picChg chg="add del">
          <ac:chgData name="Ieva Dzene" userId="36e850b3-6b13-42b6-8b78-9778956e69b6" providerId="ADAL" clId="{8699CBCE-6ABF-40E5-82A5-86FE1EF32829}" dt="2021-12-06T14:33:36.237" v="556" actId="478"/>
          <ac:picMkLst>
            <pc:docMk/>
            <pc:sldMk cId="1593946341" sldId="1287"/>
            <ac:picMk id="14" creationId="{63F8B999-0E45-4ED9-911C-28AADA15CD50}"/>
          </ac:picMkLst>
        </pc:picChg>
      </pc:sldChg>
      <pc:sldChg chg="addSp delSp modSp mod">
        <pc:chgData name="Ieva Dzene" userId="36e850b3-6b13-42b6-8b78-9778956e69b6" providerId="ADAL" clId="{8699CBCE-6ABF-40E5-82A5-86FE1EF32829}" dt="2021-12-08T10:01:34.875" v="3388" actId="255"/>
        <pc:sldMkLst>
          <pc:docMk/>
          <pc:sldMk cId="2039230434" sldId="1289"/>
        </pc:sldMkLst>
        <pc:spChg chg="add del mod">
          <ac:chgData name="Ieva Dzene" userId="36e850b3-6b13-42b6-8b78-9778956e69b6" providerId="ADAL" clId="{8699CBCE-6ABF-40E5-82A5-86FE1EF32829}" dt="2021-12-08T10:01:08.570" v="3385" actId="478"/>
          <ac:spMkLst>
            <pc:docMk/>
            <pc:sldMk cId="2039230434" sldId="1289"/>
            <ac:spMk id="17" creationId="{B9A6068A-AB42-4B23-83E8-0CBF3B880473}"/>
          </ac:spMkLst>
        </pc:spChg>
        <pc:spChg chg="mod">
          <ac:chgData name="Ieva Dzene" userId="36e850b3-6b13-42b6-8b78-9778956e69b6" providerId="ADAL" clId="{8699CBCE-6ABF-40E5-82A5-86FE1EF32829}" dt="2021-12-08T10:01:12.431" v="3386" actId="1076"/>
          <ac:spMkLst>
            <pc:docMk/>
            <pc:sldMk cId="2039230434" sldId="1289"/>
            <ac:spMk id="22" creationId="{C58A6553-0255-4090-BD0D-AB14FA4D2F29}"/>
          </ac:spMkLst>
        </pc:spChg>
        <pc:spChg chg="mod">
          <ac:chgData name="Ieva Dzene" userId="36e850b3-6b13-42b6-8b78-9778956e69b6" providerId="ADAL" clId="{8699CBCE-6ABF-40E5-82A5-86FE1EF32829}" dt="2021-12-08T10:01:34.875" v="3388" actId="255"/>
          <ac:spMkLst>
            <pc:docMk/>
            <pc:sldMk cId="2039230434" sldId="1289"/>
            <ac:spMk id="27" creationId="{B6CCECCD-4946-4894-8213-C52A8DEF08ED}"/>
          </ac:spMkLst>
        </pc:spChg>
        <pc:spChg chg="mod">
          <ac:chgData name="Ieva Dzene" userId="36e850b3-6b13-42b6-8b78-9778956e69b6" providerId="ADAL" clId="{8699CBCE-6ABF-40E5-82A5-86FE1EF32829}" dt="2021-12-08T10:01:27.343" v="3387" actId="255"/>
          <ac:spMkLst>
            <pc:docMk/>
            <pc:sldMk cId="2039230434" sldId="1289"/>
            <ac:spMk id="31" creationId="{373466C1-7D29-445B-B09E-87778E6A6BBD}"/>
          </ac:spMkLst>
        </pc:spChg>
      </pc:sldChg>
      <pc:sldChg chg="modSp mod">
        <pc:chgData name="Ieva Dzene" userId="36e850b3-6b13-42b6-8b78-9778956e69b6" providerId="ADAL" clId="{8699CBCE-6ABF-40E5-82A5-86FE1EF32829}" dt="2021-12-08T09:29:36.139" v="3136" actId="20577"/>
        <pc:sldMkLst>
          <pc:docMk/>
          <pc:sldMk cId="6323355" sldId="1290"/>
        </pc:sldMkLst>
        <pc:spChg chg="mod">
          <ac:chgData name="Ieva Dzene" userId="36e850b3-6b13-42b6-8b78-9778956e69b6" providerId="ADAL" clId="{8699CBCE-6ABF-40E5-82A5-86FE1EF32829}" dt="2021-12-08T09:29:36.139" v="3136" actId="20577"/>
          <ac:spMkLst>
            <pc:docMk/>
            <pc:sldMk cId="6323355" sldId="1290"/>
            <ac:spMk id="3" creationId="{3F5685DE-5CDA-48CF-8110-2F734E749111}"/>
          </ac:spMkLst>
        </pc:spChg>
      </pc:sldChg>
      <pc:sldChg chg="addSp delSp modSp mod">
        <pc:chgData name="Ieva Dzene" userId="36e850b3-6b13-42b6-8b78-9778956e69b6" providerId="ADAL" clId="{8699CBCE-6ABF-40E5-82A5-86FE1EF32829}" dt="2021-12-07T15:24:35.402" v="2892" actId="1076"/>
        <pc:sldMkLst>
          <pc:docMk/>
          <pc:sldMk cId="683684442" sldId="1292"/>
        </pc:sldMkLst>
        <pc:spChg chg="mod">
          <ac:chgData name="Ieva Dzene" userId="36e850b3-6b13-42b6-8b78-9778956e69b6" providerId="ADAL" clId="{8699CBCE-6ABF-40E5-82A5-86FE1EF32829}" dt="2021-12-07T15:24:09.967" v="2889" actId="20577"/>
          <ac:spMkLst>
            <pc:docMk/>
            <pc:sldMk cId="683684442" sldId="1292"/>
            <ac:spMk id="27" creationId="{82C1FBD4-E916-4C3E-BE64-6D5AB2E4B4DD}"/>
          </ac:spMkLst>
        </pc:spChg>
        <pc:picChg chg="del">
          <ac:chgData name="Ieva Dzene" userId="36e850b3-6b13-42b6-8b78-9778956e69b6" providerId="ADAL" clId="{8699CBCE-6ABF-40E5-82A5-86FE1EF32829}" dt="2021-12-07T15:24:31.763" v="2890" actId="478"/>
          <ac:picMkLst>
            <pc:docMk/>
            <pc:sldMk cId="683684442" sldId="1292"/>
            <ac:picMk id="4" creationId="{B5990CE1-0790-4C63-9E5D-0DCB8348AAB0}"/>
          </ac:picMkLst>
        </pc:picChg>
        <pc:picChg chg="add mod">
          <ac:chgData name="Ieva Dzene" userId="36e850b3-6b13-42b6-8b78-9778956e69b6" providerId="ADAL" clId="{8699CBCE-6ABF-40E5-82A5-86FE1EF32829}" dt="2021-12-07T15:24:35.402" v="2892" actId="1076"/>
          <ac:picMkLst>
            <pc:docMk/>
            <pc:sldMk cId="683684442" sldId="1292"/>
            <ac:picMk id="5" creationId="{55AE7329-4224-4744-86FD-B45A6036A0DB}"/>
          </ac:picMkLst>
        </pc:picChg>
      </pc:sldChg>
      <pc:sldChg chg="addSp delSp modSp mod">
        <pc:chgData name="Ieva Dzene" userId="36e850b3-6b13-42b6-8b78-9778956e69b6" providerId="ADAL" clId="{8699CBCE-6ABF-40E5-82A5-86FE1EF32829}" dt="2021-12-07T15:25:03.247" v="2894" actId="1076"/>
        <pc:sldMkLst>
          <pc:docMk/>
          <pc:sldMk cId="865222926" sldId="1307"/>
        </pc:sldMkLst>
        <pc:spChg chg="mod ord">
          <ac:chgData name="Ieva Dzene" userId="36e850b3-6b13-42b6-8b78-9778956e69b6" providerId="ADAL" clId="{8699CBCE-6ABF-40E5-82A5-86FE1EF32829}" dt="2021-12-07T15:23:39.981" v="2884" actId="14100"/>
          <ac:spMkLst>
            <pc:docMk/>
            <pc:sldMk cId="865222926" sldId="1307"/>
            <ac:spMk id="10" creationId="{7495752C-619E-4C0D-BDF3-C4155AE955FF}"/>
          </ac:spMkLst>
        </pc:spChg>
        <pc:spChg chg="mod">
          <ac:chgData name="Ieva Dzene" userId="36e850b3-6b13-42b6-8b78-9778956e69b6" providerId="ADAL" clId="{8699CBCE-6ABF-40E5-82A5-86FE1EF32829}" dt="2021-12-07T15:25:03.247" v="2894" actId="1076"/>
          <ac:spMkLst>
            <pc:docMk/>
            <pc:sldMk cId="865222926" sldId="1307"/>
            <ac:spMk id="27" creationId="{82C1FBD4-E916-4C3E-BE64-6D5AB2E4B4DD}"/>
          </ac:spMkLst>
        </pc:spChg>
        <pc:picChg chg="add mod">
          <ac:chgData name="Ieva Dzene" userId="36e850b3-6b13-42b6-8b78-9778956e69b6" providerId="ADAL" clId="{8699CBCE-6ABF-40E5-82A5-86FE1EF32829}" dt="2021-12-07T15:23:45.836" v="2885" actId="108"/>
          <ac:picMkLst>
            <pc:docMk/>
            <pc:sldMk cId="865222926" sldId="1307"/>
            <ac:picMk id="4" creationId="{6383A303-2A4F-4E0F-9ACB-86EAD2A170D8}"/>
          </ac:picMkLst>
        </pc:picChg>
        <pc:picChg chg="del">
          <ac:chgData name="Ieva Dzene" userId="36e850b3-6b13-42b6-8b78-9778956e69b6" providerId="ADAL" clId="{8699CBCE-6ABF-40E5-82A5-86FE1EF32829}" dt="2021-12-07T15:23:15.969" v="2877" actId="478"/>
          <ac:picMkLst>
            <pc:docMk/>
            <pc:sldMk cId="865222926" sldId="1307"/>
            <ac:picMk id="8" creationId="{CEF3CE9E-7867-40A4-8CFE-7AD494B76B4B}"/>
          </ac:picMkLst>
        </pc:picChg>
      </pc:sldChg>
      <pc:sldChg chg="modSp del mod">
        <pc:chgData name="Ieva Dzene" userId="36e850b3-6b13-42b6-8b78-9778956e69b6" providerId="ADAL" clId="{8699CBCE-6ABF-40E5-82A5-86FE1EF32829}" dt="2021-12-06T16:44:49.205" v="1108" actId="2696"/>
        <pc:sldMkLst>
          <pc:docMk/>
          <pc:sldMk cId="3902203001" sldId="1312"/>
        </pc:sldMkLst>
        <pc:picChg chg="mod">
          <ac:chgData name="Ieva Dzene" userId="36e850b3-6b13-42b6-8b78-9778956e69b6" providerId="ADAL" clId="{8699CBCE-6ABF-40E5-82A5-86FE1EF32829}" dt="2021-12-06T16:44:01.016" v="1103" actId="1076"/>
          <ac:picMkLst>
            <pc:docMk/>
            <pc:sldMk cId="3902203001" sldId="1312"/>
            <ac:picMk id="8" creationId="{B8A928F7-D5ED-49A8-81DE-049BD1557075}"/>
          </ac:picMkLst>
        </pc:picChg>
      </pc:sldChg>
      <pc:sldChg chg="addSp delSp modSp mod modAnim">
        <pc:chgData name="Ieva Dzene" userId="36e850b3-6b13-42b6-8b78-9778956e69b6" providerId="ADAL" clId="{8699CBCE-6ABF-40E5-82A5-86FE1EF32829}" dt="2021-12-08T09:59:12.724" v="3374" actId="1076"/>
        <pc:sldMkLst>
          <pc:docMk/>
          <pc:sldMk cId="3709285383" sldId="1315"/>
        </pc:sldMkLst>
        <pc:spChg chg="del mod">
          <ac:chgData name="Ieva Dzene" userId="36e850b3-6b13-42b6-8b78-9778956e69b6" providerId="ADAL" clId="{8699CBCE-6ABF-40E5-82A5-86FE1EF32829}" dt="2021-12-08T09:57:25.251" v="3358" actId="478"/>
          <ac:spMkLst>
            <pc:docMk/>
            <pc:sldMk cId="3709285383" sldId="1315"/>
            <ac:spMk id="18" creationId="{36294B8C-2534-47BF-A050-24DBE7442FF0}"/>
          </ac:spMkLst>
        </pc:spChg>
        <pc:spChg chg="mod">
          <ac:chgData name="Ieva Dzene" userId="36e850b3-6b13-42b6-8b78-9778956e69b6" providerId="ADAL" clId="{8699CBCE-6ABF-40E5-82A5-86FE1EF32829}" dt="2021-12-08T09:58:47.452" v="3370" actId="255"/>
          <ac:spMkLst>
            <pc:docMk/>
            <pc:sldMk cId="3709285383" sldId="1315"/>
            <ac:spMk id="19" creationId="{35CEB8BE-CA01-45DF-84B3-914EF1F86ECC}"/>
          </ac:spMkLst>
        </pc:spChg>
        <pc:spChg chg="mod">
          <ac:chgData name="Ieva Dzene" userId="36e850b3-6b13-42b6-8b78-9778956e69b6" providerId="ADAL" clId="{8699CBCE-6ABF-40E5-82A5-86FE1EF32829}" dt="2021-12-08T09:59:12.724" v="3374" actId="1076"/>
          <ac:spMkLst>
            <pc:docMk/>
            <pc:sldMk cId="3709285383" sldId="1315"/>
            <ac:spMk id="20" creationId="{1872BC11-7138-428D-8F39-71AFDA564401}"/>
          </ac:spMkLst>
        </pc:spChg>
        <pc:spChg chg="mod">
          <ac:chgData name="Ieva Dzene" userId="36e850b3-6b13-42b6-8b78-9778956e69b6" providerId="ADAL" clId="{8699CBCE-6ABF-40E5-82A5-86FE1EF32829}" dt="2021-12-08T09:57:29.207" v="3359" actId="1076"/>
          <ac:spMkLst>
            <pc:docMk/>
            <pc:sldMk cId="3709285383" sldId="1315"/>
            <ac:spMk id="28" creationId="{6620D9C1-8533-46FF-999C-31AFD3C3352A}"/>
          </ac:spMkLst>
        </pc:spChg>
        <pc:spChg chg="mod">
          <ac:chgData name="Ieva Dzene" userId="36e850b3-6b13-42b6-8b78-9778956e69b6" providerId="ADAL" clId="{8699CBCE-6ABF-40E5-82A5-86FE1EF32829}" dt="2021-12-08T09:58:29.028" v="3367" actId="14100"/>
          <ac:spMkLst>
            <pc:docMk/>
            <pc:sldMk cId="3709285383" sldId="1315"/>
            <ac:spMk id="31" creationId="{A9214B21-7BF8-43E6-A4C5-23A451B4EE50}"/>
          </ac:spMkLst>
        </pc:spChg>
        <pc:spChg chg="mod">
          <ac:chgData name="Ieva Dzene" userId="36e850b3-6b13-42b6-8b78-9778956e69b6" providerId="ADAL" clId="{8699CBCE-6ABF-40E5-82A5-86FE1EF32829}" dt="2021-12-08T09:58:38.942" v="3369" actId="14100"/>
          <ac:spMkLst>
            <pc:docMk/>
            <pc:sldMk cId="3709285383" sldId="1315"/>
            <ac:spMk id="32" creationId="{FCC02B46-C67A-457D-B401-695B9EF343A9}"/>
          </ac:spMkLst>
        </pc:spChg>
        <pc:picChg chg="add mod ord">
          <ac:chgData name="Ieva Dzene" userId="36e850b3-6b13-42b6-8b78-9778956e69b6" providerId="ADAL" clId="{8699CBCE-6ABF-40E5-82A5-86FE1EF32829}" dt="2021-12-06T17:01:16.174" v="1165" actId="1076"/>
          <ac:picMkLst>
            <pc:docMk/>
            <pc:sldMk cId="3709285383" sldId="1315"/>
            <ac:picMk id="3" creationId="{5ED80781-56A3-4F6F-907E-4C5FD6563C10}"/>
          </ac:picMkLst>
        </pc:picChg>
        <pc:picChg chg="del">
          <ac:chgData name="Ieva Dzene" userId="36e850b3-6b13-42b6-8b78-9778956e69b6" providerId="ADAL" clId="{8699CBCE-6ABF-40E5-82A5-86FE1EF32829}" dt="2021-12-06T17:00:52.099" v="1157" actId="478"/>
          <ac:picMkLst>
            <pc:docMk/>
            <pc:sldMk cId="3709285383" sldId="1315"/>
            <ac:picMk id="30" creationId="{7A35362A-7B5D-4F3E-9937-3DE37134CD04}"/>
          </ac:picMkLst>
        </pc:picChg>
      </pc:sldChg>
      <pc:sldChg chg="del">
        <pc:chgData name="Ieva Dzene" userId="36e850b3-6b13-42b6-8b78-9778956e69b6" providerId="ADAL" clId="{8699CBCE-6ABF-40E5-82A5-86FE1EF32829}" dt="2021-12-06T17:11:10.040" v="1230" actId="2696"/>
        <pc:sldMkLst>
          <pc:docMk/>
          <pc:sldMk cId="4165507725" sldId="1316"/>
        </pc:sldMkLst>
      </pc:sldChg>
      <pc:sldChg chg="modSp del mod">
        <pc:chgData name="Ieva Dzene" userId="36e850b3-6b13-42b6-8b78-9778956e69b6" providerId="ADAL" clId="{8699CBCE-6ABF-40E5-82A5-86FE1EF32829}" dt="2021-12-06T17:11:18.895" v="1231" actId="2696"/>
        <pc:sldMkLst>
          <pc:docMk/>
          <pc:sldMk cId="3605511641" sldId="1317"/>
        </pc:sldMkLst>
        <pc:spChg chg="mod">
          <ac:chgData name="Ieva Dzene" userId="36e850b3-6b13-42b6-8b78-9778956e69b6" providerId="ADAL" clId="{8699CBCE-6ABF-40E5-82A5-86FE1EF32829}" dt="2021-12-06T17:03:06.844" v="1174" actId="14100"/>
          <ac:spMkLst>
            <pc:docMk/>
            <pc:sldMk cId="3605511641" sldId="1317"/>
            <ac:spMk id="37" creationId="{F6B67D69-0672-4EEE-8B6D-D2C4976EE040}"/>
          </ac:spMkLst>
        </pc:spChg>
        <pc:cxnChg chg="mod">
          <ac:chgData name="Ieva Dzene" userId="36e850b3-6b13-42b6-8b78-9778956e69b6" providerId="ADAL" clId="{8699CBCE-6ABF-40E5-82A5-86FE1EF32829}" dt="2021-12-06T17:03:08.968" v="1175" actId="1076"/>
          <ac:cxnSpMkLst>
            <pc:docMk/>
            <pc:sldMk cId="3605511641" sldId="1317"/>
            <ac:cxnSpMk id="35" creationId="{586C64E9-2847-472D-9D29-43A8D24FCF66}"/>
          </ac:cxnSpMkLst>
        </pc:cxnChg>
      </pc:sldChg>
      <pc:sldChg chg="del">
        <pc:chgData name="Ieva Dzene" userId="36e850b3-6b13-42b6-8b78-9778956e69b6" providerId="ADAL" clId="{8699CBCE-6ABF-40E5-82A5-86FE1EF32829}" dt="2021-12-06T17:19:04.893" v="1284" actId="2696"/>
        <pc:sldMkLst>
          <pc:docMk/>
          <pc:sldMk cId="2492221551" sldId="1320"/>
        </pc:sldMkLst>
      </pc:sldChg>
      <pc:sldChg chg="mod modShow">
        <pc:chgData name="Ieva Dzene" userId="36e850b3-6b13-42b6-8b78-9778956e69b6" providerId="ADAL" clId="{8699CBCE-6ABF-40E5-82A5-86FE1EF32829}" dt="2021-12-13T09:47:47.250" v="3470" actId="729"/>
        <pc:sldMkLst>
          <pc:docMk/>
          <pc:sldMk cId="4111006451" sldId="1324"/>
        </pc:sldMkLst>
      </pc:sldChg>
      <pc:sldChg chg="addSp delSp modSp mod modShow">
        <pc:chgData name="Ieva Dzene" userId="36e850b3-6b13-42b6-8b78-9778956e69b6" providerId="ADAL" clId="{8699CBCE-6ABF-40E5-82A5-86FE1EF32829}" dt="2021-12-13T09:47:54.474" v="3471" actId="729"/>
        <pc:sldMkLst>
          <pc:docMk/>
          <pc:sldMk cId="175430894" sldId="1327"/>
        </pc:sldMkLst>
        <pc:spChg chg="mod">
          <ac:chgData name="Ieva Dzene" userId="36e850b3-6b13-42b6-8b78-9778956e69b6" providerId="ADAL" clId="{8699CBCE-6ABF-40E5-82A5-86FE1EF32829}" dt="2021-12-07T15:28:21.891" v="2910" actId="20577"/>
          <ac:spMkLst>
            <pc:docMk/>
            <pc:sldMk cId="175430894" sldId="1327"/>
            <ac:spMk id="17" creationId="{0F463DB7-32E3-48FC-ADE5-6255B0C76CDF}"/>
          </ac:spMkLst>
        </pc:spChg>
        <pc:picChg chg="add mod">
          <ac:chgData name="Ieva Dzene" userId="36e850b3-6b13-42b6-8b78-9778956e69b6" providerId="ADAL" clId="{8699CBCE-6ABF-40E5-82A5-86FE1EF32829}" dt="2021-12-07T15:27:02.604" v="2899" actId="108"/>
          <ac:picMkLst>
            <pc:docMk/>
            <pc:sldMk cId="175430894" sldId="1327"/>
            <ac:picMk id="3" creationId="{1311894E-5D92-4FE9-8D06-6A6ADE830988}"/>
          </ac:picMkLst>
        </pc:picChg>
        <pc:picChg chg="add del mod">
          <ac:chgData name="Ieva Dzene" userId="36e850b3-6b13-42b6-8b78-9778956e69b6" providerId="ADAL" clId="{8699CBCE-6ABF-40E5-82A5-86FE1EF32829}" dt="2021-12-07T15:29:02.394" v="2914" actId="478"/>
          <ac:picMkLst>
            <pc:docMk/>
            <pc:sldMk cId="175430894" sldId="1327"/>
            <ac:picMk id="6" creationId="{BC095CCD-0455-4387-B320-4F4FF09E011E}"/>
          </ac:picMkLst>
        </pc:picChg>
        <pc:picChg chg="add mod">
          <ac:chgData name="Ieva Dzene" userId="36e850b3-6b13-42b6-8b78-9778956e69b6" providerId="ADAL" clId="{8699CBCE-6ABF-40E5-82A5-86FE1EF32829}" dt="2021-12-07T15:29:09.642" v="2917" actId="108"/>
          <ac:picMkLst>
            <pc:docMk/>
            <pc:sldMk cId="175430894" sldId="1327"/>
            <ac:picMk id="9" creationId="{EB772F11-198F-4FB2-AD50-164C52AA329B}"/>
          </ac:picMkLst>
        </pc:picChg>
        <pc:picChg chg="del">
          <ac:chgData name="Ieva Dzene" userId="36e850b3-6b13-42b6-8b78-9778956e69b6" providerId="ADAL" clId="{8699CBCE-6ABF-40E5-82A5-86FE1EF32829}" dt="2021-12-07T15:28:05.686" v="2900" actId="478"/>
          <ac:picMkLst>
            <pc:docMk/>
            <pc:sldMk cId="175430894" sldId="1327"/>
            <ac:picMk id="27" creationId="{0DBC9BD6-0A42-4DEE-A220-6B4550B916B5}"/>
          </ac:picMkLst>
        </pc:picChg>
        <pc:picChg chg="del">
          <ac:chgData name="Ieva Dzene" userId="36e850b3-6b13-42b6-8b78-9778956e69b6" providerId="ADAL" clId="{8699CBCE-6ABF-40E5-82A5-86FE1EF32829}" dt="2021-12-07T15:26:52.646" v="2895" actId="478"/>
          <ac:picMkLst>
            <pc:docMk/>
            <pc:sldMk cId="175430894" sldId="1327"/>
            <ac:picMk id="31" creationId="{2E97CBD3-99C3-4351-B724-DD1CDF235130}"/>
          </ac:picMkLst>
        </pc:picChg>
      </pc:sldChg>
      <pc:sldChg chg="modSp mod">
        <pc:chgData name="Ieva Dzene" userId="36e850b3-6b13-42b6-8b78-9778956e69b6" providerId="ADAL" clId="{8699CBCE-6ABF-40E5-82A5-86FE1EF32829}" dt="2021-12-07T15:29:29.631" v="2924" actId="20577"/>
        <pc:sldMkLst>
          <pc:docMk/>
          <pc:sldMk cId="3659738075" sldId="1330"/>
        </pc:sldMkLst>
        <pc:spChg chg="mod">
          <ac:chgData name="Ieva Dzene" userId="36e850b3-6b13-42b6-8b78-9778956e69b6" providerId="ADAL" clId="{8699CBCE-6ABF-40E5-82A5-86FE1EF32829}" dt="2021-12-07T15:29:29.631" v="2924" actId="20577"/>
          <ac:spMkLst>
            <pc:docMk/>
            <pc:sldMk cId="3659738075" sldId="1330"/>
            <ac:spMk id="17" creationId="{0F463DB7-32E3-48FC-ADE5-6255B0C76CDF}"/>
          </ac:spMkLst>
        </pc:spChg>
      </pc:sldChg>
      <pc:sldChg chg="modSp mod">
        <pc:chgData name="Ieva Dzene" userId="36e850b3-6b13-42b6-8b78-9778956e69b6" providerId="ADAL" clId="{8699CBCE-6ABF-40E5-82A5-86FE1EF32829}" dt="2021-12-08T10:12:58.936" v="3467" actId="1076"/>
        <pc:sldMkLst>
          <pc:docMk/>
          <pc:sldMk cId="1881582963" sldId="1332"/>
        </pc:sldMkLst>
        <pc:spChg chg="mod">
          <ac:chgData name="Ieva Dzene" userId="36e850b3-6b13-42b6-8b78-9778956e69b6" providerId="ADAL" clId="{8699CBCE-6ABF-40E5-82A5-86FE1EF32829}" dt="2021-12-08T10:12:58.936" v="3467" actId="1076"/>
          <ac:spMkLst>
            <pc:docMk/>
            <pc:sldMk cId="1881582963" sldId="1332"/>
            <ac:spMk id="3" creationId="{6466603B-FAD5-41A7-B578-03DB8535B9DD}"/>
          </ac:spMkLst>
        </pc:spChg>
      </pc:sldChg>
      <pc:sldChg chg="addSp delSp modSp mod">
        <pc:chgData name="Ieva Dzene" userId="36e850b3-6b13-42b6-8b78-9778956e69b6" providerId="ADAL" clId="{8699CBCE-6ABF-40E5-82A5-86FE1EF32829}" dt="2021-12-08T10:14:02.182" v="3469" actId="1076"/>
        <pc:sldMkLst>
          <pc:docMk/>
          <pc:sldMk cId="1262755752" sldId="1333"/>
        </pc:sldMkLst>
        <pc:spChg chg="mod">
          <ac:chgData name="Ieva Dzene" userId="36e850b3-6b13-42b6-8b78-9778956e69b6" providerId="ADAL" clId="{8699CBCE-6ABF-40E5-82A5-86FE1EF32829}" dt="2021-12-08T10:14:02.182" v="3469" actId="1076"/>
          <ac:spMkLst>
            <pc:docMk/>
            <pc:sldMk cId="1262755752" sldId="1333"/>
            <ac:spMk id="5" creationId="{330BF89E-CCF6-454D-9595-233E95E51A24}"/>
          </ac:spMkLst>
        </pc:spChg>
        <pc:spChg chg="mod">
          <ac:chgData name="Ieva Dzene" userId="36e850b3-6b13-42b6-8b78-9778956e69b6" providerId="ADAL" clId="{8699CBCE-6ABF-40E5-82A5-86FE1EF32829}" dt="2021-12-08T10:14:02.182" v="3469" actId="1076"/>
          <ac:spMkLst>
            <pc:docMk/>
            <pc:sldMk cId="1262755752" sldId="1333"/>
            <ac:spMk id="46" creationId="{0F4E37C0-9CBB-49E6-9E4C-F23750A45287}"/>
          </ac:spMkLst>
        </pc:spChg>
        <pc:spChg chg="mod">
          <ac:chgData name="Ieva Dzene" userId="36e850b3-6b13-42b6-8b78-9778956e69b6" providerId="ADAL" clId="{8699CBCE-6ABF-40E5-82A5-86FE1EF32829}" dt="2021-12-08T10:14:02.182" v="3469" actId="1076"/>
          <ac:spMkLst>
            <pc:docMk/>
            <pc:sldMk cId="1262755752" sldId="1333"/>
            <ac:spMk id="67" creationId="{2C45D741-938D-437E-B004-8FC3E016AAD2}"/>
          </ac:spMkLst>
        </pc:spChg>
        <pc:spChg chg="mod">
          <ac:chgData name="Ieva Dzene" userId="36e850b3-6b13-42b6-8b78-9778956e69b6" providerId="ADAL" clId="{8699CBCE-6ABF-40E5-82A5-86FE1EF32829}" dt="2021-12-08T10:14:02.182" v="3469" actId="1076"/>
          <ac:spMkLst>
            <pc:docMk/>
            <pc:sldMk cId="1262755752" sldId="1333"/>
            <ac:spMk id="68" creationId="{43530EBD-0B8D-4A35-A653-7EC71BB326E8}"/>
          </ac:spMkLst>
        </pc:spChg>
        <pc:spChg chg="mod">
          <ac:chgData name="Ieva Dzene" userId="36e850b3-6b13-42b6-8b78-9778956e69b6" providerId="ADAL" clId="{8699CBCE-6ABF-40E5-82A5-86FE1EF32829}" dt="2021-12-08T10:14:02.182" v="3469" actId="1076"/>
          <ac:spMkLst>
            <pc:docMk/>
            <pc:sldMk cId="1262755752" sldId="1333"/>
            <ac:spMk id="93" creationId="{1D2FB84E-A477-4E7D-9F6A-AEB247CBA51C}"/>
          </ac:spMkLst>
        </pc:spChg>
        <pc:spChg chg="mod">
          <ac:chgData name="Ieva Dzene" userId="36e850b3-6b13-42b6-8b78-9778956e69b6" providerId="ADAL" clId="{8699CBCE-6ABF-40E5-82A5-86FE1EF32829}" dt="2021-12-08T10:14:02.182" v="3469" actId="1076"/>
          <ac:spMkLst>
            <pc:docMk/>
            <pc:sldMk cId="1262755752" sldId="1333"/>
            <ac:spMk id="94" creationId="{0E58DF0B-847A-4D38-ABC7-F754B6382F8F}"/>
          </ac:spMkLst>
        </pc:spChg>
        <pc:picChg chg="del">
          <ac:chgData name="Ieva Dzene" userId="36e850b3-6b13-42b6-8b78-9778956e69b6" providerId="ADAL" clId="{8699CBCE-6ABF-40E5-82A5-86FE1EF32829}" dt="2021-12-03T08:17:52.131" v="0" actId="478"/>
          <ac:picMkLst>
            <pc:docMk/>
            <pc:sldMk cId="1262755752" sldId="1333"/>
            <ac:picMk id="3" creationId="{090ED8F2-E590-4ECE-ABDD-F8586EEEA900}"/>
          </ac:picMkLst>
        </pc:picChg>
        <pc:picChg chg="add mod">
          <ac:chgData name="Ieva Dzene" userId="36e850b3-6b13-42b6-8b78-9778956e69b6" providerId="ADAL" clId="{8699CBCE-6ABF-40E5-82A5-86FE1EF32829}" dt="2021-12-03T08:18:03.296" v="5" actId="108"/>
          <ac:picMkLst>
            <pc:docMk/>
            <pc:sldMk cId="1262755752" sldId="1333"/>
            <ac:picMk id="6" creationId="{AF22B96B-FC53-4351-91C1-152D9CE3D5AA}"/>
          </ac:picMkLst>
        </pc:picChg>
        <pc:picChg chg="del">
          <ac:chgData name="Ieva Dzene" userId="36e850b3-6b13-42b6-8b78-9778956e69b6" providerId="ADAL" clId="{8699CBCE-6ABF-40E5-82A5-86FE1EF32829}" dt="2021-12-03T08:24:52.301" v="6" actId="478"/>
          <ac:picMkLst>
            <pc:docMk/>
            <pc:sldMk cId="1262755752" sldId="1333"/>
            <ac:picMk id="8" creationId="{35AEF1AB-02D7-4F05-A5F8-3818E5557199}"/>
          </ac:picMkLst>
        </pc:picChg>
        <pc:picChg chg="add mod">
          <ac:chgData name="Ieva Dzene" userId="36e850b3-6b13-42b6-8b78-9778956e69b6" providerId="ADAL" clId="{8699CBCE-6ABF-40E5-82A5-86FE1EF32829}" dt="2021-12-03T08:25:04.445" v="11" actId="108"/>
          <ac:picMkLst>
            <pc:docMk/>
            <pc:sldMk cId="1262755752" sldId="1333"/>
            <ac:picMk id="9" creationId="{2B51E494-185C-4148-BFA2-377EA51AE5AF}"/>
          </ac:picMkLst>
        </pc:picChg>
        <pc:cxnChg chg="mod">
          <ac:chgData name="Ieva Dzene" userId="36e850b3-6b13-42b6-8b78-9778956e69b6" providerId="ADAL" clId="{8699CBCE-6ABF-40E5-82A5-86FE1EF32829}" dt="2021-12-08T10:14:02.182" v="3469" actId="1076"/>
          <ac:cxnSpMkLst>
            <pc:docMk/>
            <pc:sldMk cId="1262755752" sldId="1333"/>
            <ac:cxnSpMk id="31" creationId="{6DA9AA30-B025-4A1B-BBDC-FD5A468FADEE}"/>
          </ac:cxnSpMkLst>
        </pc:cxnChg>
        <pc:cxnChg chg="mod">
          <ac:chgData name="Ieva Dzene" userId="36e850b3-6b13-42b6-8b78-9778956e69b6" providerId="ADAL" clId="{8699CBCE-6ABF-40E5-82A5-86FE1EF32829}" dt="2021-12-08T10:14:02.182" v="3469" actId="1076"/>
          <ac:cxnSpMkLst>
            <pc:docMk/>
            <pc:sldMk cId="1262755752" sldId="1333"/>
            <ac:cxnSpMk id="33" creationId="{ACAFDE0D-AE2C-43C9-9B38-7345314882FC}"/>
          </ac:cxnSpMkLst>
        </pc:cxnChg>
        <pc:cxnChg chg="mod">
          <ac:chgData name="Ieva Dzene" userId="36e850b3-6b13-42b6-8b78-9778956e69b6" providerId="ADAL" clId="{8699CBCE-6ABF-40E5-82A5-86FE1EF32829}" dt="2021-12-08T10:14:02.182" v="3469" actId="1076"/>
          <ac:cxnSpMkLst>
            <pc:docMk/>
            <pc:sldMk cId="1262755752" sldId="1333"/>
            <ac:cxnSpMk id="34" creationId="{BE90EB05-D158-43D7-9688-FFB3AE1B316C}"/>
          </ac:cxnSpMkLst>
        </pc:cxnChg>
        <pc:cxnChg chg="mod">
          <ac:chgData name="Ieva Dzene" userId="36e850b3-6b13-42b6-8b78-9778956e69b6" providerId="ADAL" clId="{8699CBCE-6ABF-40E5-82A5-86FE1EF32829}" dt="2021-12-08T10:14:02.182" v="3469" actId="1076"/>
          <ac:cxnSpMkLst>
            <pc:docMk/>
            <pc:sldMk cId="1262755752" sldId="1333"/>
            <ac:cxnSpMk id="95" creationId="{52EF4124-B645-4592-82BB-C611225807D1}"/>
          </ac:cxnSpMkLst>
        </pc:cxnChg>
        <pc:cxnChg chg="mod">
          <ac:chgData name="Ieva Dzene" userId="36e850b3-6b13-42b6-8b78-9778956e69b6" providerId="ADAL" clId="{8699CBCE-6ABF-40E5-82A5-86FE1EF32829}" dt="2021-12-08T10:14:02.182" v="3469" actId="1076"/>
          <ac:cxnSpMkLst>
            <pc:docMk/>
            <pc:sldMk cId="1262755752" sldId="1333"/>
            <ac:cxnSpMk id="105" creationId="{F4D0B576-3200-436F-8A28-CBA161464E0D}"/>
          </ac:cxnSpMkLst>
        </pc:cxnChg>
      </pc:sldChg>
      <pc:sldChg chg="modSp mod">
        <pc:chgData name="Ieva Dzene" userId="36e850b3-6b13-42b6-8b78-9778956e69b6" providerId="ADAL" clId="{8699CBCE-6ABF-40E5-82A5-86FE1EF32829}" dt="2021-12-08T10:12:39.178" v="3464" actId="20577"/>
        <pc:sldMkLst>
          <pc:docMk/>
          <pc:sldMk cId="2519012293" sldId="1335"/>
        </pc:sldMkLst>
        <pc:spChg chg="mod">
          <ac:chgData name="Ieva Dzene" userId="36e850b3-6b13-42b6-8b78-9778956e69b6" providerId="ADAL" clId="{8699CBCE-6ABF-40E5-82A5-86FE1EF32829}" dt="2021-12-08T10:12:39.178" v="3464" actId="20577"/>
          <ac:spMkLst>
            <pc:docMk/>
            <pc:sldMk cId="2519012293" sldId="1335"/>
            <ac:spMk id="3" creationId="{6466603B-FAD5-41A7-B578-03DB8535B9DD}"/>
          </ac:spMkLst>
        </pc:spChg>
      </pc:sldChg>
      <pc:sldChg chg="modSp mod">
        <pc:chgData name="Ieva Dzene" userId="36e850b3-6b13-42b6-8b78-9778956e69b6" providerId="ADAL" clId="{8699CBCE-6ABF-40E5-82A5-86FE1EF32829}" dt="2021-12-08T10:12:51.260" v="3466" actId="1076"/>
        <pc:sldMkLst>
          <pc:docMk/>
          <pc:sldMk cId="4118630373" sldId="1336"/>
        </pc:sldMkLst>
        <pc:spChg chg="mod">
          <ac:chgData name="Ieva Dzene" userId="36e850b3-6b13-42b6-8b78-9778956e69b6" providerId="ADAL" clId="{8699CBCE-6ABF-40E5-82A5-86FE1EF32829}" dt="2021-12-08T10:12:48.400" v="3465" actId="1076"/>
          <ac:spMkLst>
            <pc:docMk/>
            <pc:sldMk cId="4118630373" sldId="1336"/>
            <ac:spMk id="3" creationId="{6466603B-FAD5-41A7-B578-03DB8535B9DD}"/>
          </ac:spMkLst>
        </pc:spChg>
        <pc:picChg chg="mod">
          <ac:chgData name="Ieva Dzene" userId="36e850b3-6b13-42b6-8b78-9778956e69b6" providerId="ADAL" clId="{8699CBCE-6ABF-40E5-82A5-86FE1EF32829}" dt="2021-12-08T10:12:51.260" v="3466" actId="1076"/>
          <ac:picMkLst>
            <pc:docMk/>
            <pc:sldMk cId="4118630373" sldId="1336"/>
            <ac:picMk id="5" creationId="{E07B78D8-431F-4D9E-8BE6-D859CD2E9FD2}"/>
          </ac:picMkLst>
        </pc:picChg>
      </pc:sldChg>
      <pc:sldChg chg="addSp modSp mod">
        <pc:chgData name="Ieva Dzene" userId="36e850b3-6b13-42b6-8b78-9778956e69b6" providerId="ADAL" clId="{8699CBCE-6ABF-40E5-82A5-86FE1EF32829}" dt="2021-12-08T10:13:34.868" v="3468" actId="1076"/>
        <pc:sldMkLst>
          <pc:docMk/>
          <pc:sldMk cId="2821782274" sldId="1337"/>
        </pc:sldMkLst>
        <pc:spChg chg="mod">
          <ac:chgData name="Ieva Dzene" userId="36e850b3-6b13-42b6-8b78-9778956e69b6" providerId="ADAL" clId="{8699CBCE-6ABF-40E5-82A5-86FE1EF32829}" dt="2021-12-08T10:12:27.518" v="3462" actId="1076"/>
          <ac:spMkLst>
            <pc:docMk/>
            <pc:sldMk cId="2821782274" sldId="1337"/>
            <ac:spMk id="3" creationId="{6466603B-FAD5-41A7-B578-03DB8535B9DD}"/>
          </ac:spMkLst>
        </pc:spChg>
        <pc:spChg chg="add mod">
          <ac:chgData name="Ieva Dzene" userId="36e850b3-6b13-42b6-8b78-9778956e69b6" providerId="ADAL" clId="{8699CBCE-6ABF-40E5-82A5-86FE1EF32829}" dt="2021-12-08T10:13:34.868" v="3468" actId="1076"/>
          <ac:spMkLst>
            <pc:docMk/>
            <pc:sldMk cId="2821782274" sldId="1337"/>
            <ac:spMk id="5" creationId="{E838152A-1967-4480-B2B0-22904FDE89DE}"/>
          </ac:spMkLst>
        </pc:spChg>
      </pc:sldChg>
      <pc:sldChg chg="addSp delSp modSp add mod delAnim modAnim">
        <pc:chgData name="Ieva Dzene" userId="36e850b3-6b13-42b6-8b78-9778956e69b6" providerId="ADAL" clId="{8699CBCE-6ABF-40E5-82A5-86FE1EF32829}" dt="2021-12-08T09:53:10.795" v="3342" actId="1076"/>
        <pc:sldMkLst>
          <pc:docMk/>
          <pc:sldMk cId="440644710" sldId="1338"/>
        </pc:sldMkLst>
        <pc:spChg chg="add mod">
          <ac:chgData name="Ieva Dzene" userId="36e850b3-6b13-42b6-8b78-9778956e69b6" providerId="ADAL" clId="{8699CBCE-6ABF-40E5-82A5-86FE1EF32829}" dt="2021-12-08T09:50:07.307" v="3300" actId="164"/>
          <ac:spMkLst>
            <pc:docMk/>
            <pc:sldMk cId="440644710" sldId="1338"/>
            <ac:spMk id="2" creationId="{5FEAB266-2493-4C91-94CF-611BE834B732}"/>
          </ac:spMkLst>
        </pc:spChg>
        <pc:spChg chg="add mod">
          <ac:chgData name="Ieva Dzene" userId="36e850b3-6b13-42b6-8b78-9778956e69b6" providerId="ADAL" clId="{8699CBCE-6ABF-40E5-82A5-86FE1EF32829}" dt="2021-12-08T09:50:24.838" v="3304" actId="164"/>
          <ac:spMkLst>
            <pc:docMk/>
            <pc:sldMk cId="440644710" sldId="1338"/>
            <ac:spMk id="4" creationId="{2EAE0F55-5808-4AB3-A974-D7561771740F}"/>
          </ac:spMkLst>
        </pc:spChg>
        <pc:spChg chg="add mod">
          <ac:chgData name="Ieva Dzene" userId="36e850b3-6b13-42b6-8b78-9778956e69b6" providerId="ADAL" clId="{8699CBCE-6ABF-40E5-82A5-86FE1EF32829}" dt="2021-12-08T09:51:26.455" v="3316" actId="164"/>
          <ac:spMkLst>
            <pc:docMk/>
            <pc:sldMk cId="440644710" sldId="1338"/>
            <ac:spMk id="6" creationId="{22D7F2C2-A9C3-401A-9ED4-4497DDED745E}"/>
          </ac:spMkLst>
        </pc:spChg>
        <pc:spChg chg="del">
          <ac:chgData name="Ieva Dzene" userId="36e850b3-6b13-42b6-8b78-9778956e69b6" providerId="ADAL" clId="{8699CBCE-6ABF-40E5-82A5-86FE1EF32829}" dt="2021-12-06T16:38:42.555" v="1031" actId="478"/>
          <ac:spMkLst>
            <pc:docMk/>
            <pc:sldMk cId="440644710" sldId="1338"/>
            <ac:spMk id="18" creationId="{72BF2DD8-0D68-4679-8357-E349A38E66AB}"/>
          </ac:spMkLst>
        </pc:spChg>
        <pc:spChg chg="del">
          <ac:chgData name="Ieva Dzene" userId="36e850b3-6b13-42b6-8b78-9778956e69b6" providerId="ADAL" clId="{8699CBCE-6ABF-40E5-82A5-86FE1EF32829}" dt="2021-12-06T16:38:41.447" v="1030" actId="478"/>
          <ac:spMkLst>
            <pc:docMk/>
            <pc:sldMk cId="440644710" sldId="1338"/>
            <ac:spMk id="21" creationId="{27DF0D5A-9F38-4727-8913-C6F4CABA46CC}"/>
          </ac:spMkLst>
        </pc:spChg>
        <pc:spChg chg="del mod">
          <ac:chgData name="Ieva Dzene" userId="36e850b3-6b13-42b6-8b78-9778956e69b6" providerId="ADAL" clId="{8699CBCE-6ABF-40E5-82A5-86FE1EF32829}" dt="2021-12-06T16:38:57.350" v="1040" actId="478"/>
          <ac:spMkLst>
            <pc:docMk/>
            <pc:sldMk cId="440644710" sldId="1338"/>
            <ac:spMk id="30" creationId="{091725E6-AD41-4179-9FD2-2F1B5E37E123}"/>
          </ac:spMkLst>
        </pc:spChg>
        <pc:spChg chg="del">
          <ac:chgData name="Ieva Dzene" userId="36e850b3-6b13-42b6-8b78-9778956e69b6" providerId="ADAL" clId="{8699CBCE-6ABF-40E5-82A5-86FE1EF32829}" dt="2021-12-06T16:38:59.105" v="1041" actId="478"/>
          <ac:spMkLst>
            <pc:docMk/>
            <pc:sldMk cId="440644710" sldId="1338"/>
            <ac:spMk id="32" creationId="{75FF991D-30D0-4B84-98DD-85E72C5D7418}"/>
          </ac:spMkLst>
        </pc:spChg>
        <pc:spChg chg="del">
          <ac:chgData name="Ieva Dzene" userId="36e850b3-6b13-42b6-8b78-9778956e69b6" providerId="ADAL" clId="{8699CBCE-6ABF-40E5-82A5-86FE1EF32829}" dt="2021-12-06T16:38:47.307" v="1035" actId="478"/>
          <ac:spMkLst>
            <pc:docMk/>
            <pc:sldMk cId="440644710" sldId="1338"/>
            <ac:spMk id="35" creationId="{2DA5FC0A-0C17-47F7-B1C5-C230862F6509}"/>
          </ac:spMkLst>
        </pc:spChg>
        <pc:grpChg chg="add mod">
          <ac:chgData name="Ieva Dzene" userId="36e850b3-6b13-42b6-8b78-9778956e69b6" providerId="ADAL" clId="{8699CBCE-6ABF-40E5-82A5-86FE1EF32829}" dt="2021-12-08T09:53:10.795" v="3342" actId="1076"/>
          <ac:grpSpMkLst>
            <pc:docMk/>
            <pc:sldMk cId="440644710" sldId="1338"/>
            <ac:grpSpMk id="3" creationId="{11221DD2-DEF4-4061-993C-67A52AAE7BED}"/>
          </ac:grpSpMkLst>
        </pc:grpChg>
        <pc:grpChg chg="add mod">
          <ac:chgData name="Ieva Dzene" userId="36e850b3-6b13-42b6-8b78-9778956e69b6" providerId="ADAL" clId="{8699CBCE-6ABF-40E5-82A5-86FE1EF32829}" dt="2021-12-08T09:53:10.795" v="3342" actId="1076"/>
          <ac:grpSpMkLst>
            <pc:docMk/>
            <pc:sldMk cId="440644710" sldId="1338"/>
            <ac:grpSpMk id="5" creationId="{21D06B91-AF0A-48F8-AA48-0B1BA7838F99}"/>
          </ac:grpSpMkLst>
        </pc:grpChg>
        <pc:grpChg chg="add mod">
          <ac:chgData name="Ieva Dzene" userId="36e850b3-6b13-42b6-8b78-9778956e69b6" providerId="ADAL" clId="{8699CBCE-6ABF-40E5-82A5-86FE1EF32829}" dt="2021-12-08T09:53:10.795" v="3342" actId="1076"/>
          <ac:grpSpMkLst>
            <pc:docMk/>
            <pc:sldMk cId="440644710" sldId="1338"/>
            <ac:grpSpMk id="7" creationId="{5397EF5E-5CA5-4E89-84D9-E230A380E5EF}"/>
          </ac:grpSpMkLst>
        </pc:grpChg>
        <pc:picChg chg="del">
          <ac:chgData name="Ieva Dzene" userId="36e850b3-6b13-42b6-8b78-9778956e69b6" providerId="ADAL" clId="{8699CBCE-6ABF-40E5-82A5-86FE1EF32829}" dt="2021-12-06T16:38:43.734" v="1032" actId="478"/>
          <ac:picMkLst>
            <pc:docMk/>
            <pc:sldMk cId="440644710" sldId="1338"/>
            <ac:picMk id="3" creationId="{20D6AB13-E586-49DC-82D5-B04E375F6CED}"/>
          </ac:picMkLst>
        </pc:picChg>
        <pc:picChg chg="del">
          <ac:chgData name="Ieva Dzene" userId="36e850b3-6b13-42b6-8b78-9778956e69b6" providerId="ADAL" clId="{8699CBCE-6ABF-40E5-82A5-86FE1EF32829}" dt="2021-12-06T16:38:45.789" v="1034" actId="478"/>
          <ac:picMkLst>
            <pc:docMk/>
            <pc:sldMk cId="440644710" sldId="1338"/>
            <ac:picMk id="5" creationId="{23851A52-F0F3-445A-96DE-4A8EF817CEEF}"/>
          </ac:picMkLst>
        </pc:picChg>
        <pc:picChg chg="del">
          <ac:chgData name="Ieva Dzene" userId="36e850b3-6b13-42b6-8b78-9778956e69b6" providerId="ADAL" clId="{8699CBCE-6ABF-40E5-82A5-86FE1EF32829}" dt="2021-12-06T16:38:44.820" v="1033" actId="478"/>
          <ac:picMkLst>
            <pc:docMk/>
            <pc:sldMk cId="440644710" sldId="1338"/>
            <ac:picMk id="7" creationId="{220667E8-983A-4751-ACF2-FA8CB96C7983}"/>
          </ac:picMkLst>
        </pc:picChg>
        <pc:picChg chg="add mod ord">
          <ac:chgData name="Ieva Dzene" userId="36e850b3-6b13-42b6-8b78-9778956e69b6" providerId="ADAL" clId="{8699CBCE-6ABF-40E5-82A5-86FE1EF32829}" dt="2021-12-08T09:53:10.795" v="3342" actId="1076"/>
          <ac:picMkLst>
            <pc:docMk/>
            <pc:sldMk cId="440644710" sldId="1338"/>
            <ac:picMk id="8" creationId="{454763C2-4EF1-43EA-9132-0C5B5982C52E}"/>
          </ac:picMkLst>
        </pc:picChg>
        <pc:picChg chg="del mod">
          <ac:chgData name="Ieva Dzene" userId="36e850b3-6b13-42b6-8b78-9778956e69b6" providerId="ADAL" clId="{8699CBCE-6ABF-40E5-82A5-86FE1EF32829}" dt="2021-12-06T16:38:40.299" v="1029" actId="478"/>
          <ac:picMkLst>
            <pc:docMk/>
            <pc:sldMk cId="440644710" sldId="1338"/>
            <ac:picMk id="9" creationId="{52405A08-9FE9-426C-820D-5EB5FC183CCE}"/>
          </ac:picMkLst>
        </pc:picChg>
        <pc:picChg chg="mod modCrop">
          <ac:chgData name="Ieva Dzene" userId="36e850b3-6b13-42b6-8b78-9778956e69b6" providerId="ADAL" clId="{8699CBCE-6ABF-40E5-82A5-86FE1EF32829}" dt="2021-12-08T09:50:07.307" v="3300" actId="164"/>
          <ac:picMkLst>
            <pc:docMk/>
            <pc:sldMk cId="440644710" sldId="1338"/>
            <ac:picMk id="14" creationId="{E2A67844-DDFF-4162-BF9C-334311BBFC77}"/>
          </ac:picMkLst>
        </pc:picChg>
        <pc:picChg chg="mod ord modCrop">
          <ac:chgData name="Ieva Dzene" userId="36e850b3-6b13-42b6-8b78-9778956e69b6" providerId="ADAL" clId="{8699CBCE-6ABF-40E5-82A5-86FE1EF32829}" dt="2021-12-08T09:50:24.838" v="3304" actId="164"/>
          <ac:picMkLst>
            <pc:docMk/>
            <pc:sldMk cId="440644710" sldId="1338"/>
            <ac:picMk id="17" creationId="{2DEA26D6-7795-45F4-84E8-80C03692A246}"/>
          </ac:picMkLst>
        </pc:picChg>
        <pc:picChg chg="mod ord">
          <ac:chgData name="Ieva Dzene" userId="36e850b3-6b13-42b6-8b78-9778956e69b6" providerId="ADAL" clId="{8699CBCE-6ABF-40E5-82A5-86FE1EF32829}" dt="2021-12-08T09:51:26.455" v="3316" actId="164"/>
          <ac:picMkLst>
            <pc:docMk/>
            <pc:sldMk cId="440644710" sldId="1338"/>
            <ac:picMk id="20" creationId="{D3C9E88E-B393-455B-BC82-27EF402083A3}"/>
          </ac:picMkLst>
        </pc:picChg>
      </pc:sldChg>
      <pc:sldChg chg="addSp delSp modSp add mod delAnim modAnim">
        <pc:chgData name="Ieva Dzene" userId="36e850b3-6b13-42b6-8b78-9778956e69b6" providerId="ADAL" clId="{8699CBCE-6ABF-40E5-82A5-86FE1EF32829}" dt="2021-12-08T09:57:39.213" v="3361" actId="1076"/>
        <pc:sldMkLst>
          <pc:docMk/>
          <pc:sldMk cId="2332446254" sldId="1339"/>
        </pc:sldMkLst>
        <pc:spChg chg="add mod">
          <ac:chgData name="Ieva Dzene" userId="36e850b3-6b13-42b6-8b78-9778956e69b6" providerId="ADAL" clId="{8699CBCE-6ABF-40E5-82A5-86FE1EF32829}" dt="2021-12-07T07:44:58.872" v="1328" actId="14100"/>
          <ac:spMkLst>
            <pc:docMk/>
            <pc:sldMk cId="2332446254" sldId="1339"/>
            <ac:spMk id="2" creationId="{26DFE3FC-9367-4D25-89A4-5B156E72D85C}"/>
          </ac:spMkLst>
        </pc:spChg>
        <pc:spChg chg="add mod">
          <ac:chgData name="Ieva Dzene" userId="36e850b3-6b13-42b6-8b78-9778956e69b6" providerId="ADAL" clId="{8699CBCE-6ABF-40E5-82A5-86FE1EF32829}" dt="2021-12-08T09:57:36.809" v="3360" actId="478"/>
          <ac:spMkLst>
            <pc:docMk/>
            <pc:sldMk cId="2332446254" sldId="1339"/>
            <ac:spMk id="5" creationId="{31971D13-65B2-4CD7-94A8-A6807F187BD2}"/>
          </ac:spMkLst>
        </pc:spChg>
        <pc:spChg chg="del mod">
          <ac:chgData name="Ieva Dzene" userId="36e850b3-6b13-42b6-8b78-9778956e69b6" providerId="ADAL" clId="{8699CBCE-6ABF-40E5-82A5-86FE1EF32829}" dt="2021-12-08T09:57:36.809" v="3360" actId="478"/>
          <ac:spMkLst>
            <pc:docMk/>
            <pc:sldMk cId="2332446254" sldId="1339"/>
            <ac:spMk id="18" creationId="{36294B8C-2534-47BF-A050-24DBE7442FF0}"/>
          </ac:spMkLst>
        </pc:spChg>
        <pc:spChg chg="del">
          <ac:chgData name="Ieva Dzene" userId="36e850b3-6b13-42b6-8b78-9778956e69b6" providerId="ADAL" clId="{8699CBCE-6ABF-40E5-82A5-86FE1EF32829}" dt="2021-12-06T17:04:37.442" v="1181" actId="478"/>
          <ac:spMkLst>
            <pc:docMk/>
            <pc:sldMk cId="2332446254" sldId="1339"/>
            <ac:spMk id="19" creationId="{35CEB8BE-CA01-45DF-84B3-914EF1F86ECC}"/>
          </ac:spMkLst>
        </pc:spChg>
        <pc:spChg chg="del mod">
          <ac:chgData name="Ieva Dzene" userId="36e850b3-6b13-42b6-8b78-9778956e69b6" providerId="ADAL" clId="{8699CBCE-6ABF-40E5-82A5-86FE1EF32829}" dt="2021-12-06T17:04:54.200" v="1186" actId="478"/>
          <ac:spMkLst>
            <pc:docMk/>
            <pc:sldMk cId="2332446254" sldId="1339"/>
            <ac:spMk id="20" creationId="{1872BC11-7138-428D-8F39-71AFDA564401}"/>
          </ac:spMkLst>
        </pc:spChg>
        <pc:spChg chg="mod">
          <ac:chgData name="Ieva Dzene" userId="36e850b3-6b13-42b6-8b78-9778956e69b6" providerId="ADAL" clId="{8699CBCE-6ABF-40E5-82A5-86FE1EF32829}" dt="2021-12-08T09:57:39.213" v="3361" actId="1076"/>
          <ac:spMkLst>
            <pc:docMk/>
            <pc:sldMk cId="2332446254" sldId="1339"/>
            <ac:spMk id="28" creationId="{6620D9C1-8533-46FF-999C-31AFD3C3352A}"/>
          </ac:spMkLst>
        </pc:spChg>
        <pc:spChg chg="del">
          <ac:chgData name="Ieva Dzene" userId="36e850b3-6b13-42b6-8b78-9778956e69b6" providerId="ADAL" clId="{8699CBCE-6ABF-40E5-82A5-86FE1EF32829}" dt="2021-12-06T17:04:55.469" v="1187" actId="478"/>
          <ac:spMkLst>
            <pc:docMk/>
            <pc:sldMk cId="2332446254" sldId="1339"/>
            <ac:spMk id="31" creationId="{A9214B21-7BF8-43E6-A4C5-23A451B4EE50}"/>
          </ac:spMkLst>
        </pc:spChg>
        <pc:spChg chg="del">
          <ac:chgData name="Ieva Dzene" userId="36e850b3-6b13-42b6-8b78-9778956e69b6" providerId="ADAL" clId="{8699CBCE-6ABF-40E5-82A5-86FE1EF32829}" dt="2021-12-06T17:04:36.089" v="1180" actId="478"/>
          <ac:spMkLst>
            <pc:docMk/>
            <pc:sldMk cId="2332446254" sldId="1339"/>
            <ac:spMk id="32" creationId="{FCC02B46-C67A-457D-B401-695B9EF343A9}"/>
          </ac:spMkLst>
        </pc:spChg>
        <pc:picChg chg="del">
          <ac:chgData name="Ieva Dzene" userId="36e850b3-6b13-42b6-8b78-9778956e69b6" providerId="ADAL" clId="{8699CBCE-6ABF-40E5-82A5-86FE1EF32829}" dt="2021-12-06T17:04:24.793" v="1179" actId="478"/>
          <ac:picMkLst>
            <pc:docMk/>
            <pc:sldMk cId="2332446254" sldId="1339"/>
            <ac:picMk id="3" creationId="{5ED80781-56A3-4F6F-907E-4C5FD6563C10}"/>
          </ac:picMkLst>
        </pc:picChg>
        <pc:picChg chg="add mod modCrop">
          <ac:chgData name="Ieva Dzene" userId="36e850b3-6b13-42b6-8b78-9778956e69b6" providerId="ADAL" clId="{8699CBCE-6ABF-40E5-82A5-86FE1EF32829}" dt="2021-12-07T07:44:17.083" v="1320" actId="732"/>
          <ac:picMkLst>
            <pc:docMk/>
            <pc:sldMk cId="2332446254" sldId="1339"/>
            <ac:picMk id="4" creationId="{F5F7CFB5-6AC3-4641-BC49-B451BF76F074}"/>
          </ac:picMkLst>
        </pc:picChg>
        <pc:picChg chg="add mod">
          <ac:chgData name="Ieva Dzene" userId="36e850b3-6b13-42b6-8b78-9778956e69b6" providerId="ADAL" clId="{8699CBCE-6ABF-40E5-82A5-86FE1EF32829}" dt="2021-12-07T07:44:29.824" v="1323" actId="1076"/>
          <ac:picMkLst>
            <pc:docMk/>
            <pc:sldMk cId="2332446254" sldId="1339"/>
            <ac:picMk id="6" creationId="{D922DDFF-0EA6-4A30-9739-259AE763A195}"/>
          </ac:picMkLst>
        </pc:picChg>
        <pc:picChg chg="add del mod">
          <ac:chgData name="Ieva Dzene" userId="36e850b3-6b13-42b6-8b78-9778956e69b6" providerId="ADAL" clId="{8699CBCE-6ABF-40E5-82A5-86FE1EF32829}" dt="2021-12-06T17:09:46.346" v="1219" actId="478"/>
          <ac:picMkLst>
            <pc:docMk/>
            <pc:sldMk cId="2332446254" sldId="1339"/>
            <ac:picMk id="13" creationId="{658F069F-E937-4EFB-9EEF-8E628D3285A3}"/>
          </ac:picMkLst>
        </pc:picChg>
        <pc:cxnChg chg="add mod">
          <ac:chgData name="Ieva Dzene" userId="36e850b3-6b13-42b6-8b78-9778956e69b6" providerId="ADAL" clId="{8699CBCE-6ABF-40E5-82A5-86FE1EF32829}" dt="2021-12-06T17:08:35.115" v="1213" actId="1076"/>
          <ac:cxnSpMkLst>
            <pc:docMk/>
            <pc:sldMk cId="2332446254" sldId="1339"/>
            <ac:cxnSpMk id="12" creationId="{8CD3D7B5-BC98-459F-936C-0F9E36314A16}"/>
          </ac:cxnSpMkLst>
        </pc:cxnChg>
      </pc:sldChg>
      <pc:sldChg chg="addSp delSp modSp add mod delAnim modAnim">
        <pc:chgData name="Ieva Dzene" userId="36e850b3-6b13-42b6-8b78-9778956e69b6" providerId="ADAL" clId="{8699CBCE-6ABF-40E5-82A5-86FE1EF32829}" dt="2021-12-08T09:58:09.068" v="3365" actId="478"/>
        <pc:sldMkLst>
          <pc:docMk/>
          <pc:sldMk cId="385710461" sldId="1340"/>
        </pc:sldMkLst>
        <pc:spChg chg="add del mod">
          <ac:chgData name="Ieva Dzene" userId="36e850b3-6b13-42b6-8b78-9778956e69b6" providerId="ADAL" clId="{8699CBCE-6ABF-40E5-82A5-86FE1EF32829}" dt="2021-12-08T09:58:09.068" v="3365" actId="478"/>
          <ac:spMkLst>
            <pc:docMk/>
            <pc:sldMk cId="385710461" sldId="1340"/>
            <ac:spMk id="4" creationId="{198D236D-275B-42AF-AE60-94E57509EE46}"/>
          </ac:spMkLst>
        </pc:spChg>
        <pc:spChg chg="add mod">
          <ac:chgData name="Ieva Dzene" userId="36e850b3-6b13-42b6-8b78-9778956e69b6" providerId="ADAL" clId="{8699CBCE-6ABF-40E5-82A5-86FE1EF32829}" dt="2021-12-06T17:18:53.466" v="1283" actId="14100"/>
          <ac:spMkLst>
            <pc:docMk/>
            <pc:sldMk cId="385710461" sldId="1340"/>
            <ac:spMk id="13" creationId="{0EC30D7A-5C5E-4F05-81C4-E1B08B60497B}"/>
          </ac:spMkLst>
        </pc:spChg>
        <pc:spChg chg="add mod">
          <ac:chgData name="Ieva Dzene" userId="36e850b3-6b13-42b6-8b78-9778956e69b6" providerId="ADAL" clId="{8699CBCE-6ABF-40E5-82A5-86FE1EF32829}" dt="2021-12-06T17:18:34.037" v="1279" actId="14100"/>
          <ac:spMkLst>
            <pc:docMk/>
            <pc:sldMk cId="385710461" sldId="1340"/>
            <ac:spMk id="17" creationId="{4F8693C4-4DE4-4CDF-8581-1BFE37463973}"/>
          </ac:spMkLst>
        </pc:spChg>
        <pc:spChg chg="del">
          <ac:chgData name="Ieva Dzene" userId="36e850b3-6b13-42b6-8b78-9778956e69b6" providerId="ADAL" clId="{8699CBCE-6ABF-40E5-82A5-86FE1EF32829}" dt="2021-12-08T09:57:45.036" v="3362" actId="478"/>
          <ac:spMkLst>
            <pc:docMk/>
            <pc:sldMk cId="385710461" sldId="1340"/>
            <ac:spMk id="18" creationId="{36294B8C-2534-47BF-A050-24DBE7442FF0}"/>
          </ac:spMkLst>
        </pc:spChg>
        <pc:spChg chg="mod">
          <ac:chgData name="Ieva Dzene" userId="36e850b3-6b13-42b6-8b78-9778956e69b6" providerId="ADAL" clId="{8699CBCE-6ABF-40E5-82A5-86FE1EF32829}" dt="2021-12-08T09:57:47.446" v="3363" actId="1076"/>
          <ac:spMkLst>
            <pc:docMk/>
            <pc:sldMk cId="385710461" sldId="1340"/>
            <ac:spMk id="28" creationId="{6620D9C1-8533-46FF-999C-31AFD3C3352A}"/>
          </ac:spMkLst>
        </pc:spChg>
        <pc:picChg chg="del">
          <ac:chgData name="Ieva Dzene" userId="36e850b3-6b13-42b6-8b78-9778956e69b6" providerId="ADAL" clId="{8699CBCE-6ABF-40E5-82A5-86FE1EF32829}" dt="2021-12-06T17:12:06.969" v="1234" actId="478"/>
          <ac:picMkLst>
            <pc:docMk/>
            <pc:sldMk cId="385710461" sldId="1340"/>
            <ac:picMk id="4" creationId="{F5F7CFB5-6AC3-4641-BC49-B451BF76F074}"/>
          </ac:picMkLst>
        </pc:picChg>
        <pc:picChg chg="del">
          <ac:chgData name="Ieva Dzene" userId="36e850b3-6b13-42b6-8b78-9778956e69b6" providerId="ADAL" clId="{8699CBCE-6ABF-40E5-82A5-86FE1EF32829}" dt="2021-12-06T17:12:06.238" v="1233" actId="478"/>
          <ac:picMkLst>
            <pc:docMk/>
            <pc:sldMk cId="385710461" sldId="1340"/>
            <ac:picMk id="6" creationId="{D922DDFF-0EA6-4A30-9739-259AE763A195}"/>
          </ac:picMkLst>
        </pc:picChg>
        <pc:picChg chg="add mod modCrop">
          <ac:chgData name="Ieva Dzene" userId="36e850b3-6b13-42b6-8b78-9778956e69b6" providerId="ADAL" clId="{8699CBCE-6ABF-40E5-82A5-86FE1EF32829}" dt="2021-12-06T17:16:30.147" v="1263" actId="732"/>
          <ac:picMkLst>
            <pc:docMk/>
            <pc:sldMk cId="385710461" sldId="1340"/>
            <ac:picMk id="8" creationId="{70FF1C42-C3E1-458A-A3F0-627A3A03C7D6}"/>
          </ac:picMkLst>
        </pc:picChg>
        <pc:picChg chg="add mod modCrop">
          <ac:chgData name="Ieva Dzene" userId="36e850b3-6b13-42b6-8b78-9778956e69b6" providerId="ADAL" clId="{8699CBCE-6ABF-40E5-82A5-86FE1EF32829}" dt="2021-12-06T17:15:11.438" v="1250" actId="732"/>
          <ac:picMkLst>
            <pc:docMk/>
            <pc:sldMk cId="385710461" sldId="1340"/>
            <ac:picMk id="9" creationId="{5CF20F0E-E62D-40A4-82D1-EDD52D5D78EA}"/>
          </ac:picMkLst>
        </pc:picChg>
        <pc:picChg chg="add mod modCrop">
          <ac:chgData name="Ieva Dzene" userId="36e850b3-6b13-42b6-8b78-9778956e69b6" providerId="ADAL" clId="{8699CBCE-6ABF-40E5-82A5-86FE1EF32829}" dt="2021-12-06T17:16:33.552" v="1264" actId="1076"/>
          <ac:picMkLst>
            <pc:docMk/>
            <pc:sldMk cId="385710461" sldId="1340"/>
            <ac:picMk id="11" creationId="{E51F7F62-3594-4275-ABBC-64EAD243566A}"/>
          </ac:picMkLst>
        </pc:picChg>
        <pc:cxnChg chg="add mod">
          <ac:chgData name="Ieva Dzene" userId="36e850b3-6b13-42b6-8b78-9778956e69b6" providerId="ADAL" clId="{8699CBCE-6ABF-40E5-82A5-86FE1EF32829}" dt="2021-12-06T17:13:43.529" v="1243" actId="1076"/>
          <ac:cxnSpMkLst>
            <pc:docMk/>
            <pc:sldMk cId="385710461" sldId="1340"/>
            <ac:cxnSpMk id="3" creationId="{D61DBCBD-3EA2-4DE5-A3C1-E510E77DEF0F}"/>
          </ac:cxnSpMkLst>
        </pc:cxnChg>
        <pc:cxnChg chg="del">
          <ac:chgData name="Ieva Dzene" userId="36e850b3-6b13-42b6-8b78-9778956e69b6" providerId="ADAL" clId="{8699CBCE-6ABF-40E5-82A5-86FE1EF32829}" dt="2021-12-06T17:12:08.281" v="1235" actId="478"/>
          <ac:cxnSpMkLst>
            <pc:docMk/>
            <pc:sldMk cId="385710461" sldId="1340"/>
            <ac:cxnSpMk id="12" creationId="{8CD3D7B5-BC98-459F-936C-0F9E36314A16}"/>
          </ac:cxnSpMkLst>
        </pc:cxnChg>
      </pc:sldChg>
      <pc:sldChg chg="addSp delSp modSp add del mod delAnim modAnim">
        <pc:chgData name="Ieva Dzene" userId="36e850b3-6b13-42b6-8b78-9778956e69b6" providerId="ADAL" clId="{8699CBCE-6ABF-40E5-82A5-86FE1EF32829}" dt="2021-12-06T17:10:56.813" v="1229" actId="2696"/>
        <pc:sldMkLst>
          <pc:docMk/>
          <pc:sldMk cId="3954335006" sldId="1340"/>
        </pc:sldMkLst>
        <pc:spChg chg="add del mod">
          <ac:chgData name="Ieva Dzene" userId="36e850b3-6b13-42b6-8b78-9778956e69b6" providerId="ADAL" clId="{8699CBCE-6ABF-40E5-82A5-86FE1EF32829}" dt="2021-12-06T17:07:35.282" v="1203" actId="478"/>
          <ac:spMkLst>
            <pc:docMk/>
            <pc:sldMk cId="3954335006" sldId="1340"/>
            <ac:spMk id="8" creationId="{03F6C24B-B928-49CF-B4F1-DBA0C0C2FB0B}"/>
          </ac:spMkLst>
        </pc:spChg>
        <pc:picChg chg="add del mod">
          <ac:chgData name="Ieva Dzene" userId="36e850b3-6b13-42b6-8b78-9778956e69b6" providerId="ADAL" clId="{8699CBCE-6ABF-40E5-82A5-86FE1EF32829}" dt="2021-12-06T17:08:38.734" v="1214" actId="21"/>
          <ac:picMkLst>
            <pc:docMk/>
            <pc:sldMk cId="3954335006" sldId="1340"/>
            <ac:picMk id="3" creationId="{6A06B01D-95D8-43E7-9C21-BFC9FE15F352}"/>
          </ac:picMkLst>
        </pc:picChg>
        <pc:picChg chg="del">
          <ac:chgData name="Ieva Dzene" userId="36e850b3-6b13-42b6-8b78-9778956e69b6" providerId="ADAL" clId="{8699CBCE-6ABF-40E5-82A5-86FE1EF32829}" dt="2021-12-06T17:05:50.478" v="1193" actId="478"/>
          <ac:picMkLst>
            <pc:docMk/>
            <pc:sldMk cId="3954335006" sldId="1340"/>
            <ac:picMk id="4" creationId="{F5F7CFB5-6AC3-4641-BC49-B451BF76F074}"/>
          </ac:picMkLst>
        </pc:picChg>
        <pc:cxnChg chg="add del mod">
          <ac:chgData name="Ieva Dzene" userId="36e850b3-6b13-42b6-8b78-9778956e69b6" providerId="ADAL" clId="{8699CBCE-6ABF-40E5-82A5-86FE1EF32829}" dt="2021-12-06T17:08:29.942" v="1211" actId="21"/>
          <ac:cxnSpMkLst>
            <pc:docMk/>
            <pc:sldMk cId="3954335006" sldId="1340"/>
            <ac:cxnSpMk id="6" creationId="{355C5077-1A47-43CA-B34C-D0C43235BC5E}"/>
          </ac:cxnSpMkLst>
        </pc:cxnChg>
      </pc:sldChg>
      <pc:sldChg chg="addSp delSp modSp add del modAnim">
        <pc:chgData name="Ieva Dzene" userId="36e850b3-6b13-42b6-8b78-9778956e69b6" providerId="ADAL" clId="{8699CBCE-6ABF-40E5-82A5-86FE1EF32829}" dt="2021-12-07T10:44:28.118" v="1749" actId="2696"/>
        <pc:sldMkLst>
          <pc:docMk/>
          <pc:sldMk cId="507165532" sldId="1341"/>
        </pc:sldMkLst>
        <pc:spChg chg="mod topLvl">
          <ac:chgData name="Ieva Dzene" userId="36e850b3-6b13-42b6-8b78-9778956e69b6" providerId="ADAL" clId="{8699CBCE-6ABF-40E5-82A5-86FE1EF32829}" dt="2021-12-07T10:39:40.903" v="1706" actId="165"/>
          <ac:spMkLst>
            <pc:docMk/>
            <pc:sldMk cId="507165532" sldId="1341"/>
            <ac:spMk id="36" creationId="{E93857F5-AD5F-4FE7-A3A5-D3B221139DC5}"/>
          </ac:spMkLst>
        </pc:spChg>
        <pc:grpChg chg="add del mod">
          <ac:chgData name="Ieva Dzene" userId="36e850b3-6b13-42b6-8b78-9778956e69b6" providerId="ADAL" clId="{8699CBCE-6ABF-40E5-82A5-86FE1EF32829}" dt="2021-12-07T10:39:40.903" v="1706" actId="165"/>
          <ac:grpSpMkLst>
            <pc:docMk/>
            <pc:sldMk cId="507165532" sldId="1341"/>
            <ac:grpSpMk id="2" creationId="{3E6DEA42-6D7C-4E73-8B84-AE73B3288FE7}"/>
          </ac:grpSpMkLst>
        </pc:grpChg>
        <pc:picChg chg="mod topLvl">
          <ac:chgData name="Ieva Dzene" userId="36e850b3-6b13-42b6-8b78-9778956e69b6" providerId="ADAL" clId="{8699CBCE-6ABF-40E5-82A5-86FE1EF32829}" dt="2021-12-07T10:39:40.903" v="1706" actId="165"/>
          <ac:picMkLst>
            <pc:docMk/>
            <pc:sldMk cId="507165532" sldId="1341"/>
            <ac:picMk id="22" creationId="{7849251A-7E77-488E-A228-D24EFDAB41F8}"/>
          </ac:picMkLst>
        </pc:picChg>
      </pc:sldChg>
      <pc:sldChg chg="add del">
        <pc:chgData name="Ieva Dzene" userId="36e850b3-6b13-42b6-8b78-9778956e69b6" providerId="ADAL" clId="{8699CBCE-6ABF-40E5-82A5-86FE1EF32829}" dt="2021-12-07T14:58:51.927" v="2574" actId="2696"/>
        <pc:sldMkLst>
          <pc:docMk/>
          <pc:sldMk cId="866924055" sldId="1341"/>
        </pc:sldMkLst>
      </pc:sldChg>
      <pc:sldChg chg="add del">
        <pc:chgData name="Ieva Dzene" userId="36e850b3-6b13-42b6-8b78-9778956e69b6" providerId="ADAL" clId="{8699CBCE-6ABF-40E5-82A5-86FE1EF32829}" dt="2021-12-07T12:36:24.901" v="1866" actId="2696"/>
        <pc:sldMkLst>
          <pc:docMk/>
          <pc:sldMk cId="1012335726" sldId="1341"/>
        </pc:sldMkLst>
      </pc:sldChg>
      <pc:sldChg chg="add del">
        <pc:chgData name="Ieva Dzene" userId="36e850b3-6b13-42b6-8b78-9778956e69b6" providerId="ADAL" clId="{8699CBCE-6ABF-40E5-82A5-86FE1EF32829}" dt="2021-12-07T14:32:53.267" v="2328" actId="2696"/>
        <pc:sldMkLst>
          <pc:docMk/>
          <pc:sldMk cId="2081286791" sldId="1341"/>
        </pc:sldMkLst>
      </pc:sldChg>
      <pc:sldChg chg="add del">
        <pc:chgData name="Ieva Dzene" userId="36e850b3-6b13-42b6-8b78-9778956e69b6" providerId="ADAL" clId="{8699CBCE-6ABF-40E5-82A5-86FE1EF32829}" dt="2021-12-07T12:53:24.925" v="1920" actId="2696"/>
        <pc:sldMkLst>
          <pc:docMk/>
          <pc:sldMk cId="2438130734" sldId="1341"/>
        </pc:sldMkLst>
      </pc:sldChg>
      <pc:sldChg chg="add del">
        <pc:chgData name="Ieva Dzene" userId="36e850b3-6b13-42b6-8b78-9778956e69b6" providerId="ADAL" clId="{8699CBCE-6ABF-40E5-82A5-86FE1EF32829}" dt="2021-12-07T10:10:45.747" v="1550" actId="47"/>
        <pc:sldMkLst>
          <pc:docMk/>
          <pc:sldMk cId="2795938277" sldId="1341"/>
        </pc:sldMkLst>
      </pc:sldChg>
      <pc:sldChg chg="addSp delSp modSp add mod">
        <pc:chgData name="Ieva Dzene" userId="36e850b3-6b13-42b6-8b78-9778956e69b6" providerId="ADAL" clId="{8699CBCE-6ABF-40E5-82A5-86FE1EF32829}" dt="2021-12-07T15:57:01.847" v="3091" actId="20577"/>
        <pc:sldMkLst>
          <pc:docMk/>
          <pc:sldMk cId="2886657819" sldId="1341"/>
        </pc:sldMkLst>
        <pc:spChg chg="del">
          <ac:chgData name="Ieva Dzene" userId="36e850b3-6b13-42b6-8b78-9778956e69b6" providerId="ADAL" clId="{8699CBCE-6ABF-40E5-82A5-86FE1EF32829}" dt="2021-12-07T15:52:22.687" v="3071" actId="478"/>
          <ac:spMkLst>
            <pc:docMk/>
            <pc:sldMk cId="2886657819" sldId="1341"/>
            <ac:spMk id="13" creationId="{C6BE8EA2-AD8F-4C2B-9034-8B08A1074488}"/>
          </ac:spMkLst>
        </pc:spChg>
        <pc:spChg chg="del">
          <ac:chgData name="Ieva Dzene" userId="36e850b3-6b13-42b6-8b78-9778956e69b6" providerId="ADAL" clId="{8699CBCE-6ABF-40E5-82A5-86FE1EF32829}" dt="2021-12-07T15:52:25.436" v="3073" actId="478"/>
          <ac:spMkLst>
            <pc:docMk/>
            <pc:sldMk cId="2886657819" sldId="1341"/>
            <ac:spMk id="14" creationId="{1545CDD7-E935-4A6B-9782-BC01CDDC7E98}"/>
          </ac:spMkLst>
        </pc:spChg>
        <pc:spChg chg="del">
          <ac:chgData name="Ieva Dzene" userId="36e850b3-6b13-42b6-8b78-9778956e69b6" providerId="ADAL" clId="{8699CBCE-6ABF-40E5-82A5-86FE1EF32829}" dt="2021-12-07T15:52:23.719" v="3072" actId="478"/>
          <ac:spMkLst>
            <pc:docMk/>
            <pc:sldMk cId="2886657819" sldId="1341"/>
            <ac:spMk id="18" creationId="{CFE59228-346F-4FE3-9D6C-D376D8B28378}"/>
          </ac:spMkLst>
        </pc:spChg>
        <pc:spChg chg="mod">
          <ac:chgData name="Ieva Dzene" userId="36e850b3-6b13-42b6-8b78-9778956e69b6" providerId="ADAL" clId="{8699CBCE-6ABF-40E5-82A5-86FE1EF32829}" dt="2021-12-07T15:57:01.847" v="3091" actId="20577"/>
          <ac:spMkLst>
            <pc:docMk/>
            <pc:sldMk cId="2886657819" sldId="1341"/>
            <ac:spMk id="20" creationId="{32454CC3-385C-42A1-829D-CBADBEF3B39D}"/>
          </ac:spMkLst>
        </pc:spChg>
        <pc:picChg chg="del">
          <ac:chgData name="Ieva Dzene" userId="36e850b3-6b13-42b6-8b78-9778956e69b6" providerId="ADAL" clId="{8699CBCE-6ABF-40E5-82A5-86FE1EF32829}" dt="2021-12-07T15:52:20.518" v="3069" actId="478"/>
          <ac:picMkLst>
            <pc:docMk/>
            <pc:sldMk cId="2886657819" sldId="1341"/>
            <ac:picMk id="3" creationId="{0AFCD8EE-686F-40D6-BD5B-4350C292F5D2}"/>
          </ac:picMkLst>
        </pc:picChg>
        <pc:picChg chg="del">
          <ac:chgData name="Ieva Dzene" userId="36e850b3-6b13-42b6-8b78-9778956e69b6" providerId="ADAL" clId="{8699CBCE-6ABF-40E5-82A5-86FE1EF32829}" dt="2021-12-07T15:52:21.717" v="3070" actId="478"/>
          <ac:picMkLst>
            <pc:docMk/>
            <pc:sldMk cId="2886657819" sldId="1341"/>
            <ac:picMk id="5" creationId="{40FC1654-671A-44B1-BAED-927DC33DF6CE}"/>
          </ac:picMkLst>
        </pc:picChg>
        <pc:picChg chg="add mod">
          <ac:chgData name="Ieva Dzene" userId="36e850b3-6b13-42b6-8b78-9778956e69b6" providerId="ADAL" clId="{8699CBCE-6ABF-40E5-82A5-86FE1EF32829}" dt="2021-12-07T15:55:21.632" v="3090" actId="1076"/>
          <ac:picMkLst>
            <pc:docMk/>
            <pc:sldMk cId="2886657819" sldId="1341"/>
            <ac:picMk id="10" creationId="{A6D71771-9B52-4EEB-8F30-E0F29537C3ED}"/>
          </ac:picMkLst>
        </pc:picChg>
      </pc:sldChg>
      <pc:sldChg chg="add del">
        <pc:chgData name="Ieva Dzene" userId="36e850b3-6b13-42b6-8b78-9778956e69b6" providerId="ADAL" clId="{8699CBCE-6ABF-40E5-82A5-86FE1EF32829}" dt="2021-12-07T14:10:38.463" v="2163" actId="2696"/>
        <pc:sldMkLst>
          <pc:docMk/>
          <pc:sldMk cId="3625033343" sldId="1341"/>
        </pc:sldMkLst>
      </pc:sldChg>
      <pc:sldChg chg="add del">
        <pc:chgData name="Ieva Dzene" userId="36e850b3-6b13-42b6-8b78-9778956e69b6" providerId="ADAL" clId="{8699CBCE-6ABF-40E5-82A5-86FE1EF32829}" dt="2021-12-07T14:16:42.042" v="2207" actId="2696"/>
        <pc:sldMkLst>
          <pc:docMk/>
          <pc:sldMk cId="4055842270" sldId="1341"/>
        </pc:sldMkLst>
      </pc:sldChg>
      <pc:sldChg chg="modSp add del mod">
        <pc:chgData name="Ieva Dzene" userId="36e850b3-6b13-42b6-8b78-9778956e69b6" providerId="ADAL" clId="{8699CBCE-6ABF-40E5-82A5-86FE1EF32829}" dt="2021-12-07T15:08:13.665" v="2653" actId="2696"/>
        <pc:sldMkLst>
          <pc:docMk/>
          <pc:sldMk cId="3655043097" sldId="1342"/>
        </pc:sldMkLst>
        <pc:spChg chg="mod">
          <ac:chgData name="Ieva Dzene" userId="36e850b3-6b13-42b6-8b78-9778956e69b6" providerId="ADAL" clId="{8699CBCE-6ABF-40E5-82A5-86FE1EF32829}" dt="2021-12-07T15:07:45.521" v="2649" actId="20577"/>
          <ac:spMkLst>
            <pc:docMk/>
            <pc:sldMk cId="3655043097" sldId="1342"/>
            <ac:spMk id="15" creationId="{E4CEB371-9A1C-4F6A-AEDB-34DFE231AA01}"/>
          </ac:spMkLst>
        </pc:spChg>
        <pc:picChg chg="mod">
          <ac:chgData name="Ieva Dzene" userId="36e850b3-6b13-42b6-8b78-9778956e69b6" providerId="ADAL" clId="{8699CBCE-6ABF-40E5-82A5-86FE1EF32829}" dt="2021-12-07T15:08:08.280" v="2651" actId="1076"/>
          <ac:picMkLst>
            <pc:docMk/>
            <pc:sldMk cId="3655043097" sldId="1342"/>
            <ac:picMk id="19" creationId="{F9A98996-DF80-4200-9EC1-705C348B47B6}"/>
          </ac:picMkLst>
        </pc:picChg>
        <pc:picChg chg="mod">
          <ac:chgData name="Ieva Dzene" userId="36e850b3-6b13-42b6-8b78-9778956e69b6" providerId="ADAL" clId="{8699CBCE-6ABF-40E5-82A5-86FE1EF32829}" dt="2021-12-07T15:08:10.351" v="2652" actId="1076"/>
          <ac:picMkLst>
            <pc:docMk/>
            <pc:sldMk cId="3655043097" sldId="1342"/>
            <ac:picMk id="21" creationId="{B6E35AD9-8D14-40FB-B3A8-F2F6D8D671FB}"/>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2" y="1"/>
            <a:ext cx="2943595" cy="496253"/>
          </a:xfrm>
          <a:prstGeom prst="rect">
            <a:avLst/>
          </a:prstGeom>
        </p:spPr>
        <p:txBody>
          <a:bodyPr vert="horz" lIns="95548" tIns="47774" rIns="95548" bIns="47774" rtlCol="0"/>
          <a:lstStyle>
            <a:lvl1pPr algn="l">
              <a:defRPr sz="1300"/>
            </a:lvl1pPr>
          </a:lstStyle>
          <a:p>
            <a:endParaRPr lang="de-DE"/>
          </a:p>
        </p:txBody>
      </p:sp>
      <p:sp>
        <p:nvSpPr>
          <p:cNvPr id="3" name="Datumsplatzhalter 2"/>
          <p:cNvSpPr>
            <a:spLocks noGrp="1"/>
          </p:cNvSpPr>
          <p:nvPr>
            <p:ph type="dt" sz="quarter" idx="1"/>
          </p:nvPr>
        </p:nvSpPr>
        <p:spPr>
          <a:xfrm>
            <a:off x="3847747" y="1"/>
            <a:ext cx="2943595" cy="496253"/>
          </a:xfrm>
          <a:prstGeom prst="rect">
            <a:avLst/>
          </a:prstGeom>
        </p:spPr>
        <p:txBody>
          <a:bodyPr vert="horz" lIns="95548" tIns="47774" rIns="95548" bIns="47774" rtlCol="0"/>
          <a:lstStyle>
            <a:lvl1pPr algn="r">
              <a:defRPr sz="1300"/>
            </a:lvl1pPr>
          </a:lstStyle>
          <a:p>
            <a:fld id="{55F0B336-FFA8-9F48-A220-C95740BA04FB}" type="datetimeFigureOut">
              <a:rPr lang="de-DE" smtClean="0"/>
              <a:t>04.03.2024</a:t>
            </a:fld>
            <a:endParaRPr lang="de-DE"/>
          </a:p>
        </p:txBody>
      </p:sp>
      <p:sp>
        <p:nvSpPr>
          <p:cNvPr id="4" name="Fußzeilenplatzhalter 3"/>
          <p:cNvSpPr>
            <a:spLocks noGrp="1"/>
          </p:cNvSpPr>
          <p:nvPr>
            <p:ph type="ftr" sz="quarter" idx="2"/>
          </p:nvPr>
        </p:nvSpPr>
        <p:spPr>
          <a:xfrm>
            <a:off x="2" y="9427076"/>
            <a:ext cx="2943595" cy="496253"/>
          </a:xfrm>
          <a:prstGeom prst="rect">
            <a:avLst/>
          </a:prstGeom>
        </p:spPr>
        <p:txBody>
          <a:bodyPr vert="horz" lIns="95548" tIns="47774" rIns="95548" bIns="47774" rtlCol="0" anchor="b"/>
          <a:lstStyle>
            <a:lvl1pPr algn="l">
              <a:defRPr sz="1300"/>
            </a:lvl1pPr>
          </a:lstStyle>
          <a:p>
            <a:endParaRPr lang="de-DE"/>
          </a:p>
        </p:txBody>
      </p:sp>
      <p:sp>
        <p:nvSpPr>
          <p:cNvPr id="5" name="Foliennummernplatzhalter 4"/>
          <p:cNvSpPr>
            <a:spLocks noGrp="1"/>
          </p:cNvSpPr>
          <p:nvPr>
            <p:ph type="sldNum" sz="quarter" idx="3"/>
          </p:nvPr>
        </p:nvSpPr>
        <p:spPr>
          <a:xfrm>
            <a:off x="3847747" y="9427076"/>
            <a:ext cx="2943595" cy="496253"/>
          </a:xfrm>
          <a:prstGeom prst="rect">
            <a:avLst/>
          </a:prstGeom>
        </p:spPr>
        <p:txBody>
          <a:bodyPr vert="horz" lIns="95548" tIns="47774" rIns="95548" bIns="47774" rtlCol="0" anchor="b"/>
          <a:lstStyle>
            <a:lvl1pPr algn="r">
              <a:defRPr sz="1300"/>
            </a:lvl1pPr>
          </a:lstStyle>
          <a:p>
            <a:fld id="{390E1F9D-64E5-5C42-A3F6-D154BCC49219}" type="slidenum">
              <a:rPr lang="de-DE" smtClean="0"/>
              <a:t>‹Nr.›</a:t>
            </a:fld>
            <a:endParaRPr lang="de-DE"/>
          </a:p>
        </p:txBody>
      </p:sp>
    </p:spTree>
    <p:extLst>
      <p:ext uri="{BB962C8B-B14F-4D97-AF65-F5344CB8AC3E}">
        <p14:creationId xmlns:p14="http://schemas.microsoft.com/office/powerpoint/2010/main" val="11361225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1"/>
            <a:ext cx="2943595" cy="496253"/>
          </a:xfrm>
          <a:prstGeom prst="rect">
            <a:avLst/>
          </a:prstGeom>
        </p:spPr>
        <p:txBody>
          <a:bodyPr vert="horz" lIns="95548" tIns="47774" rIns="95548" bIns="47774" rtlCol="0"/>
          <a:lstStyle>
            <a:lvl1pPr algn="l">
              <a:defRPr sz="1300"/>
            </a:lvl1pPr>
          </a:lstStyle>
          <a:p>
            <a:endParaRPr lang="de-DE"/>
          </a:p>
        </p:txBody>
      </p:sp>
      <p:sp>
        <p:nvSpPr>
          <p:cNvPr id="3" name="Datumsplatzhalter 2"/>
          <p:cNvSpPr>
            <a:spLocks noGrp="1"/>
          </p:cNvSpPr>
          <p:nvPr>
            <p:ph type="dt" idx="1"/>
          </p:nvPr>
        </p:nvSpPr>
        <p:spPr>
          <a:xfrm>
            <a:off x="3847747" y="1"/>
            <a:ext cx="2943595" cy="496253"/>
          </a:xfrm>
          <a:prstGeom prst="rect">
            <a:avLst/>
          </a:prstGeom>
        </p:spPr>
        <p:txBody>
          <a:bodyPr vert="horz" lIns="95548" tIns="47774" rIns="95548" bIns="47774" rtlCol="0"/>
          <a:lstStyle>
            <a:lvl1pPr algn="r">
              <a:defRPr sz="1300"/>
            </a:lvl1pPr>
          </a:lstStyle>
          <a:p>
            <a:fld id="{A1A950EA-01F1-45F9-913B-34C78B6979FC}" type="datetimeFigureOut">
              <a:rPr lang="de-DE" smtClean="0"/>
              <a:t>04.03.2024</a:t>
            </a:fld>
            <a:endParaRPr lang="de-DE"/>
          </a:p>
        </p:txBody>
      </p:sp>
      <p:sp>
        <p:nvSpPr>
          <p:cNvPr id="4" name="Folienbildplatzhalter 3"/>
          <p:cNvSpPr>
            <a:spLocks noGrp="1" noRot="1" noChangeAspect="1"/>
          </p:cNvSpPr>
          <p:nvPr>
            <p:ph type="sldImg" idx="2"/>
          </p:nvPr>
        </p:nvSpPr>
        <p:spPr>
          <a:xfrm>
            <a:off x="-44450" y="869950"/>
            <a:ext cx="6615113" cy="3721100"/>
          </a:xfrm>
          <a:prstGeom prst="rect">
            <a:avLst/>
          </a:prstGeom>
          <a:noFill/>
          <a:ln w="12700">
            <a:solidFill>
              <a:prstClr val="black"/>
            </a:solidFill>
          </a:ln>
        </p:spPr>
        <p:txBody>
          <a:bodyPr vert="horz" lIns="95548" tIns="47774" rIns="95548" bIns="47774" rtlCol="0" anchor="ctr"/>
          <a:lstStyle/>
          <a:p>
            <a:endParaRPr lang="de-DE"/>
          </a:p>
        </p:txBody>
      </p:sp>
      <p:sp>
        <p:nvSpPr>
          <p:cNvPr id="5" name="Notizenplatzhalter 4"/>
          <p:cNvSpPr>
            <a:spLocks noGrp="1"/>
          </p:cNvSpPr>
          <p:nvPr>
            <p:ph type="body" sz="quarter" idx="3"/>
          </p:nvPr>
        </p:nvSpPr>
        <p:spPr>
          <a:xfrm>
            <a:off x="679292" y="4714398"/>
            <a:ext cx="5434330" cy="4466273"/>
          </a:xfrm>
          <a:prstGeom prst="rect">
            <a:avLst/>
          </a:prstGeom>
        </p:spPr>
        <p:txBody>
          <a:bodyPr vert="horz" lIns="95548" tIns="47774" rIns="95548" bIns="47774"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9427076"/>
            <a:ext cx="2943595" cy="496253"/>
          </a:xfrm>
          <a:prstGeom prst="rect">
            <a:avLst/>
          </a:prstGeom>
        </p:spPr>
        <p:txBody>
          <a:bodyPr vert="horz" lIns="95548" tIns="47774" rIns="95548" bIns="47774" rtlCol="0" anchor="b"/>
          <a:lstStyle>
            <a:lvl1pPr algn="l">
              <a:defRPr sz="1300"/>
            </a:lvl1pPr>
          </a:lstStyle>
          <a:p>
            <a:endParaRPr lang="de-DE"/>
          </a:p>
        </p:txBody>
      </p:sp>
      <p:sp>
        <p:nvSpPr>
          <p:cNvPr id="7" name="Foliennummernplatzhalter 6"/>
          <p:cNvSpPr>
            <a:spLocks noGrp="1"/>
          </p:cNvSpPr>
          <p:nvPr>
            <p:ph type="sldNum" sz="quarter" idx="5"/>
          </p:nvPr>
        </p:nvSpPr>
        <p:spPr>
          <a:xfrm>
            <a:off x="3847747" y="9427076"/>
            <a:ext cx="2943595" cy="496253"/>
          </a:xfrm>
          <a:prstGeom prst="rect">
            <a:avLst/>
          </a:prstGeom>
        </p:spPr>
        <p:txBody>
          <a:bodyPr vert="horz" lIns="95548" tIns="47774" rIns="95548" bIns="47774" rtlCol="0" anchor="b"/>
          <a:lstStyle>
            <a:lvl1pPr algn="r">
              <a:defRPr sz="1300"/>
            </a:lvl1pPr>
          </a:lstStyle>
          <a:p>
            <a:fld id="{BC89C54F-09BA-491C-9A56-D3F2151319C2}" type="slidenum">
              <a:rPr lang="de-DE" smtClean="0"/>
              <a:t>‹Nr.›</a:t>
            </a:fld>
            <a:endParaRPr lang="de-DE"/>
          </a:p>
        </p:txBody>
      </p:sp>
    </p:spTree>
    <p:extLst>
      <p:ext uri="{BB962C8B-B14F-4D97-AF65-F5344CB8AC3E}">
        <p14:creationId xmlns:p14="http://schemas.microsoft.com/office/powerpoint/2010/main" val="40993145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1288" y="860425"/>
            <a:ext cx="7631113" cy="4294188"/>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BC89C54F-09BA-491C-9A56-D3F2151319C2}" type="slidenum">
              <a:rPr lang="de-DE" smtClean="0"/>
              <a:t>2</a:t>
            </a:fld>
            <a:endParaRPr lang="de-DE"/>
          </a:p>
        </p:txBody>
      </p:sp>
    </p:spTree>
    <p:extLst>
      <p:ext uri="{BB962C8B-B14F-4D97-AF65-F5344CB8AC3E}">
        <p14:creationId xmlns:p14="http://schemas.microsoft.com/office/powerpoint/2010/main" val="6539669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1288" y="860425"/>
            <a:ext cx="7631113" cy="4294188"/>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BC89C54F-09BA-491C-9A56-D3F2151319C2}" type="slidenum">
              <a:rPr lang="de-DE" smtClean="0"/>
              <a:t>3</a:t>
            </a:fld>
            <a:endParaRPr lang="de-DE"/>
          </a:p>
        </p:txBody>
      </p:sp>
    </p:spTree>
    <p:extLst>
      <p:ext uri="{BB962C8B-B14F-4D97-AF65-F5344CB8AC3E}">
        <p14:creationId xmlns:p14="http://schemas.microsoft.com/office/powerpoint/2010/main" val="18863780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BC89C54F-09BA-491C-9A56-D3F2151319C2}" type="slidenum">
              <a:rPr lang="de-DE" smtClean="0"/>
              <a:t>24</a:t>
            </a:fld>
            <a:endParaRPr lang="de-DE"/>
          </a:p>
        </p:txBody>
      </p:sp>
    </p:spTree>
    <p:extLst>
      <p:ext uri="{BB962C8B-B14F-4D97-AF65-F5344CB8AC3E}">
        <p14:creationId xmlns:p14="http://schemas.microsoft.com/office/powerpoint/2010/main" val="140747665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7.svg"/><Relationship Id="rId13" Type="http://schemas.openxmlformats.org/officeDocument/2006/relationships/image" Target="../media/image12.png"/><Relationship Id="rId3" Type="http://schemas.openxmlformats.org/officeDocument/2006/relationships/oleObject" Target="../embeddings/oleObject5.bin"/><Relationship Id="rId7" Type="http://schemas.openxmlformats.org/officeDocument/2006/relationships/image" Target="../media/image6.png"/><Relationship Id="rId12" Type="http://schemas.openxmlformats.org/officeDocument/2006/relationships/image" Target="../media/image11.sv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5.svg"/><Relationship Id="rId11" Type="http://schemas.openxmlformats.org/officeDocument/2006/relationships/image" Target="../media/image10.png"/><Relationship Id="rId5" Type="http://schemas.openxmlformats.org/officeDocument/2006/relationships/image" Target="../media/image4.png"/><Relationship Id="rId15" Type="http://schemas.openxmlformats.org/officeDocument/2006/relationships/image" Target="../media/image3.png"/><Relationship Id="rId10" Type="http://schemas.openxmlformats.org/officeDocument/2006/relationships/image" Target="../media/image9.svg"/><Relationship Id="rId4" Type="http://schemas.openxmlformats.org/officeDocument/2006/relationships/image" Target="../media/image2.emf"/><Relationship Id="rId9" Type="http://schemas.openxmlformats.org/officeDocument/2006/relationships/image" Target="../media/image8.png"/><Relationship Id="rId14" Type="http://schemas.openxmlformats.org/officeDocument/2006/relationships/image" Target="../media/image13.sv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7.svg"/><Relationship Id="rId13" Type="http://schemas.openxmlformats.org/officeDocument/2006/relationships/image" Target="../media/image12.png"/><Relationship Id="rId3" Type="http://schemas.openxmlformats.org/officeDocument/2006/relationships/oleObject" Target="../embeddings/oleObject2.bin"/><Relationship Id="rId7" Type="http://schemas.openxmlformats.org/officeDocument/2006/relationships/image" Target="../media/image6.png"/><Relationship Id="rId12" Type="http://schemas.openxmlformats.org/officeDocument/2006/relationships/image" Target="../media/image11.svg"/><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5.svg"/><Relationship Id="rId11" Type="http://schemas.openxmlformats.org/officeDocument/2006/relationships/image" Target="../media/image10.png"/><Relationship Id="rId5" Type="http://schemas.openxmlformats.org/officeDocument/2006/relationships/image" Target="../media/image4.png"/><Relationship Id="rId15" Type="http://schemas.openxmlformats.org/officeDocument/2006/relationships/image" Target="../media/image3.png"/><Relationship Id="rId10" Type="http://schemas.openxmlformats.org/officeDocument/2006/relationships/image" Target="../media/image9.svg"/><Relationship Id="rId4" Type="http://schemas.openxmlformats.org/officeDocument/2006/relationships/image" Target="../media/image2.emf"/><Relationship Id="rId9" Type="http://schemas.openxmlformats.org/officeDocument/2006/relationships/image" Target="../media/image8.png"/><Relationship Id="rId14" Type="http://schemas.openxmlformats.org/officeDocument/2006/relationships/image" Target="../media/image13.svg"/></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8" Type="http://schemas.openxmlformats.org/officeDocument/2006/relationships/hyperlink" Target="https://www.linkedin.com/company/europe-it-consulting-gmbh" TargetMode="External"/><Relationship Id="rId13" Type="http://schemas.openxmlformats.org/officeDocument/2006/relationships/image" Target="../media/image20.png"/><Relationship Id="rId18" Type="http://schemas.openxmlformats.org/officeDocument/2006/relationships/image" Target="../media/image24.svg"/><Relationship Id="rId3" Type="http://schemas.openxmlformats.org/officeDocument/2006/relationships/oleObject" Target="../embeddings/oleObject4.bin"/><Relationship Id="rId21" Type="http://schemas.openxmlformats.org/officeDocument/2006/relationships/image" Target="../media/image27.svg"/><Relationship Id="rId7" Type="http://schemas.openxmlformats.org/officeDocument/2006/relationships/image" Target="../media/image17.svg"/><Relationship Id="rId12" Type="http://schemas.openxmlformats.org/officeDocument/2006/relationships/hyperlink" Target="https://www.youtube.com/channel/UCBmlY6BnmqNUPLqqYypTg9A/featured" TargetMode="External"/><Relationship Id="rId17" Type="http://schemas.openxmlformats.org/officeDocument/2006/relationships/image" Target="../media/image23.png"/><Relationship Id="rId2" Type="http://schemas.openxmlformats.org/officeDocument/2006/relationships/slideMaster" Target="../slideMasters/slideMaster1.xml"/><Relationship Id="rId16" Type="http://schemas.openxmlformats.org/officeDocument/2006/relationships/image" Target="../media/image22.svg"/><Relationship Id="rId20" Type="http://schemas.openxmlformats.org/officeDocument/2006/relationships/image" Target="../media/image26.png"/><Relationship Id="rId1" Type="http://schemas.openxmlformats.org/officeDocument/2006/relationships/tags" Target="../tags/tag4.xml"/><Relationship Id="rId6" Type="http://schemas.openxmlformats.org/officeDocument/2006/relationships/image" Target="../media/image16.png"/><Relationship Id="rId11" Type="http://schemas.openxmlformats.org/officeDocument/2006/relationships/image" Target="../media/image19.png"/><Relationship Id="rId5" Type="http://schemas.openxmlformats.org/officeDocument/2006/relationships/hyperlink" Target="https://www.europe-it-consulting.ch/" TargetMode="External"/><Relationship Id="rId15" Type="http://schemas.openxmlformats.org/officeDocument/2006/relationships/image" Target="../media/image21.png"/><Relationship Id="rId10" Type="http://schemas.openxmlformats.org/officeDocument/2006/relationships/hyperlink" Target="https://www.xing.com/companies/europeitconsultinggmbh" TargetMode="External"/><Relationship Id="rId19" Type="http://schemas.openxmlformats.org/officeDocument/2006/relationships/image" Target="../media/image25.svg"/><Relationship Id="rId4" Type="http://schemas.openxmlformats.org/officeDocument/2006/relationships/image" Target="../media/image2.emf"/><Relationship Id="rId9" Type="http://schemas.openxmlformats.org/officeDocument/2006/relationships/image" Target="../media/image18.png"/><Relationship Id="rId14" Type="http://schemas.openxmlformats.org/officeDocument/2006/relationships/hyperlink" Target="mailto:id@europe-it-consulting.ch" TargetMode="External"/><Relationship Id="rId22" Type="http://schemas.openxmlformats.org/officeDocument/2006/relationships/image" Target="../media/image3.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4_CONTACT SLID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2" name="Objekt 1" hidden="1"/>
                      <p:cNvPicPr/>
                      <p:nvPr/>
                    </p:nvPicPr>
                    <p:blipFill>
                      <a:blip r:embed="rId4"/>
                      <a:stretch>
                        <a:fillRect/>
                      </a:stretch>
                    </p:blipFill>
                    <p:spPr>
                      <a:xfrm>
                        <a:off x="1466" y="1192"/>
                        <a:ext cx="1465" cy="1190"/>
                      </a:xfrm>
                      <a:prstGeom prst="rect">
                        <a:avLst/>
                      </a:prstGeom>
                    </p:spPr>
                  </p:pic>
                </p:oleObj>
              </mc:Fallback>
            </mc:AlternateContent>
          </a:graphicData>
        </a:graphic>
      </p:graphicFrame>
      <p:sp>
        <p:nvSpPr>
          <p:cNvPr id="20" name="Rechteck 19">
            <a:extLst>
              <a:ext uri="{FF2B5EF4-FFF2-40B4-BE49-F238E27FC236}">
                <a16:creationId xmlns:a16="http://schemas.microsoft.com/office/drawing/2014/main" id="{0CE87855-6A3A-403C-B657-440D2E2936AA}"/>
              </a:ext>
            </a:extLst>
          </p:cNvPr>
          <p:cNvSpPr/>
          <p:nvPr userDrawn="1"/>
        </p:nvSpPr>
        <p:spPr>
          <a:xfrm>
            <a:off x="52899" y="0"/>
            <a:ext cx="9091101" cy="51435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3" name="Rechteck 22">
            <a:extLst>
              <a:ext uri="{FF2B5EF4-FFF2-40B4-BE49-F238E27FC236}">
                <a16:creationId xmlns:a16="http://schemas.microsoft.com/office/drawing/2014/main" id="{658F5CDD-9CCE-4477-99A9-D107B4AEC46A}"/>
              </a:ext>
            </a:extLst>
          </p:cNvPr>
          <p:cNvSpPr/>
          <p:nvPr userDrawn="1"/>
        </p:nvSpPr>
        <p:spPr>
          <a:xfrm>
            <a:off x="0" y="0"/>
            <a:ext cx="2406316" cy="5143500"/>
          </a:xfrm>
          <a:prstGeom prst="rect">
            <a:avLst/>
          </a:prstGeom>
          <a:solidFill>
            <a:schemeClr val="accent5">
              <a:lumMod val="60000"/>
              <a:lumOff val="4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9" name="Rechteck 28">
            <a:extLst>
              <a:ext uri="{FF2B5EF4-FFF2-40B4-BE49-F238E27FC236}">
                <a16:creationId xmlns:a16="http://schemas.microsoft.com/office/drawing/2014/main" id="{A5E0C877-3986-48C1-9513-81F7CE1C0C7A}"/>
              </a:ext>
            </a:extLst>
          </p:cNvPr>
          <p:cNvSpPr/>
          <p:nvPr userDrawn="1"/>
        </p:nvSpPr>
        <p:spPr>
          <a:xfrm>
            <a:off x="0" y="4562977"/>
            <a:ext cx="9144000" cy="580523"/>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9" name="Titel 1">
            <a:extLst>
              <a:ext uri="{FF2B5EF4-FFF2-40B4-BE49-F238E27FC236}">
                <a16:creationId xmlns:a16="http://schemas.microsoft.com/office/drawing/2014/main" id="{ED696C37-9BB0-4595-8DC9-77B027CC3CF8}"/>
              </a:ext>
            </a:extLst>
          </p:cNvPr>
          <p:cNvSpPr>
            <a:spLocks noGrp="1"/>
          </p:cNvSpPr>
          <p:nvPr>
            <p:ph type="title"/>
          </p:nvPr>
        </p:nvSpPr>
        <p:spPr>
          <a:xfrm>
            <a:off x="2708597" y="965426"/>
            <a:ext cx="5626801" cy="1606324"/>
          </a:xfrm>
        </p:spPr>
        <p:txBody>
          <a:bodyPr>
            <a:noAutofit/>
          </a:bodyPr>
          <a:lstStyle>
            <a:lvl1pPr>
              <a:defRPr sz="4400" b="0">
                <a:latin typeface="+mj-lt"/>
              </a:defRPr>
            </a:lvl1pPr>
          </a:lstStyle>
          <a:p>
            <a:r>
              <a:rPr lang="de-DE"/>
              <a:t>Mastertitelformat bearbeiten</a:t>
            </a:r>
          </a:p>
        </p:txBody>
      </p:sp>
      <p:sp>
        <p:nvSpPr>
          <p:cNvPr id="12" name="Textplatzhalter 12">
            <a:extLst>
              <a:ext uri="{FF2B5EF4-FFF2-40B4-BE49-F238E27FC236}">
                <a16:creationId xmlns:a16="http://schemas.microsoft.com/office/drawing/2014/main" id="{4DA5ECB8-1747-418D-9CD5-2DF7E81EA6DC}"/>
              </a:ext>
            </a:extLst>
          </p:cNvPr>
          <p:cNvSpPr>
            <a:spLocks noGrp="1"/>
          </p:cNvSpPr>
          <p:nvPr>
            <p:ph type="body" sz="quarter" idx="18" hasCustomPrompt="1"/>
          </p:nvPr>
        </p:nvSpPr>
        <p:spPr>
          <a:xfrm>
            <a:off x="2708597" y="3537176"/>
            <a:ext cx="4515919" cy="269435"/>
          </a:xfrm>
          <a:prstGeom prst="rect">
            <a:avLst/>
          </a:prstGeom>
          <a:noFill/>
          <a:ln>
            <a:noFill/>
          </a:ln>
          <a:effectLst/>
        </p:spPr>
        <p:txBody>
          <a:bodyPr>
            <a:normAutofit/>
          </a:bodyPr>
          <a:lstStyle>
            <a:lvl1pPr marL="0" indent="0">
              <a:buFontTx/>
              <a:buNone/>
              <a:defRPr sz="1200" b="0" baseline="0">
                <a:solidFill>
                  <a:schemeClr val="bg1"/>
                </a:solidFill>
                <a:latin typeface="+mj-lt"/>
                <a:cs typeface="Segoe UI"/>
              </a:defRPr>
            </a:lvl1pPr>
            <a:lvl2pPr marL="457200" indent="0">
              <a:buFontTx/>
              <a:buNone/>
              <a:defRPr sz="1600">
                <a:solidFill>
                  <a:srgbClr val="00254C"/>
                </a:solidFill>
              </a:defRPr>
            </a:lvl2pPr>
            <a:lvl3pPr marL="914400" indent="0">
              <a:buFontTx/>
              <a:buNone/>
              <a:defRPr sz="1600">
                <a:solidFill>
                  <a:srgbClr val="00254C"/>
                </a:solidFill>
              </a:defRPr>
            </a:lvl3pPr>
            <a:lvl4pPr marL="1371600" indent="0">
              <a:buFontTx/>
              <a:buNone/>
              <a:defRPr sz="1600">
                <a:solidFill>
                  <a:srgbClr val="00254C"/>
                </a:solidFill>
              </a:defRPr>
            </a:lvl4pPr>
            <a:lvl5pPr marL="1828800" indent="0">
              <a:buFontTx/>
              <a:buNone/>
              <a:defRPr sz="1600">
                <a:solidFill>
                  <a:srgbClr val="00254C"/>
                </a:solidFill>
              </a:defRPr>
            </a:lvl5pPr>
          </a:lstStyle>
          <a:p>
            <a:pPr lvl="0"/>
            <a:r>
              <a:rPr lang="de-DE" err="1"/>
              <a:t>Headlinemasterformat</a:t>
            </a:r>
            <a:endParaRPr lang="de-DE"/>
          </a:p>
        </p:txBody>
      </p:sp>
      <p:pic>
        <p:nvPicPr>
          <p:cNvPr id="10" name="Grafik 9" descr="Ein Bild, das Text enthält.&#10;&#10;Automatisch generierte Beschreibung">
            <a:extLst>
              <a:ext uri="{FF2B5EF4-FFF2-40B4-BE49-F238E27FC236}">
                <a16:creationId xmlns:a16="http://schemas.microsoft.com/office/drawing/2014/main" id="{F7CC9AA7-2604-4FE2-B10D-2091BF98E2B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04039" y="3902146"/>
            <a:ext cx="2353417" cy="841347"/>
          </a:xfrm>
          <a:prstGeom prst="rect">
            <a:avLst/>
          </a:prstGeom>
        </p:spPr>
      </p:pic>
    </p:spTree>
    <p:extLst>
      <p:ext uri="{BB962C8B-B14F-4D97-AF65-F5344CB8AC3E}">
        <p14:creationId xmlns:p14="http://schemas.microsoft.com/office/powerpoint/2010/main" val="2897666751"/>
      </p:ext>
    </p:extLst>
  </p:cSld>
  <p:clrMapOvr>
    <a:masterClrMapping/>
  </p:clrMapOvr>
  <p:hf sldNum="0" hdr="0" ft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Großer Monitor mit Bildunterschrift">
    <p:spTree>
      <p:nvGrpSpPr>
        <p:cNvPr id="1" name=""/>
        <p:cNvGrpSpPr/>
        <p:nvPr/>
      </p:nvGrpSpPr>
      <p:grpSpPr>
        <a:xfrm>
          <a:off x="0" y="0"/>
          <a:ext cx="0" cy="0"/>
          <a:chOff x="0" y="0"/>
          <a:chExt cx="0" cy="0"/>
        </a:xfrm>
      </p:grpSpPr>
      <p:sp>
        <p:nvSpPr>
          <p:cNvPr id="13" name="Bildplatzhalter 2"/>
          <p:cNvSpPr>
            <a:spLocks noGrp="1"/>
          </p:cNvSpPr>
          <p:nvPr>
            <p:ph type="pic" idx="1" hasCustomPrompt="1"/>
          </p:nvPr>
        </p:nvSpPr>
        <p:spPr>
          <a:xfrm>
            <a:off x="323850" y="988170"/>
            <a:ext cx="6409852" cy="3487010"/>
          </a:xfrm>
          <a:prstGeom prst="rect">
            <a:avLst/>
          </a:prstGeom>
          <a:noFill/>
          <a:ln>
            <a:noFill/>
          </a:ln>
        </p:spPr>
        <p:txBody>
          <a:bodyPr/>
          <a:lstStyle>
            <a:lvl1pPr marL="0" indent="0">
              <a:buNone/>
              <a:defRPr sz="3200" baseline="0">
                <a:solidFill>
                  <a:schemeClr val="tx1"/>
                </a:solidFill>
                <a:latin typeface="Segoe UI"/>
                <a:cs typeface="Segoe UI"/>
              </a:defRPr>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de-DE"/>
              <a:t>Bild durch Klicken auf Symbol hinzufügen</a:t>
            </a:r>
          </a:p>
        </p:txBody>
      </p:sp>
      <p:sp>
        <p:nvSpPr>
          <p:cNvPr id="23" name="Inhaltsplatzhalter 22"/>
          <p:cNvSpPr>
            <a:spLocks noGrp="1"/>
          </p:cNvSpPr>
          <p:nvPr>
            <p:ph sz="quarter" idx="25" hasCustomPrompt="1"/>
          </p:nvPr>
        </p:nvSpPr>
        <p:spPr>
          <a:xfrm>
            <a:off x="7092280" y="894347"/>
            <a:ext cx="1800200" cy="3790019"/>
          </a:xfrm>
          <a:prstGeom prst="rect">
            <a:avLst/>
          </a:prstGeom>
        </p:spPr>
        <p:txBody>
          <a:bodyPr>
            <a:normAutofit/>
          </a:bodyPr>
          <a:lstStyle>
            <a:lvl1pPr marL="0" marR="0" indent="0" algn="l" defTabSz="914378" rtl="0" eaLnBrk="1" fontAlgn="auto" latinLnBrk="0" hangingPunct="1">
              <a:lnSpc>
                <a:spcPct val="100000"/>
              </a:lnSpc>
              <a:spcBef>
                <a:spcPct val="20000"/>
              </a:spcBef>
              <a:spcAft>
                <a:spcPts val="0"/>
              </a:spcAft>
              <a:buClrTx/>
              <a:buSzTx/>
              <a:buFont typeface="Wingdings" pitchFamily="2" charset="2"/>
              <a:buNone/>
              <a:tabLst/>
              <a:defRPr sz="1200">
                <a:solidFill>
                  <a:schemeClr val="tx1"/>
                </a:solidFill>
                <a:latin typeface="Arial" panose="020B0604020202020204" pitchFamily="34" charset="0"/>
                <a:cs typeface="Arial" panose="020B0604020202020204" pitchFamily="34" charset="0"/>
              </a:defRPr>
            </a:lvl1pPr>
            <a:lvl2pPr marL="442902" indent="-266693">
              <a:buFont typeface="Webdings" pitchFamily="18" charset="2"/>
              <a:buChar char=""/>
              <a:defRPr sz="1400">
                <a:solidFill>
                  <a:schemeClr val="tx1"/>
                </a:solidFill>
                <a:latin typeface="Segoe UI"/>
                <a:cs typeface="Segoe UI"/>
              </a:defRPr>
            </a:lvl2pPr>
            <a:lvl3pPr marL="720707" indent="-277806">
              <a:buFont typeface="Webdings" pitchFamily="18" charset="2"/>
              <a:buChar char=""/>
              <a:defRPr sz="1300">
                <a:solidFill>
                  <a:schemeClr val="tx1"/>
                </a:solidFill>
                <a:latin typeface="Segoe UI"/>
                <a:cs typeface="Segoe UI"/>
              </a:defRPr>
            </a:lvl3pPr>
            <a:lvl4pPr marL="895328" indent="-174621">
              <a:buFont typeface="Trebuchet MS" pitchFamily="34" charset="0"/>
              <a:buChar char="&gt;"/>
              <a:tabLst/>
              <a:defRPr sz="1200">
                <a:solidFill>
                  <a:schemeClr val="tx1"/>
                </a:solidFill>
                <a:latin typeface="Segoe UI"/>
                <a:cs typeface="Segoe UI"/>
              </a:defRPr>
            </a:lvl4pPr>
            <a:lvl5pPr marL="1081061" indent="-185733">
              <a:buFont typeface="Trebuchet MS" pitchFamily="34" charset="0"/>
              <a:buChar char="»"/>
              <a:defRPr sz="1100">
                <a:solidFill>
                  <a:schemeClr val="tx1"/>
                </a:solidFill>
                <a:latin typeface="Segoe UI"/>
                <a:cs typeface="Segoe UI"/>
              </a:defRPr>
            </a:lvl5pPr>
          </a:lstStyle>
          <a:p>
            <a:pPr lvl="0"/>
            <a:r>
              <a:rPr lang="de-DE"/>
              <a:t>Textmasterformat bearbeiten</a:t>
            </a:r>
          </a:p>
          <a:p>
            <a:pPr lvl="0"/>
            <a:endParaRPr lang="de-DE"/>
          </a:p>
          <a:p>
            <a:pPr marL="0" marR="0" lvl="0" indent="0" algn="l" defTabSz="914378" rtl="0" eaLnBrk="1" fontAlgn="auto" latinLnBrk="0" hangingPunct="1">
              <a:lnSpc>
                <a:spcPct val="100000"/>
              </a:lnSpc>
              <a:spcBef>
                <a:spcPct val="20000"/>
              </a:spcBef>
              <a:spcAft>
                <a:spcPts val="0"/>
              </a:spcAft>
              <a:buClrTx/>
              <a:buSzTx/>
              <a:buFont typeface="Wingdings" pitchFamily="2" charset="2"/>
              <a:buNone/>
              <a:tabLst/>
              <a:defRPr/>
            </a:pPr>
            <a:r>
              <a:rPr lang="de-DE"/>
              <a:t>Textmasterformat bearbeiten</a:t>
            </a:r>
          </a:p>
          <a:p>
            <a:pPr lvl="0"/>
            <a:endParaRPr lang="de-DE"/>
          </a:p>
          <a:p>
            <a:pPr marL="0" marR="0" lvl="0" indent="0" algn="l" defTabSz="914378" rtl="0" eaLnBrk="1" fontAlgn="auto" latinLnBrk="0" hangingPunct="1">
              <a:lnSpc>
                <a:spcPct val="100000"/>
              </a:lnSpc>
              <a:spcBef>
                <a:spcPct val="20000"/>
              </a:spcBef>
              <a:spcAft>
                <a:spcPts val="0"/>
              </a:spcAft>
              <a:buClrTx/>
              <a:buSzTx/>
              <a:buFont typeface="Wingdings" pitchFamily="2" charset="2"/>
              <a:buNone/>
              <a:tabLst/>
              <a:defRPr/>
            </a:pPr>
            <a:r>
              <a:rPr lang="de-DE"/>
              <a:t>Textmasterformat bearbeiten</a:t>
            </a:r>
          </a:p>
          <a:p>
            <a:pPr lvl="0"/>
            <a:endParaRPr lang="de-DE"/>
          </a:p>
          <a:p>
            <a:pPr marL="0" marR="0" lvl="0" indent="0" algn="l" defTabSz="914378" rtl="0" eaLnBrk="1" fontAlgn="auto" latinLnBrk="0" hangingPunct="1">
              <a:lnSpc>
                <a:spcPct val="100000"/>
              </a:lnSpc>
              <a:spcBef>
                <a:spcPct val="20000"/>
              </a:spcBef>
              <a:spcAft>
                <a:spcPts val="0"/>
              </a:spcAft>
              <a:buClrTx/>
              <a:buSzTx/>
              <a:buFont typeface="Wingdings" pitchFamily="2" charset="2"/>
              <a:buNone/>
              <a:tabLst/>
              <a:defRPr/>
            </a:pPr>
            <a:r>
              <a:rPr lang="de-DE"/>
              <a:t>Textmasterformat bearbeiten</a:t>
            </a:r>
          </a:p>
          <a:p>
            <a:pPr lvl="0"/>
            <a:endParaRPr lang="de-DE"/>
          </a:p>
          <a:p>
            <a:pPr marL="0" marR="0" lvl="0" indent="0" algn="l" defTabSz="914378" rtl="0" eaLnBrk="1" fontAlgn="auto" latinLnBrk="0" hangingPunct="1">
              <a:lnSpc>
                <a:spcPct val="100000"/>
              </a:lnSpc>
              <a:spcBef>
                <a:spcPct val="20000"/>
              </a:spcBef>
              <a:spcAft>
                <a:spcPts val="0"/>
              </a:spcAft>
              <a:buClrTx/>
              <a:buSzTx/>
              <a:buFont typeface="Wingdings" pitchFamily="2" charset="2"/>
              <a:buNone/>
              <a:tabLst/>
              <a:defRPr/>
            </a:pPr>
            <a:r>
              <a:rPr lang="de-DE"/>
              <a:t>Textmasterformat bearbeiten</a:t>
            </a:r>
          </a:p>
          <a:p>
            <a:pPr lvl="0"/>
            <a:endParaRPr lang="de-DE"/>
          </a:p>
        </p:txBody>
      </p:sp>
      <p:sp>
        <p:nvSpPr>
          <p:cNvPr id="4" name="Titel 1">
            <a:extLst>
              <a:ext uri="{FF2B5EF4-FFF2-40B4-BE49-F238E27FC236}">
                <a16:creationId xmlns:a16="http://schemas.microsoft.com/office/drawing/2014/main" id="{15C682D3-736E-4042-A3F0-40A206F697F4}"/>
              </a:ext>
            </a:extLst>
          </p:cNvPr>
          <p:cNvSpPr>
            <a:spLocks noGrp="1"/>
          </p:cNvSpPr>
          <p:nvPr>
            <p:ph type="title"/>
          </p:nvPr>
        </p:nvSpPr>
        <p:spPr>
          <a:xfrm>
            <a:off x="269393" y="78770"/>
            <a:ext cx="7907189" cy="330545"/>
          </a:xfrm>
        </p:spPr>
        <p:txBody>
          <a:bodyPr/>
          <a:lstStyle/>
          <a:p>
            <a:r>
              <a:rPr lang="de-DE"/>
              <a:t>Mastertitelformat bearbeiten</a:t>
            </a:r>
          </a:p>
        </p:txBody>
      </p:sp>
    </p:spTree>
    <p:extLst>
      <p:ext uri="{BB962C8B-B14F-4D97-AF65-F5344CB8AC3E}">
        <p14:creationId xmlns:p14="http://schemas.microsoft.com/office/powerpoint/2010/main" val="5365224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Monitore mit Bildunterschrift">
    <p:spTree>
      <p:nvGrpSpPr>
        <p:cNvPr id="1" name=""/>
        <p:cNvGrpSpPr/>
        <p:nvPr/>
      </p:nvGrpSpPr>
      <p:grpSpPr>
        <a:xfrm>
          <a:off x="0" y="0"/>
          <a:ext cx="0" cy="0"/>
          <a:chOff x="0" y="0"/>
          <a:chExt cx="0" cy="0"/>
        </a:xfrm>
      </p:grpSpPr>
      <p:sp>
        <p:nvSpPr>
          <p:cNvPr id="17" name="Inhaltsplatzhalter 22"/>
          <p:cNvSpPr>
            <a:spLocks noGrp="1"/>
          </p:cNvSpPr>
          <p:nvPr>
            <p:ph sz="quarter" idx="25" hasCustomPrompt="1"/>
          </p:nvPr>
        </p:nvSpPr>
        <p:spPr>
          <a:xfrm>
            <a:off x="748277" y="3896115"/>
            <a:ext cx="3607699" cy="835876"/>
          </a:xfrm>
          <a:prstGeom prst="rect">
            <a:avLst/>
          </a:prstGeom>
        </p:spPr>
        <p:txBody>
          <a:bodyPr>
            <a:normAutofit/>
          </a:bodyPr>
          <a:lstStyle>
            <a:lvl1pPr marL="0" marR="0" indent="0" algn="l" defTabSz="914378" rtl="0" eaLnBrk="1" fontAlgn="auto" latinLnBrk="0" hangingPunct="1">
              <a:lnSpc>
                <a:spcPct val="100000"/>
              </a:lnSpc>
              <a:spcBef>
                <a:spcPct val="20000"/>
              </a:spcBef>
              <a:spcAft>
                <a:spcPts val="0"/>
              </a:spcAft>
              <a:buClrTx/>
              <a:buSzTx/>
              <a:buFont typeface="Wingdings" pitchFamily="2" charset="2"/>
              <a:buNone/>
              <a:tabLst/>
              <a:defRPr sz="1200">
                <a:solidFill>
                  <a:schemeClr val="tx1"/>
                </a:solidFill>
                <a:latin typeface="Arial" panose="020B0604020202020204" pitchFamily="34" charset="0"/>
                <a:cs typeface="Arial" panose="020B0604020202020204" pitchFamily="34" charset="0"/>
              </a:defRPr>
            </a:lvl1pPr>
            <a:lvl2pPr marL="442902" indent="-266693">
              <a:buFont typeface="Webdings" pitchFamily="18" charset="2"/>
              <a:buChar char=""/>
              <a:defRPr sz="1400">
                <a:solidFill>
                  <a:schemeClr val="tx1"/>
                </a:solidFill>
                <a:latin typeface="Segoe UI"/>
                <a:cs typeface="Segoe UI"/>
              </a:defRPr>
            </a:lvl2pPr>
            <a:lvl3pPr marL="720707" indent="-277806">
              <a:buFont typeface="Webdings" pitchFamily="18" charset="2"/>
              <a:buChar char=""/>
              <a:defRPr sz="1300">
                <a:solidFill>
                  <a:schemeClr val="tx1"/>
                </a:solidFill>
                <a:latin typeface="Segoe UI"/>
                <a:cs typeface="Segoe UI"/>
              </a:defRPr>
            </a:lvl3pPr>
            <a:lvl4pPr marL="895328" indent="-174621">
              <a:buFont typeface="Trebuchet MS" pitchFamily="34" charset="0"/>
              <a:buChar char="&gt;"/>
              <a:tabLst/>
              <a:defRPr sz="1200">
                <a:solidFill>
                  <a:schemeClr val="tx1"/>
                </a:solidFill>
                <a:latin typeface="Segoe UI"/>
                <a:cs typeface="Segoe UI"/>
              </a:defRPr>
            </a:lvl4pPr>
            <a:lvl5pPr marL="1081061" indent="-185733">
              <a:buFont typeface="Trebuchet MS" pitchFamily="34" charset="0"/>
              <a:buChar char="»"/>
              <a:defRPr sz="1100">
                <a:solidFill>
                  <a:schemeClr val="tx1"/>
                </a:solidFill>
                <a:latin typeface="Segoe UI"/>
                <a:cs typeface="Segoe UI"/>
              </a:defRPr>
            </a:lvl5pPr>
          </a:lstStyle>
          <a:p>
            <a:pPr lvl="0"/>
            <a:r>
              <a:rPr lang="de-DE"/>
              <a:t>Textmasterformat bearbeiten</a:t>
            </a:r>
          </a:p>
          <a:p>
            <a:pPr marL="0" marR="0" lvl="0" indent="0" algn="l" defTabSz="914378" rtl="0" eaLnBrk="1" fontAlgn="auto" latinLnBrk="0" hangingPunct="1">
              <a:lnSpc>
                <a:spcPct val="100000"/>
              </a:lnSpc>
              <a:spcBef>
                <a:spcPct val="20000"/>
              </a:spcBef>
              <a:spcAft>
                <a:spcPts val="0"/>
              </a:spcAft>
              <a:buClrTx/>
              <a:buSzTx/>
              <a:buFont typeface="Wingdings" pitchFamily="2" charset="2"/>
              <a:buNone/>
              <a:tabLst/>
              <a:defRPr/>
            </a:pPr>
            <a:r>
              <a:rPr lang="de-DE"/>
              <a:t>Textmasterformat bearbeiten</a:t>
            </a:r>
          </a:p>
          <a:p>
            <a:pPr lvl="0"/>
            <a:endParaRPr lang="de-DE"/>
          </a:p>
        </p:txBody>
      </p:sp>
      <p:sp>
        <p:nvSpPr>
          <p:cNvPr id="22" name="Inhaltsplatzhalter 22"/>
          <p:cNvSpPr>
            <a:spLocks noGrp="1"/>
          </p:cNvSpPr>
          <p:nvPr>
            <p:ph sz="quarter" idx="26" hasCustomPrompt="1"/>
          </p:nvPr>
        </p:nvSpPr>
        <p:spPr>
          <a:xfrm>
            <a:off x="4788024" y="3889790"/>
            <a:ext cx="3600400" cy="835876"/>
          </a:xfrm>
          <a:prstGeom prst="rect">
            <a:avLst/>
          </a:prstGeom>
        </p:spPr>
        <p:txBody>
          <a:bodyPr>
            <a:normAutofit/>
          </a:bodyPr>
          <a:lstStyle>
            <a:lvl1pPr marL="0" marR="0" indent="0" algn="l" defTabSz="914378" rtl="0" eaLnBrk="1" fontAlgn="auto" latinLnBrk="0" hangingPunct="1">
              <a:lnSpc>
                <a:spcPct val="100000"/>
              </a:lnSpc>
              <a:spcBef>
                <a:spcPct val="20000"/>
              </a:spcBef>
              <a:spcAft>
                <a:spcPts val="0"/>
              </a:spcAft>
              <a:buClrTx/>
              <a:buSzTx/>
              <a:buFont typeface="Wingdings" pitchFamily="2" charset="2"/>
              <a:buNone/>
              <a:tabLst/>
              <a:defRPr sz="1200">
                <a:solidFill>
                  <a:schemeClr val="tx1"/>
                </a:solidFill>
                <a:latin typeface="Arial" panose="020B0604020202020204" pitchFamily="34" charset="0"/>
                <a:cs typeface="Arial" panose="020B0604020202020204" pitchFamily="34" charset="0"/>
              </a:defRPr>
            </a:lvl1pPr>
            <a:lvl2pPr marL="442902" indent="-266693">
              <a:buFont typeface="Webdings" pitchFamily="18" charset="2"/>
              <a:buChar char=""/>
              <a:defRPr sz="1400">
                <a:solidFill>
                  <a:schemeClr val="tx1"/>
                </a:solidFill>
                <a:latin typeface="Segoe UI"/>
                <a:cs typeface="Segoe UI"/>
              </a:defRPr>
            </a:lvl2pPr>
            <a:lvl3pPr marL="720707" indent="-277806">
              <a:buFont typeface="Webdings" pitchFamily="18" charset="2"/>
              <a:buChar char=""/>
              <a:defRPr sz="1300">
                <a:solidFill>
                  <a:schemeClr val="tx1"/>
                </a:solidFill>
                <a:latin typeface="Segoe UI"/>
                <a:cs typeface="Segoe UI"/>
              </a:defRPr>
            </a:lvl3pPr>
            <a:lvl4pPr marL="895328" indent="-174621">
              <a:buFont typeface="Trebuchet MS" pitchFamily="34" charset="0"/>
              <a:buChar char="&gt;"/>
              <a:tabLst/>
              <a:defRPr sz="1200">
                <a:solidFill>
                  <a:schemeClr val="tx1"/>
                </a:solidFill>
                <a:latin typeface="Segoe UI"/>
                <a:cs typeface="Segoe UI"/>
              </a:defRPr>
            </a:lvl4pPr>
            <a:lvl5pPr marL="1081061" indent="-185733">
              <a:buFont typeface="Trebuchet MS" pitchFamily="34" charset="0"/>
              <a:buChar char="»"/>
              <a:defRPr sz="1100">
                <a:solidFill>
                  <a:schemeClr val="tx1"/>
                </a:solidFill>
                <a:latin typeface="Segoe UI"/>
                <a:cs typeface="Segoe UI"/>
              </a:defRPr>
            </a:lvl5pPr>
          </a:lstStyle>
          <a:p>
            <a:pPr lvl="0"/>
            <a:r>
              <a:rPr lang="de-DE"/>
              <a:t>Textmasterformat bearbeiten</a:t>
            </a:r>
          </a:p>
          <a:p>
            <a:pPr marL="0" marR="0" lvl="0" indent="0" algn="l" defTabSz="914378" rtl="0" eaLnBrk="1" fontAlgn="auto" latinLnBrk="0" hangingPunct="1">
              <a:lnSpc>
                <a:spcPct val="100000"/>
              </a:lnSpc>
              <a:spcBef>
                <a:spcPct val="20000"/>
              </a:spcBef>
              <a:spcAft>
                <a:spcPts val="0"/>
              </a:spcAft>
              <a:buClrTx/>
              <a:buSzTx/>
              <a:buFont typeface="Wingdings" pitchFamily="2" charset="2"/>
              <a:buNone/>
              <a:tabLst/>
              <a:defRPr/>
            </a:pPr>
            <a:r>
              <a:rPr lang="de-DE"/>
              <a:t>Textmasterformat bearbeiten</a:t>
            </a:r>
          </a:p>
          <a:p>
            <a:pPr lvl="0"/>
            <a:endParaRPr lang="de-DE"/>
          </a:p>
        </p:txBody>
      </p:sp>
      <p:sp>
        <p:nvSpPr>
          <p:cNvPr id="23" name="Bildplatzhalter 2"/>
          <p:cNvSpPr>
            <a:spLocks noGrp="1"/>
          </p:cNvSpPr>
          <p:nvPr>
            <p:ph type="pic" idx="1" hasCustomPrompt="1"/>
          </p:nvPr>
        </p:nvSpPr>
        <p:spPr>
          <a:xfrm>
            <a:off x="854001" y="1441169"/>
            <a:ext cx="3379502" cy="1999639"/>
          </a:xfrm>
          <a:prstGeom prst="rect">
            <a:avLst/>
          </a:prstGeom>
          <a:noFill/>
          <a:ln>
            <a:noFill/>
          </a:ln>
        </p:spPr>
        <p:txBody>
          <a:bodyPr/>
          <a:lstStyle>
            <a:lvl1pPr marL="0" indent="0">
              <a:buNone/>
              <a:defRPr sz="3200" baseline="0">
                <a:solidFill>
                  <a:schemeClr val="tx1"/>
                </a:solidFill>
                <a:latin typeface="Segoe UI"/>
                <a:cs typeface="Segoe UI"/>
              </a:defRPr>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de-DE"/>
              <a:t>Bild durch Klicken auf Symbol hinzufügen</a:t>
            </a:r>
          </a:p>
        </p:txBody>
      </p:sp>
      <p:sp>
        <p:nvSpPr>
          <p:cNvPr id="24" name="Bildplatzhalter 2"/>
          <p:cNvSpPr>
            <a:spLocks noGrp="1"/>
          </p:cNvSpPr>
          <p:nvPr>
            <p:ph type="pic" idx="27" hasCustomPrompt="1"/>
          </p:nvPr>
        </p:nvSpPr>
        <p:spPr>
          <a:xfrm>
            <a:off x="4899025" y="1440557"/>
            <a:ext cx="3390900" cy="2000250"/>
          </a:xfrm>
          <a:prstGeom prst="rect">
            <a:avLst/>
          </a:prstGeom>
          <a:noFill/>
          <a:ln>
            <a:noFill/>
          </a:ln>
        </p:spPr>
        <p:txBody>
          <a:bodyPr/>
          <a:lstStyle>
            <a:lvl1pPr marL="0" indent="0">
              <a:buNone/>
              <a:defRPr sz="3200" baseline="0">
                <a:solidFill>
                  <a:schemeClr val="tx1"/>
                </a:solidFill>
                <a:latin typeface="Segoe UI"/>
                <a:cs typeface="Segoe UI"/>
              </a:defRPr>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de-DE"/>
              <a:t>Bild durch Klicken auf Symbol hinzufügen</a:t>
            </a:r>
          </a:p>
        </p:txBody>
      </p:sp>
      <p:sp>
        <p:nvSpPr>
          <p:cNvPr id="25" name="Textplatzhalter 12"/>
          <p:cNvSpPr>
            <a:spLocks noGrp="1"/>
          </p:cNvSpPr>
          <p:nvPr>
            <p:ph type="body" sz="quarter" idx="18" hasCustomPrompt="1"/>
          </p:nvPr>
        </p:nvSpPr>
        <p:spPr>
          <a:xfrm>
            <a:off x="211317" y="855270"/>
            <a:ext cx="8366479" cy="269435"/>
          </a:xfrm>
          <a:prstGeom prst="rect">
            <a:avLst/>
          </a:prstGeom>
          <a:noFill/>
          <a:ln>
            <a:noFill/>
          </a:ln>
          <a:effectLst/>
        </p:spPr>
        <p:txBody>
          <a:bodyPr>
            <a:noAutofit/>
          </a:bodyPr>
          <a:lstStyle>
            <a:lvl1pPr marL="0" indent="0">
              <a:buFontTx/>
              <a:buNone/>
              <a:defRPr sz="1400" b="1" baseline="0">
                <a:solidFill>
                  <a:schemeClr val="tx1"/>
                </a:solidFill>
                <a:latin typeface="Arial" panose="020B0604020202020204" pitchFamily="34" charset="0"/>
                <a:cs typeface="Arial" panose="020B0604020202020204" pitchFamily="34" charset="0"/>
              </a:defRPr>
            </a:lvl1pPr>
            <a:lvl2pPr marL="457189" indent="0">
              <a:buFontTx/>
              <a:buNone/>
              <a:defRPr sz="1600">
                <a:solidFill>
                  <a:srgbClr val="00254C"/>
                </a:solidFill>
              </a:defRPr>
            </a:lvl2pPr>
            <a:lvl3pPr marL="914378" indent="0">
              <a:buFontTx/>
              <a:buNone/>
              <a:defRPr sz="1600">
                <a:solidFill>
                  <a:srgbClr val="00254C"/>
                </a:solidFill>
              </a:defRPr>
            </a:lvl3pPr>
            <a:lvl4pPr marL="1371566" indent="0">
              <a:buFontTx/>
              <a:buNone/>
              <a:defRPr sz="1600">
                <a:solidFill>
                  <a:srgbClr val="00254C"/>
                </a:solidFill>
              </a:defRPr>
            </a:lvl4pPr>
            <a:lvl5pPr marL="1828754" indent="0">
              <a:buFontTx/>
              <a:buNone/>
              <a:defRPr sz="1600">
                <a:solidFill>
                  <a:srgbClr val="00254C"/>
                </a:solidFill>
              </a:defRPr>
            </a:lvl5pPr>
          </a:lstStyle>
          <a:p>
            <a:pPr lvl="0"/>
            <a:r>
              <a:rPr lang="de-DE" err="1"/>
              <a:t>Headlinemasterformat</a:t>
            </a:r>
            <a:r>
              <a:rPr lang="de-DE"/>
              <a:t> durch Klicken bearbeiten (Segoe UI, fett, 16pt)</a:t>
            </a:r>
          </a:p>
        </p:txBody>
      </p:sp>
      <p:sp>
        <p:nvSpPr>
          <p:cNvPr id="7" name="Titel 1">
            <a:extLst>
              <a:ext uri="{FF2B5EF4-FFF2-40B4-BE49-F238E27FC236}">
                <a16:creationId xmlns:a16="http://schemas.microsoft.com/office/drawing/2014/main" id="{0DF1020F-CEF3-4DED-94A8-A13A7042DFE5}"/>
              </a:ext>
            </a:extLst>
          </p:cNvPr>
          <p:cNvSpPr>
            <a:spLocks noGrp="1"/>
          </p:cNvSpPr>
          <p:nvPr>
            <p:ph type="title"/>
          </p:nvPr>
        </p:nvSpPr>
        <p:spPr>
          <a:xfrm>
            <a:off x="269393" y="78770"/>
            <a:ext cx="7907189" cy="330545"/>
          </a:xfrm>
        </p:spPr>
        <p:txBody>
          <a:bodyPr/>
          <a:lstStyle/>
          <a:p>
            <a:r>
              <a:rPr lang="de-DE"/>
              <a:t>Mastertitelformat bearbeiten</a:t>
            </a:r>
          </a:p>
        </p:txBody>
      </p:sp>
    </p:spTree>
    <p:extLst>
      <p:ext uri="{BB962C8B-B14F-4D97-AF65-F5344CB8AC3E}">
        <p14:creationId xmlns:p14="http://schemas.microsoft.com/office/powerpoint/2010/main" val="10019219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 Monitor mit Bildunterschrift">
    <p:spTree>
      <p:nvGrpSpPr>
        <p:cNvPr id="1" name=""/>
        <p:cNvGrpSpPr/>
        <p:nvPr/>
      </p:nvGrpSpPr>
      <p:grpSpPr>
        <a:xfrm>
          <a:off x="0" y="0"/>
          <a:ext cx="0" cy="0"/>
          <a:chOff x="0" y="0"/>
          <a:chExt cx="0" cy="0"/>
        </a:xfrm>
      </p:grpSpPr>
      <p:sp>
        <p:nvSpPr>
          <p:cNvPr id="15" name="Inhaltsplatzhalter 22"/>
          <p:cNvSpPr>
            <a:spLocks noGrp="1"/>
          </p:cNvSpPr>
          <p:nvPr>
            <p:ph sz="quarter" idx="25" hasCustomPrompt="1"/>
          </p:nvPr>
        </p:nvSpPr>
        <p:spPr>
          <a:xfrm>
            <a:off x="227667" y="1995686"/>
            <a:ext cx="1656184" cy="1152129"/>
          </a:xfrm>
          <a:prstGeom prst="rect">
            <a:avLst/>
          </a:prstGeom>
        </p:spPr>
        <p:txBody>
          <a:bodyPr/>
          <a:lstStyle>
            <a:lvl1pPr marL="0" marR="0" indent="0" algn="l" defTabSz="914378" rtl="0" eaLnBrk="1" fontAlgn="auto" latinLnBrk="0" hangingPunct="1">
              <a:lnSpc>
                <a:spcPct val="100000"/>
              </a:lnSpc>
              <a:spcBef>
                <a:spcPct val="20000"/>
              </a:spcBef>
              <a:spcAft>
                <a:spcPts val="0"/>
              </a:spcAft>
              <a:buClrTx/>
              <a:buSzTx/>
              <a:buFont typeface="Wingdings" pitchFamily="2" charset="2"/>
              <a:buNone/>
              <a:tabLst/>
              <a:defRPr sz="1200">
                <a:solidFill>
                  <a:schemeClr val="tx1"/>
                </a:solidFill>
                <a:latin typeface="Arial" panose="020B0604020202020204" pitchFamily="34" charset="0"/>
                <a:cs typeface="Arial" panose="020B0604020202020204" pitchFamily="34" charset="0"/>
              </a:defRPr>
            </a:lvl1pPr>
            <a:lvl2pPr marL="442902" indent="-266693">
              <a:buFont typeface="Webdings" pitchFamily="18" charset="2"/>
              <a:buChar char=""/>
              <a:defRPr sz="1400">
                <a:solidFill>
                  <a:schemeClr val="tx1"/>
                </a:solidFill>
                <a:latin typeface="Segoe UI"/>
                <a:cs typeface="Segoe UI"/>
              </a:defRPr>
            </a:lvl2pPr>
            <a:lvl3pPr marL="720707" indent="-277806">
              <a:buFont typeface="Webdings" pitchFamily="18" charset="2"/>
              <a:buChar char=""/>
              <a:defRPr sz="1300">
                <a:solidFill>
                  <a:schemeClr val="tx1"/>
                </a:solidFill>
                <a:latin typeface="Segoe UI"/>
                <a:cs typeface="Segoe UI"/>
              </a:defRPr>
            </a:lvl3pPr>
            <a:lvl4pPr marL="895328" indent="-174621">
              <a:buFont typeface="Trebuchet MS" pitchFamily="34" charset="0"/>
              <a:buChar char="&gt;"/>
              <a:tabLst/>
              <a:defRPr sz="1200">
                <a:solidFill>
                  <a:schemeClr val="tx1"/>
                </a:solidFill>
                <a:latin typeface="Segoe UI"/>
                <a:cs typeface="Segoe UI"/>
              </a:defRPr>
            </a:lvl4pPr>
            <a:lvl5pPr marL="1081061" indent="-185733">
              <a:buFont typeface="Trebuchet MS" pitchFamily="34" charset="0"/>
              <a:buChar char="»"/>
              <a:defRPr sz="1100">
                <a:solidFill>
                  <a:schemeClr val="tx1"/>
                </a:solidFill>
                <a:latin typeface="Segoe UI"/>
                <a:cs typeface="Segoe UI"/>
              </a:defRPr>
            </a:lvl5pPr>
          </a:lstStyle>
          <a:p>
            <a:pPr lvl="0"/>
            <a:r>
              <a:rPr lang="de-DE"/>
              <a:t>Textmasterformat bearbeiten</a:t>
            </a:r>
          </a:p>
          <a:p>
            <a:pPr marL="0" marR="0" lvl="0" indent="0" algn="l" defTabSz="914378" rtl="0" eaLnBrk="1" fontAlgn="auto" latinLnBrk="0" hangingPunct="1">
              <a:lnSpc>
                <a:spcPct val="100000"/>
              </a:lnSpc>
              <a:spcBef>
                <a:spcPct val="20000"/>
              </a:spcBef>
              <a:spcAft>
                <a:spcPts val="0"/>
              </a:spcAft>
              <a:buClrTx/>
              <a:buSzTx/>
              <a:buFont typeface="Wingdings" pitchFamily="2" charset="2"/>
              <a:buNone/>
              <a:tabLst/>
              <a:defRPr/>
            </a:pPr>
            <a:r>
              <a:rPr lang="de-DE"/>
              <a:t>Textmasterformat bearbeiten</a:t>
            </a:r>
          </a:p>
          <a:p>
            <a:pPr lvl="0"/>
            <a:endParaRPr lang="de-DE"/>
          </a:p>
        </p:txBody>
      </p:sp>
      <p:sp>
        <p:nvSpPr>
          <p:cNvPr id="20" name="Textplatzhalter 12"/>
          <p:cNvSpPr>
            <a:spLocks noGrp="1"/>
          </p:cNvSpPr>
          <p:nvPr>
            <p:ph type="body" sz="quarter" idx="18" hasCustomPrompt="1"/>
          </p:nvPr>
        </p:nvSpPr>
        <p:spPr>
          <a:xfrm>
            <a:off x="203366" y="855270"/>
            <a:ext cx="8689115" cy="269435"/>
          </a:xfrm>
          <a:prstGeom prst="rect">
            <a:avLst/>
          </a:prstGeom>
          <a:noFill/>
          <a:ln>
            <a:noFill/>
          </a:ln>
          <a:effectLst/>
        </p:spPr>
        <p:txBody>
          <a:bodyPr>
            <a:noAutofit/>
          </a:bodyPr>
          <a:lstStyle>
            <a:lvl1pPr marL="0" indent="0">
              <a:buFontTx/>
              <a:buNone/>
              <a:defRPr sz="1400" b="1" baseline="0">
                <a:solidFill>
                  <a:schemeClr val="tx1"/>
                </a:solidFill>
                <a:latin typeface="Arial" panose="020B0604020202020204" pitchFamily="34" charset="0"/>
                <a:cs typeface="Arial" panose="020B0604020202020204" pitchFamily="34" charset="0"/>
              </a:defRPr>
            </a:lvl1pPr>
            <a:lvl2pPr marL="457189" indent="0">
              <a:buFontTx/>
              <a:buNone/>
              <a:defRPr sz="1600">
                <a:solidFill>
                  <a:srgbClr val="00254C"/>
                </a:solidFill>
              </a:defRPr>
            </a:lvl2pPr>
            <a:lvl3pPr marL="914378" indent="0">
              <a:buFontTx/>
              <a:buNone/>
              <a:defRPr sz="1600">
                <a:solidFill>
                  <a:srgbClr val="00254C"/>
                </a:solidFill>
              </a:defRPr>
            </a:lvl3pPr>
            <a:lvl4pPr marL="1371566" indent="0">
              <a:buFontTx/>
              <a:buNone/>
              <a:defRPr sz="1600">
                <a:solidFill>
                  <a:srgbClr val="00254C"/>
                </a:solidFill>
              </a:defRPr>
            </a:lvl4pPr>
            <a:lvl5pPr marL="1828754" indent="0">
              <a:buFontTx/>
              <a:buNone/>
              <a:defRPr sz="1600">
                <a:solidFill>
                  <a:srgbClr val="00254C"/>
                </a:solidFill>
              </a:defRPr>
            </a:lvl5pPr>
          </a:lstStyle>
          <a:p>
            <a:pPr lvl="0"/>
            <a:r>
              <a:rPr lang="de-DE" err="1"/>
              <a:t>Headlinemasterformat</a:t>
            </a:r>
            <a:r>
              <a:rPr lang="de-DE"/>
              <a:t> durch Klicken bearbeiten (Segoe UI, fett,  16pt)</a:t>
            </a:r>
          </a:p>
        </p:txBody>
      </p:sp>
      <p:sp>
        <p:nvSpPr>
          <p:cNvPr id="21" name="Inhaltsplatzhalter 22"/>
          <p:cNvSpPr>
            <a:spLocks noGrp="1"/>
          </p:cNvSpPr>
          <p:nvPr>
            <p:ph sz="quarter" idx="26" hasCustomPrompt="1"/>
          </p:nvPr>
        </p:nvSpPr>
        <p:spPr>
          <a:xfrm>
            <a:off x="7236297" y="2067695"/>
            <a:ext cx="1656184" cy="1152129"/>
          </a:xfrm>
          <a:prstGeom prst="rect">
            <a:avLst/>
          </a:prstGeom>
        </p:spPr>
        <p:txBody>
          <a:bodyPr/>
          <a:lstStyle>
            <a:lvl1pPr marL="0" marR="0" indent="0" algn="l" defTabSz="914378" rtl="0" eaLnBrk="1" fontAlgn="auto" latinLnBrk="0" hangingPunct="1">
              <a:lnSpc>
                <a:spcPct val="100000"/>
              </a:lnSpc>
              <a:spcBef>
                <a:spcPct val="20000"/>
              </a:spcBef>
              <a:spcAft>
                <a:spcPts val="0"/>
              </a:spcAft>
              <a:buClrTx/>
              <a:buSzTx/>
              <a:buFont typeface="Wingdings" pitchFamily="2" charset="2"/>
              <a:buNone/>
              <a:tabLst/>
              <a:defRPr sz="1200">
                <a:solidFill>
                  <a:schemeClr val="tx1"/>
                </a:solidFill>
                <a:latin typeface="Arial" panose="020B0604020202020204" pitchFamily="34" charset="0"/>
                <a:cs typeface="Arial" panose="020B0604020202020204" pitchFamily="34" charset="0"/>
              </a:defRPr>
            </a:lvl1pPr>
            <a:lvl2pPr marL="442902" indent="-266693">
              <a:buFont typeface="Webdings" pitchFamily="18" charset="2"/>
              <a:buChar char=""/>
              <a:defRPr sz="1400">
                <a:solidFill>
                  <a:schemeClr val="tx1"/>
                </a:solidFill>
                <a:latin typeface="Segoe UI"/>
                <a:cs typeface="Segoe UI"/>
              </a:defRPr>
            </a:lvl2pPr>
            <a:lvl3pPr marL="720707" indent="-277806">
              <a:buFont typeface="Webdings" pitchFamily="18" charset="2"/>
              <a:buChar char=""/>
              <a:defRPr sz="1300">
                <a:solidFill>
                  <a:schemeClr val="tx1"/>
                </a:solidFill>
                <a:latin typeface="Segoe UI"/>
                <a:cs typeface="Segoe UI"/>
              </a:defRPr>
            </a:lvl3pPr>
            <a:lvl4pPr marL="895328" indent="-174621">
              <a:buFont typeface="Trebuchet MS" pitchFamily="34" charset="0"/>
              <a:buChar char="&gt;"/>
              <a:tabLst/>
              <a:defRPr sz="1200">
                <a:solidFill>
                  <a:schemeClr val="tx1"/>
                </a:solidFill>
                <a:latin typeface="Segoe UI"/>
                <a:cs typeface="Segoe UI"/>
              </a:defRPr>
            </a:lvl4pPr>
            <a:lvl5pPr marL="1081061" indent="-185733">
              <a:buFont typeface="Trebuchet MS" pitchFamily="34" charset="0"/>
              <a:buChar char="»"/>
              <a:defRPr sz="1100">
                <a:solidFill>
                  <a:schemeClr val="tx1"/>
                </a:solidFill>
                <a:latin typeface="Segoe UI"/>
                <a:cs typeface="Segoe UI"/>
              </a:defRPr>
            </a:lvl5pPr>
          </a:lstStyle>
          <a:p>
            <a:pPr lvl="0"/>
            <a:r>
              <a:rPr lang="de-DE"/>
              <a:t>Textmasterformat bearbeiten</a:t>
            </a:r>
          </a:p>
          <a:p>
            <a:pPr marL="0" marR="0" lvl="0" indent="0" algn="l" defTabSz="914378" rtl="0" eaLnBrk="1" fontAlgn="auto" latinLnBrk="0" hangingPunct="1">
              <a:lnSpc>
                <a:spcPct val="100000"/>
              </a:lnSpc>
              <a:spcBef>
                <a:spcPct val="20000"/>
              </a:spcBef>
              <a:spcAft>
                <a:spcPts val="0"/>
              </a:spcAft>
              <a:buClrTx/>
              <a:buSzTx/>
              <a:buFont typeface="Wingdings" pitchFamily="2" charset="2"/>
              <a:buNone/>
              <a:tabLst/>
              <a:defRPr/>
            </a:pPr>
            <a:r>
              <a:rPr lang="de-DE"/>
              <a:t>Textmasterformat bearbeiten</a:t>
            </a:r>
          </a:p>
          <a:p>
            <a:pPr lvl="0"/>
            <a:endParaRPr lang="de-DE"/>
          </a:p>
        </p:txBody>
      </p:sp>
      <p:sp>
        <p:nvSpPr>
          <p:cNvPr id="16" name="Bildplatzhalter 2"/>
          <p:cNvSpPr>
            <a:spLocks noGrp="1"/>
          </p:cNvSpPr>
          <p:nvPr>
            <p:ph type="pic" idx="1" hasCustomPrompt="1"/>
          </p:nvPr>
        </p:nvSpPr>
        <p:spPr>
          <a:xfrm>
            <a:off x="2108417" y="1441168"/>
            <a:ext cx="4911855" cy="3291170"/>
          </a:xfrm>
          <a:prstGeom prst="rect">
            <a:avLst/>
          </a:prstGeom>
          <a:noFill/>
          <a:ln>
            <a:noFill/>
          </a:ln>
        </p:spPr>
        <p:txBody>
          <a:bodyPr/>
          <a:lstStyle>
            <a:lvl1pPr marL="0" indent="0">
              <a:buNone/>
              <a:defRPr sz="3200" baseline="0">
                <a:solidFill>
                  <a:schemeClr val="tx1"/>
                </a:solidFill>
                <a:latin typeface="Segoe UI"/>
                <a:cs typeface="Segoe UI"/>
              </a:defRPr>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de-DE"/>
              <a:t>Bild durch Klicken auf Symbol hinzufügen</a:t>
            </a:r>
          </a:p>
        </p:txBody>
      </p:sp>
      <p:sp>
        <p:nvSpPr>
          <p:cNvPr id="6" name="Titel 1">
            <a:extLst>
              <a:ext uri="{FF2B5EF4-FFF2-40B4-BE49-F238E27FC236}">
                <a16:creationId xmlns:a16="http://schemas.microsoft.com/office/drawing/2014/main" id="{3C82D11D-8C9A-4DFD-B359-68D47B3E0618}"/>
              </a:ext>
            </a:extLst>
          </p:cNvPr>
          <p:cNvSpPr>
            <a:spLocks noGrp="1"/>
          </p:cNvSpPr>
          <p:nvPr>
            <p:ph type="title"/>
          </p:nvPr>
        </p:nvSpPr>
        <p:spPr>
          <a:xfrm>
            <a:off x="269393" y="78770"/>
            <a:ext cx="7907189" cy="330545"/>
          </a:xfrm>
        </p:spPr>
        <p:txBody>
          <a:bodyPr/>
          <a:lstStyle/>
          <a:p>
            <a:r>
              <a:rPr lang="de-DE"/>
              <a:t>Mastertitelformat bearbeiten</a:t>
            </a:r>
          </a:p>
        </p:txBody>
      </p:sp>
    </p:spTree>
    <p:extLst>
      <p:ext uri="{BB962C8B-B14F-4D97-AF65-F5344CB8AC3E}">
        <p14:creationId xmlns:p14="http://schemas.microsoft.com/office/powerpoint/2010/main" val="8000984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Webinarleitu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2D0B99E-BA6E-4340-B029-8640589EDBD2}"/>
              </a:ext>
            </a:extLst>
          </p:cNvPr>
          <p:cNvSpPr>
            <a:spLocks noGrp="1"/>
          </p:cNvSpPr>
          <p:nvPr>
            <p:ph type="title"/>
          </p:nvPr>
        </p:nvSpPr>
        <p:spPr>
          <a:xfrm>
            <a:off x="269393" y="78770"/>
            <a:ext cx="7907189" cy="330545"/>
          </a:xfrm>
        </p:spPr>
        <p:txBody>
          <a:bodyPr/>
          <a:lstStyle/>
          <a:p>
            <a:r>
              <a:rPr lang="de-DE"/>
              <a:t>Mastertitelformat bearbeiten</a:t>
            </a:r>
          </a:p>
        </p:txBody>
      </p:sp>
    </p:spTree>
    <p:extLst>
      <p:ext uri="{BB962C8B-B14F-4D97-AF65-F5344CB8AC3E}">
        <p14:creationId xmlns:p14="http://schemas.microsoft.com/office/powerpoint/2010/main" val="46726989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4_Leer">
    <p:spTree>
      <p:nvGrpSpPr>
        <p:cNvPr id="1" name=""/>
        <p:cNvGrpSpPr/>
        <p:nvPr/>
      </p:nvGrpSpPr>
      <p:grpSpPr>
        <a:xfrm>
          <a:off x="0" y="0"/>
          <a:ext cx="0" cy="0"/>
          <a:chOff x="0" y="0"/>
          <a:chExt cx="0" cy="0"/>
        </a:xfrm>
      </p:grpSpPr>
      <p:sp>
        <p:nvSpPr>
          <p:cNvPr id="6" name="Titelplatzhalter 5">
            <a:extLst>
              <a:ext uri="{FF2B5EF4-FFF2-40B4-BE49-F238E27FC236}">
                <a16:creationId xmlns:a16="http://schemas.microsoft.com/office/drawing/2014/main" id="{96A6E718-F3B7-44CC-8ACE-F2E50ECDC8DD}"/>
              </a:ext>
            </a:extLst>
          </p:cNvPr>
          <p:cNvSpPr>
            <a:spLocks noGrp="1"/>
          </p:cNvSpPr>
          <p:nvPr>
            <p:ph type="title" hasCustomPrompt="1"/>
          </p:nvPr>
        </p:nvSpPr>
        <p:spPr>
          <a:xfrm>
            <a:off x="269394" y="78771"/>
            <a:ext cx="6942775" cy="330545"/>
          </a:xfrm>
          <a:prstGeom prst="rect">
            <a:avLst/>
          </a:prstGeom>
          <a:ln>
            <a:solidFill>
              <a:schemeClr val="accent1">
                <a:lumMod val="75000"/>
              </a:schemeClr>
            </a:solidFill>
          </a:ln>
        </p:spPr>
        <p:txBody>
          <a:bodyPr vert="horz" lIns="91440" tIns="45720" rIns="91440" bIns="45720" rtlCol="0" anchor="ctr">
            <a:normAutofit/>
          </a:bodyPr>
          <a:lstStyle>
            <a:lvl1pPr>
              <a:defRPr/>
            </a:lvl1pPr>
          </a:lstStyle>
          <a:p>
            <a:r>
              <a:rPr lang="de-DE"/>
              <a:t>Disclaimer </a:t>
            </a:r>
          </a:p>
        </p:txBody>
      </p:sp>
      <p:sp>
        <p:nvSpPr>
          <p:cNvPr id="3" name="Textfeld 2">
            <a:extLst>
              <a:ext uri="{FF2B5EF4-FFF2-40B4-BE49-F238E27FC236}">
                <a16:creationId xmlns:a16="http://schemas.microsoft.com/office/drawing/2014/main" id="{CA641F7A-7511-443C-87B0-207265C37B55}"/>
              </a:ext>
            </a:extLst>
          </p:cNvPr>
          <p:cNvSpPr txBox="1"/>
          <p:nvPr userDrawn="1"/>
        </p:nvSpPr>
        <p:spPr>
          <a:xfrm>
            <a:off x="269394" y="956733"/>
            <a:ext cx="8383540" cy="2031325"/>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900">
                <a:latin typeface="Arial" panose="020B0604020202020204" pitchFamily="34" charset="0"/>
                <a:ea typeface="Verdana" panose="020B0604030504040204" pitchFamily="34" charset="0"/>
                <a:cs typeface="Arial" panose="020B0604020202020204" pitchFamily="34" charset="0"/>
              </a:rPr>
              <a:t>The information in this presentation is confidential and protected by copyright and may not be disclosed without permission from Europe IT Consulting GmbH.</a:t>
            </a:r>
            <a:br>
              <a:rPr lang="en-US" sz="900">
                <a:latin typeface="Arial" panose="020B0604020202020204" pitchFamily="34" charset="0"/>
                <a:ea typeface="Verdana" panose="020B0604030504040204" pitchFamily="34" charset="0"/>
                <a:cs typeface="Arial" panose="020B0604020202020204" pitchFamily="34" charset="0"/>
              </a:rPr>
            </a:br>
            <a:r>
              <a:rPr lang="en-US" sz="900">
                <a:latin typeface="Arial" panose="020B0604020202020204" pitchFamily="34" charset="0"/>
                <a:ea typeface="Verdana" panose="020B0604030504040204" pitchFamily="34" charset="0"/>
                <a:cs typeface="Arial" panose="020B0604020202020204" pitchFamily="34" charset="0"/>
              </a:rPr>
              <a:t>This presentation is not subject to any license agreement or any other service agreement with Europe IT Consulting GmbH.</a:t>
            </a:r>
            <a:br>
              <a:rPr lang="en-US" sz="900">
                <a:latin typeface="Arial" panose="020B0604020202020204" pitchFamily="34" charset="0"/>
                <a:ea typeface="Verdana" panose="020B0604030504040204" pitchFamily="34" charset="0"/>
                <a:cs typeface="Arial" panose="020B0604020202020204" pitchFamily="34" charset="0"/>
              </a:rPr>
            </a:br>
            <a:r>
              <a:rPr lang="en-US" sz="900">
                <a:latin typeface="Arial" panose="020B0604020202020204" pitchFamily="34" charset="0"/>
                <a:ea typeface="Verdana" panose="020B0604030504040204" pitchFamily="34" charset="0"/>
                <a:cs typeface="Arial" panose="020B0604020202020204" pitchFamily="34" charset="0"/>
              </a:rPr>
              <a:t>Europe IT Consulting GmbH is in no way obliged to follow business processes presented in this document or a related presentation or to develop or publish functions reproduced therein.</a:t>
            </a:r>
            <a:br>
              <a:rPr lang="en-US" sz="900">
                <a:latin typeface="Arial" panose="020B0604020202020204" pitchFamily="34" charset="0"/>
                <a:ea typeface="Verdana" panose="020B0604030504040204" pitchFamily="34" charset="0"/>
                <a:cs typeface="Arial" panose="020B0604020202020204" pitchFamily="34" charset="0"/>
              </a:rPr>
            </a:br>
            <a:br>
              <a:rPr lang="en-US" sz="900">
                <a:latin typeface="Arial" panose="020B0604020202020204" pitchFamily="34" charset="0"/>
                <a:ea typeface="Verdana" panose="020B0604030504040204" pitchFamily="34" charset="0"/>
                <a:cs typeface="Arial" panose="020B0604020202020204" pitchFamily="34" charset="0"/>
              </a:rPr>
            </a:br>
            <a:r>
              <a:rPr lang="en-US" sz="900">
                <a:latin typeface="Arial" panose="020B0604020202020204" pitchFamily="34" charset="0"/>
                <a:ea typeface="Verdana" panose="020B0604030504040204" pitchFamily="34" charset="0"/>
                <a:cs typeface="Arial" panose="020B0604020202020204" pitchFamily="34" charset="0"/>
              </a:rPr>
              <a:t>The content presented in the document and any strategy of Europe IT Consulting GmbH and possible future developments, orientations and functions of products can be changed by Europe IT Consulting GmbH at any time for any reason without prior notice.</a:t>
            </a:r>
            <a:br>
              <a:rPr lang="en-US" sz="900">
                <a:latin typeface="Arial" panose="020B0604020202020204" pitchFamily="34" charset="0"/>
                <a:ea typeface="Verdana" panose="020B0604030504040204" pitchFamily="34" charset="0"/>
                <a:cs typeface="Arial" panose="020B0604020202020204" pitchFamily="34" charset="0"/>
              </a:rPr>
            </a:br>
            <a:br>
              <a:rPr lang="en-US" sz="900">
                <a:latin typeface="Arial" panose="020B0604020202020204" pitchFamily="34" charset="0"/>
                <a:ea typeface="Verdana" panose="020B0604030504040204" pitchFamily="34" charset="0"/>
                <a:cs typeface="Arial" panose="020B0604020202020204" pitchFamily="34" charset="0"/>
              </a:rPr>
            </a:br>
            <a:r>
              <a:rPr lang="en-US" sz="900">
                <a:latin typeface="Arial" panose="020B0604020202020204" pitchFamily="34" charset="0"/>
                <a:ea typeface="Verdana" panose="020B0604030504040204" pitchFamily="34" charset="0"/>
                <a:cs typeface="Arial" panose="020B0604020202020204" pitchFamily="34" charset="0"/>
              </a:rPr>
              <a:t>The information in this document does not constitute a promise, promise or legal obligation to deliver materials, code or features. This document is furnished "as is" without warranty of any kind, either express or implied. This applies in particular with regard to ensuring marketability and suitability for a specific purpose as well as ensuring non-infringement of applicable law. This document is for informational purposes and may not be incorporated into a contract.</a:t>
            </a:r>
            <a:br>
              <a:rPr lang="en-US" sz="900">
                <a:latin typeface="Arial" panose="020B0604020202020204" pitchFamily="34" charset="0"/>
                <a:ea typeface="Verdana" panose="020B0604030504040204" pitchFamily="34" charset="0"/>
                <a:cs typeface="Arial" panose="020B0604020202020204" pitchFamily="34" charset="0"/>
              </a:rPr>
            </a:br>
            <a:br>
              <a:rPr lang="en-US" sz="900">
                <a:latin typeface="Arial" panose="020B0604020202020204" pitchFamily="34" charset="0"/>
                <a:ea typeface="Verdana" panose="020B0604030504040204" pitchFamily="34" charset="0"/>
                <a:cs typeface="Arial" panose="020B0604020202020204" pitchFamily="34" charset="0"/>
              </a:rPr>
            </a:br>
            <a:r>
              <a:rPr lang="en-US" sz="900">
                <a:latin typeface="Arial" panose="020B0604020202020204" pitchFamily="34" charset="0"/>
                <a:ea typeface="Verdana" panose="020B0604030504040204" pitchFamily="34" charset="0"/>
                <a:cs typeface="Arial" panose="020B0604020202020204" pitchFamily="34" charset="0"/>
              </a:rPr>
              <a:t>Europe IT Consulting GmbH assumes no responsibility for errors or omissions in this document.</a:t>
            </a:r>
            <a:endParaRPr lang="de-CH" sz="900">
              <a:latin typeface="Arial" panose="020B0604020202020204" pitchFamily="34" charset="0"/>
              <a:ea typeface="Verdana" panose="020B0604030504040204" pitchFamily="34" charset="0"/>
              <a:cs typeface="Arial" panose="020B0604020202020204" pitchFamily="34" charset="0"/>
            </a:endParaRPr>
          </a:p>
          <a:p>
            <a:pPr algn="l"/>
            <a:endParaRPr lang="de-DE" sz="9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8437804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7_CONTACT SLID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2" name="Objekt 1" hidden="1"/>
                      <p:cNvPicPr/>
                      <p:nvPr/>
                    </p:nvPicPr>
                    <p:blipFill>
                      <a:blip r:embed="rId4"/>
                      <a:stretch>
                        <a:fillRect/>
                      </a:stretch>
                    </p:blipFill>
                    <p:spPr>
                      <a:xfrm>
                        <a:off x="1467" y="1192"/>
                        <a:ext cx="1465" cy="1190"/>
                      </a:xfrm>
                      <a:prstGeom prst="rect">
                        <a:avLst/>
                      </a:prstGeom>
                    </p:spPr>
                  </p:pic>
                </p:oleObj>
              </mc:Fallback>
            </mc:AlternateContent>
          </a:graphicData>
        </a:graphic>
      </p:graphicFrame>
      <p:sp>
        <p:nvSpPr>
          <p:cNvPr id="20" name="Rechteck 19">
            <a:extLst>
              <a:ext uri="{FF2B5EF4-FFF2-40B4-BE49-F238E27FC236}">
                <a16:creationId xmlns:a16="http://schemas.microsoft.com/office/drawing/2014/main" id="{0CE87855-6A3A-403C-B657-440D2E2936AA}"/>
              </a:ext>
            </a:extLst>
          </p:cNvPr>
          <p:cNvSpPr/>
          <p:nvPr userDrawn="1"/>
        </p:nvSpPr>
        <p:spPr>
          <a:xfrm>
            <a:off x="52900" y="0"/>
            <a:ext cx="9091101" cy="51435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Rechteck 22">
            <a:extLst>
              <a:ext uri="{FF2B5EF4-FFF2-40B4-BE49-F238E27FC236}">
                <a16:creationId xmlns:a16="http://schemas.microsoft.com/office/drawing/2014/main" id="{658F5CDD-9CCE-4477-99A9-D107B4AEC46A}"/>
              </a:ext>
            </a:extLst>
          </p:cNvPr>
          <p:cNvSpPr/>
          <p:nvPr userDrawn="1"/>
        </p:nvSpPr>
        <p:spPr>
          <a:xfrm>
            <a:off x="0" y="0"/>
            <a:ext cx="2406316" cy="5143500"/>
          </a:xfrm>
          <a:prstGeom prst="rect">
            <a:avLst/>
          </a:prstGeom>
          <a:solidFill>
            <a:schemeClr val="accent5">
              <a:lumMod val="60000"/>
              <a:lumOff val="4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Rechteck 28">
            <a:extLst>
              <a:ext uri="{FF2B5EF4-FFF2-40B4-BE49-F238E27FC236}">
                <a16:creationId xmlns:a16="http://schemas.microsoft.com/office/drawing/2014/main" id="{A5E0C877-3986-48C1-9513-81F7CE1C0C7A}"/>
              </a:ext>
            </a:extLst>
          </p:cNvPr>
          <p:cNvSpPr/>
          <p:nvPr userDrawn="1"/>
        </p:nvSpPr>
        <p:spPr>
          <a:xfrm>
            <a:off x="0" y="4562978"/>
            <a:ext cx="9144000" cy="580523"/>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Ellipse 3">
            <a:extLst>
              <a:ext uri="{FF2B5EF4-FFF2-40B4-BE49-F238E27FC236}">
                <a16:creationId xmlns:a16="http://schemas.microsoft.com/office/drawing/2014/main" id="{42DE8A66-4F83-4D3B-9271-8C65B82C1634}"/>
              </a:ext>
            </a:extLst>
          </p:cNvPr>
          <p:cNvSpPr/>
          <p:nvPr userDrawn="1"/>
        </p:nvSpPr>
        <p:spPr>
          <a:xfrm>
            <a:off x="454600" y="1374838"/>
            <a:ext cx="1488332" cy="1571078"/>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3" name="Grafik 32" descr="Tageskalender">
            <a:extLst>
              <a:ext uri="{FF2B5EF4-FFF2-40B4-BE49-F238E27FC236}">
                <a16:creationId xmlns:a16="http://schemas.microsoft.com/office/drawing/2014/main" id="{1DC925AB-8107-4E64-B0E2-0BFE4496303A}"/>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20409745">
            <a:off x="1220800" y="1496626"/>
            <a:ext cx="517838" cy="517838"/>
          </a:xfrm>
          <a:prstGeom prst="rect">
            <a:avLst/>
          </a:prstGeom>
        </p:spPr>
      </p:pic>
      <p:pic>
        <p:nvPicPr>
          <p:cNvPr id="34" name="Grafik 33" descr="Wecker">
            <a:extLst>
              <a:ext uri="{FF2B5EF4-FFF2-40B4-BE49-F238E27FC236}">
                <a16:creationId xmlns:a16="http://schemas.microsoft.com/office/drawing/2014/main" id="{757A0778-82E7-478A-821C-C36BCEE9208A}"/>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400594">
            <a:off x="635529" y="1463427"/>
            <a:ext cx="551299" cy="551299"/>
          </a:xfrm>
          <a:prstGeom prst="rect">
            <a:avLst/>
          </a:prstGeom>
        </p:spPr>
      </p:pic>
      <p:pic>
        <p:nvPicPr>
          <p:cNvPr id="38" name="Grafik 37" descr="Zahnräder">
            <a:extLst>
              <a:ext uri="{FF2B5EF4-FFF2-40B4-BE49-F238E27FC236}">
                <a16:creationId xmlns:a16="http://schemas.microsoft.com/office/drawing/2014/main" id="{208C55C6-4AA1-4476-8B7E-E045A28C3618}"/>
              </a:ext>
            </a:extLst>
          </p:cNvPr>
          <p:cNvPicPr>
            <a:picLocks noChangeAspect="1"/>
          </p:cNvPicPr>
          <p:nvPr userDrawn="1"/>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702849">
            <a:off x="1046398" y="1743588"/>
            <a:ext cx="241854" cy="241854"/>
          </a:xfrm>
          <a:prstGeom prst="rect">
            <a:avLst/>
          </a:prstGeom>
        </p:spPr>
      </p:pic>
      <p:pic>
        <p:nvPicPr>
          <p:cNvPr id="40" name="Grafik 39" descr="Geöffnetes Buch">
            <a:extLst>
              <a:ext uri="{FF2B5EF4-FFF2-40B4-BE49-F238E27FC236}">
                <a16:creationId xmlns:a16="http://schemas.microsoft.com/office/drawing/2014/main" id="{F1DB5578-BBC9-4803-99CB-69DA2EC7D10F}"/>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22965" y="1837465"/>
            <a:ext cx="1010355" cy="1010355"/>
          </a:xfrm>
          <a:prstGeom prst="rect">
            <a:avLst/>
          </a:prstGeom>
        </p:spPr>
      </p:pic>
      <p:pic>
        <p:nvPicPr>
          <p:cNvPr id="42" name="Grafik 41" descr="Bleistift">
            <a:extLst>
              <a:ext uri="{FF2B5EF4-FFF2-40B4-BE49-F238E27FC236}">
                <a16:creationId xmlns:a16="http://schemas.microsoft.com/office/drawing/2014/main" id="{091EC474-057F-4113-8D84-99E601493B09}"/>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379559" y="1937575"/>
            <a:ext cx="505176" cy="505176"/>
          </a:xfrm>
          <a:prstGeom prst="rect">
            <a:avLst/>
          </a:prstGeom>
        </p:spPr>
      </p:pic>
      <p:sp>
        <p:nvSpPr>
          <p:cNvPr id="13" name="Textplatzhalter 12">
            <a:extLst>
              <a:ext uri="{FF2B5EF4-FFF2-40B4-BE49-F238E27FC236}">
                <a16:creationId xmlns:a16="http://schemas.microsoft.com/office/drawing/2014/main" id="{8E4D0344-3420-417D-B7C5-428A046C8487}"/>
              </a:ext>
            </a:extLst>
          </p:cNvPr>
          <p:cNvSpPr>
            <a:spLocks noGrp="1"/>
          </p:cNvSpPr>
          <p:nvPr>
            <p:ph type="body" sz="quarter" idx="18" hasCustomPrompt="1"/>
          </p:nvPr>
        </p:nvSpPr>
        <p:spPr>
          <a:xfrm>
            <a:off x="4376532" y="1197318"/>
            <a:ext cx="4515919" cy="269435"/>
          </a:xfrm>
          <a:prstGeom prst="rect">
            <a:avLst/>
          </a:prstGeom>
          <a:noFill/>
          <a:ln>
            <a:noFill/>
          </a:ln>
          <a:effectLst/>
        </p:spPr>
        <p:txBody>
          <a:bodyPr>
            <a:normAutofit/>
          </a:bodyPr>
          <a:lstStyle>
            <a:lvl1pPr marL="0" indent="0">
              <a:buFontTx/>
              <a:buNone/>
              <a:defRPr sz="1200" b="1" baseline="0">
                <a:solidFill>
                  <a:schemeClr val="bg1"/>
                </a:solidFill>
                <a:latin typeface="+mj-lt"/>
                <a:cs typeface="Segoe UI"/>
              </a:defRPr>
            </a:lvl1pPr>
            <a:lvl2pPr marL="457189" indent="0">
              <a:buFontTx/>
              <a:buNone/>
              <a:defRPr sz="1600">
                <a:solidFill>
                  <a:srgbClr val="00254C"/>
                </a:solidFill>
              </a:defRPr>
            </a:lvl2pPr>
            <a:lvl3pPr marL="914378" indent="0">
              <a:buFontTx/>
              <a:buNone/>
              <a:defRPr sz="1600">
                <a:solidFill>
                  <a:srgbClr val="00254C"/>
                </a:solidFill>
              </a:defRPr>
            </a:lvl3pPr>
            <a:lvl4pPr marL="1371566" indent="0">
              <a:buFontTx/>
              <a:buNone/>
              <a:defRPr sz="1600">
                <a:solidFill>
                  <a:srgbClr val="00254C"/>
                </a:solidFill>
              </a:defRPr>
            </a:lvl4pPr>
            <a:lvl5pPr marL="1828754" indent="0">
              <a:buFontTx/>
              <a:buNone/>
              <a:defRPr sz="1600">
                <a:solidFill>
                  <a:srgbClr val="00254C"/>
                </a:solidFill>
              </a:defRPr>
            </a:lvl5pPr>
          </a:lstStyle>
          <a:p>
            <a:pPr lvl="0"/>
            <a:r>
              <a:rPr lang="de-DE" err="1"/>
              <a:t>Headlinemasterformat</a:t>
            </a:r>
            <a:endParaRPr lang="de-DE"/>
          </a:p>
        </p:txBody>
      </p:sp>
      <p:sp>
        <p:nvSpPr>
          <p:cNvPr id="26" name="Textplatzhalter 12">
            <a:extLst>
              <a:ext uri="{FF2B5EF4-FFF2-40B4-BE49-F238E27FC236}">
                <a16:creationId xmlns:a16="http://schemas.microsoft.com/office/drawing/2014/main" id="{FB8D76D8-06A7-4823-95B7-9DC46E24957C}"/>
              </a:ext>
            </a:extLst>
          </p:cNvPr>
          <p:cNvSpPr>
            <a:spLocks noGrp="1"/>
          </p:cNvSpPr>
          <p:nvPr>
            <p:ph type="body" sz="quarter" idx="19" hasCustomPrompt="1"/>
          </p:nvPr>
        </p:nvSpPr>
        <p:spPr>
          <a:xfrm>
            <a:off x="4376531" y="2207925"/>
            <a:ext cx="4515919" cy="269435"/>
          </a:xfrm>
          <a:prstGeom prst="rect">
            <a:avLst/>
          </a:prstGeom>
          <a:noFill/>
          <a:ln>
            <a:noFill/>
          </a:ln>
          <a:effectLst/>
        </p:spPr>
        <p:txBody>
          <a:bodyPr>
            <a:normAutofit/>
          </a:bodyPr>
          <a:lstStyle>
            <a:lvl1pPr marL="0" indent="0">
              <a:buFontTx/>
              <a:buNone/>
              <a:defRPr sz="1200" b="1" baseline="0">
                <a:solidFill>
                  <a:schemeClr val="bg1"/>
                </a:solidFill>
                <a:latin typeface="+mj-lt"/>
                <a:cs typeface="Segoe UI"/>
              </a:defRPr>
            </a:lvl1pPr>
            <a:lvl2pPr marL="457189" indent="0">
              <a:buFontTx/>
              <a:buNone/>
              <a:defRPr sz="1600">
                <a:solidFill>
                  <a:srgbClr val="00254C"/>
                </a:solidFill>
              </a:defRPr>
            </a:lvl2pPr>
            <a:lvl3pPr marL="914378" indent="0">
              <a:buFontTx/>
              <a:buNone/>
              <a:defRPr sz="1600">
                <a:solidFill>
                  <a:srgbClr val="00254C"/>
                </a:solidFill>
              </a:defRPr>
            </a:lvl3pPr>
            <a:lvl4pPr marL="1371566" indent="0">
              <a:buFontTx/>
              <a:buNone/>
              <a:defRPr sz="1600">
                <a:solidFill>
                  <a:srgbClr val="00254C"/>
                </a:solidFill>
              </a:defRPr>
            </a:lvl4pPr>
            <a:lvl5pPr marL="1828754" indent="0">
              <a:buFontTx/>
              <a:buNone/>
              <a:defRPr sz="1600">
                <a:solidFill>
                  <a:srgbClr val="00254C"/>
                </a:solidFill>
              </a:defRPr>
            </a:lvl5pPr>
          </a:lstStyle>
          <a:p>
            <a:pPr lvl="0"/>
            <a:r>
              <a:rPr lang="de-DE" err="1"/>
              <a:t>Headlinemasterformat</a:t>
            </a:r>
            <a:endParaRPr lang="de-DE"/>
          </a:p>
        </p:txBody>
      </p:sp>
      <p:sp>
        <p:nvSpPr>
          <p:cNvPr id="27" name="Textplatzhalter 12">
            <a:extLst>
              <a:ext uri="{FF2B5EF4-FFF2-40B4-BE49-F238E27FC236}">
                <a16:creationId xmlns:a16="http://schemas.microsoft.com/office/drawing/2014/main" id="{FC836166-534E-4B1D-BD6F-316D4BEA4292}"/>
              </a:ext>
            </a:extLst>
          </p:cNvPr>
          <p:cNvSpPr>
            <a:spLocks noGrp="1"/>
          </p:cNvSpPr>
          <p:nvPr>
            <p:ph type="body" sz="quarter" idx="20" hasCustomPrompt="1"/>
          </p:nvPr>
        </p:nvSpPr>
        <p:spPr>
          <a:xfrm>
            <a:off x="4376531" y="3210124"/>
            <a:ext cx="4515919" cy="269435"/>
          </a:xfrm>
          <a:prstGeom prst="rect">
            <a:avLst/>
          </a:prstGeom>
          <a:noFill/>
          <a:ln>
            <a:noFill/>
          </a:ln>
          <a:effectLst/>
        </p:spPr>
        <p:txBody>
          <a:bodyPr>
            <a:normAutofit/>
          </a:bodyPr>
          <a:lstStyle>
            <a:lvl1pPr marL="0" indent="0">
              <a:buFontTx/>
              <a:buNone/>
              <a:defRPr sz="1200" b="1" baseline="0">
                <a:solidFill>
                  <a:schemeClr val="bg1"/>
                </a:solidFill>
                <a:latin typeface="+mj-lt"/>
                <a:cs typeface="Segoe UI"/>
              </a:defRPr>
            </a:lvl1pPr>
            <a:lvl2pPr marL="457189" indent="0">
              <a:buFontTx/>
              <a:buNone/>
              <a:defRPr sz="1600">
                <a:solidFill>
                  <a:srgbClr val="00254C"/>
                </a:solidFill>
              </a:defRPr>
            </a:lvl2pPr>
            <a:lvl3pPr marL="914378" indent="0">
              <a:buFontTx/>
              <a:buNone/>
              <a:defRPr sz="1600">
                <a:solidFill>
                  <a:srgbClr val="00254C"/>
                </a:solidFill>
              </a:defRPr>
            </a:lvl3pPr>
            <a:lvl4pPr marL="1371566" indent="0">
              <a:buFontTx/>
              <a:buNone/>
              <a:defRPr sz="1600">
                <a:solidFill>
                  <a:srgbClr val="00254C"/>
                </a:solidFill>
              </a:defRPr>
            </a:lvl4pPr>
            <a:lvl5pPr marL="1828754" indent="0">
              <a:buFontTx/>
              <a:buNone/>
              <a:defRPr sz="1600">
                <a:solidFill>
                  <a:srgbClr val="00254C"/>
                </a:solidFill>
              </a:defRPr>
            </a:lvl5pPr>
          </a:lstStyle>
          <a:p>
            <a:pPr lvl="0"/>
            <a:r>
              <a:rPr lang="de-DE" err="1"/>
              <a:t>Headlinemasterformat</a:t>
            </a:r>
            <a:endParaRPr lang="de-DE"/>
          </a:p>
        </p:txBody>
      </p:sp>
      <p:sp>
        <p:nvSpPr>
          <p:cNvPr id="28" name="Textplatzhalter 12">
            <a:extLst>
              <a:ext uri="{FF2B5EF4-FFF2-40B4-BE49-F238E27FC236}">
                <a16:creationId xmlns:a16="http://schemas.microsoft.com/office/drawing/2014/main" id="{67879FE3-D1AF-45AB-A42D-C40F917CB845}"/>
              </a:ext>
            </a:extLst>
          </p:cNvPr>
          <p:cNvSpPr>
            <a:spLocks noGrp="1"/>
          </p:cNvSpPr>
          <p:nvPr>
            <p:ph type="body" sz="quarter" idx="21" hasCustomPrompt="1"/>
          </p:nvPr>
        </p:nvSpPr>
        <p:spPr>
          <a:xfrm>
            <a:off x="4376531" y="4238350"/>
            <a:ext cx="4515919" cy="269435"/>
          </a:xfrm>
          <a:prstGeom prst="rect">
            <a:avLst/>
          </a:prstGeom>
          <a:noFill/>
          <a:ln>
            <a:noFill/>
          </a:ln>
          <a:effectLst/>
        </p:spPr>
        <p:txBody>
          <a:bodyPr>
            <a:normAutofit/>
          </a:bodyPr>
          <a:lstStyle>
            <a:lvl1pPr marL="0" indent="0">
              <a:buFontTx/>
              <a:buNone/>
              <a:defRPr sz="1200" b="1" baseline="0">
                <a:solidFill>
                  <a:schemeClr val="bg1"/>
                </a:solidFill>
                <a:latin typeface="+mj-lt"/>
                <a:cs typeface="Segoe UI"/>
              </a:defRPr>
            </a:lvl1pPr>
            <a:lvl2pPr marL="457189" indent="0">
              <a:buFontTx/>
              <a:buNone/>
              <a:defRPr sz="1600">
                <a:solidFill>
                  <a:srgbClr val="00254C"/>
                </a:solidFill>
              </a:defRPr>
            </a:lvl2pPr>
            <a:lvl3pPr marL="914378" indent="0">
              <a:buFontTx/>
              <a:buNone/>
              <a:defRPr sz="1600">
                <a:solidFill>
                  <a:srgbClr val="00254C"/>
                </a:solidFill>
              </a:defRPr>
            </a:lvl3pPr>
            <a:lvl4pPr marL="1371566" indent="0">
              <a:buFontTx/>
              <a:buNone/>
              <a:defRPr sz="1600">
                <a:solidFill>
                  <a:srgbClr val="00254C"/>
                </a:solidFill>
              </a:defRPr>
            </a:lvl4pPr>
            <a:lvl5pPr marL="1828754" indent="0">
              <a:buFontTx/>
              <a:buNone/>
              <a:defRPr sz="1600">
                <a:solidFill>
                  <a:srgbClr val="00254C"/>
                </a:solidFill>
              </a:defRPr>
            </a:lvl5pPr>
          </a:lstStyle>
          <a:p>
            <a:pPr lvl="0"/>
            <a:r>
              <a:rPr lang="de-DE" err="1"/>
              <a:t>Headlinemasterformat</a:t>
            </a:r>
            <a:endParaRPr lang="de-DE"/>
          </a:p>
        </p:txBody>
      </p:sp>
      <p:sp>
        <p:nvSpPr>
          <p:cNvPr id="30" name="Textplatzhalter 12">
            <a:extLst>
              <a:ext uri="{FF2B5EF4-FFF2-40B4-BE49-F238E27FC236}">
                <a16:creationId xmlns:a16="http://schemas.microsoft.com/office/drawing/2014/main" id="{619E3312-04C1-4CCC-91CA-4C88626C416C}"/>
              </a:ext>
            </a:extLst>
          </p:cNvPr>
          <p:cNvSpPr>
            <a:spLocks noGrp="1"/>
          </p:cNvSpPr>
          <p:nvPr>
            <p:ph type="body" sz="quarter" idx="22" hasCustomPrompt="1"/>
          </p:nvPr>
        </p:nvSpPr>
        <p:spPr>
          <a:xfrm>
            <a:off x="4376531" y="1486110"/>
            <a:ext cx="4515919" cy="269435"/>
          </a:xfrm>
          <a:prstGeom prst="rect">
            <a:avLst/>
          </a:prstGeom>
          <a:noFill/>
          <a:ln>
            <a:noFill/>
          </a:ln>
          <a:effectLst/>
        </p:spPr>
        <p:txBody>
          <a:bodyPr>
            <a:normAutofit/>
          </a:bodyPr>
          <a:lstStyle>
            <a:lvl1pPr marL="214313" indent="-214313">
              <a:buFont typeface="Arial" panose="020B0604020202020204" pitchFamily="34" charset="0"/>
              <a:buChar char="•"/>
              <a:defRPr sz="900" b="0" baseline="0">
                <a:solidFill>
                  <a:schemeClr val="bg1"/>
                </a:solidFill>
                <a:latin typeface="+mj-lt"/>
                <a:cs typeface="Segoe UI"/>
              </a:defRPr>
            </a:lvl1pPr>
            <a:lvl2pPr marL="457189" indent="0">
              <a:buFontTx/>
              <a:buNone/>
              <a:defRPr sz="1600">
                <a:solidFill>
                  <a:srgbClr val="00254C"/>
                </a:solidFill>
              </a:defRPr>
            </a:lvl2pPr>
            <a:lvl3pPr marL="914378" indent="0">
              <a:buFontTx/>
              <a:buNone/>
              <a:defRPr sz="1600">
                <a:solidFill>
                  <a:srgbClr val="00254C"/>
                </a:solidFill>
              </a:defRPr>
            </a:lvl3pPr>
            <a:lvl4pPr marL="1371566" indent="0">
              <a:buFontTx/>
              <a:buNone/>
              <a:defRPr sz="1600">
                <a:solidFill>
                  <a:srgbClr val="00254C"/>
                </a:solidFill>
              </a:defRPr>
            </a:lvl4pPr>
            <a:lvl5pPr marL="1828754" indent="0">
              <a:buFontTx/>
              <a:buNone/>
              <a:defRPr sz="1600">
                <a:solidFill>
                  <a:srgbClr val="00254C"/>
                </a:solidFill>
              </a:defRPr>
            </a:lvl5pPr>
          </a:lstStyle>
          <a:p>
            <a:pPr lvl="0"/>
            <a:r>
              <a:rPr lang="de-DE" err="1"/>
              <a:t>Headlinemasterformat</a:t>
            </a:r>
            <a:endParaRPr lang="de-DE"/>
          </a:p>
        </p:txBody>
      </p:sp>
      <p:sp>
        <p:nvSpPr>
          <p:cNvPr id="31" name="Textplatzhalter 12">
            <a:extLst>
              <a:ext uri="{FF2B5EF4-FFF2-40B4-BE49-F238E27FC236}">
                <a16:creationId xmlns:a16="http://schemas.microsoft.com/office/drawing/2014/main" id="{C433CBA0-6264-40B5-ACA5-1EFE482E9053}"/>
              </a:ext>
            </a:extLst>
          </p:cNvPr>
          <p:cNvSpPr>
            <a:spLocks noGrp="1"/>
          </p:cNvSpPr>
          <p:nvPr>
            <p:ph type="body" sz="quarter" idx="23" hasCustomPrompt="1"/>
          </p:nvPr>
        </p:nvSpPr>
        <p:spPr>
          <a:xfrm>
            <a:off x="4376531" y="2482453"/>
            <a:ext cx="4515919" cy="269435"/>
          </a:xfrm>
          <a:prstGeom prst="rect">
            <a:avLst/>
          </a:prstGeom>
          <a:noFill/>
          <a:ln>
            <a:noFill/>
          </a:ln>
          <a:effectLst/>
        </p:spPr>
        <p:txBody>
          <a:bodyPr>
            <a:normAutofit/>
          </a:bodyPr>
          <a:lstStyle>
            <a:lvl1pPr marL="214313" indent="-214313">
              <a:buFont typeface="Arial" panose="020B0604020202020204" pitchFamily="34" charset="0"/>
              <a:buChar char="•"/>
              <a:defRPr sz="900" b="0" baseline="0">
                <a:solidFill>
                  <a:schemeClr val="bg1"/>
                </a:solidFill>
                <a:latin typeface="+mj-lt"/>
                <a:cs typeface="Segoe UI"/>
              </a:defRPr>
            </a:lvl1pPr>
            <a:lvl2pPr marL="457189" indent="0">
              <a:buFontTx/>
              <a:buNone/>
              <a:defRPr sz="1600">
                <a:solidFill>
                  <a:srgbClr val="00254C"/>
                </a:solidFill>
              </a:defRPr>
            </a:lvl2pPr>
            <a:lvl3pPr marL="914378" indent="0">
              <a:buFontTx/>
              <a:buNone/>
              <a:defRPr sz="1600">
                <a:solidFill>
                  <a:srgbClr val="00254C"/>
                </a:solidFill>
              </a:defRPr>
            </a:lvl3pPr>
            <a:lvl4pPr marL="1371566" indent="0">
              <a:buFontTx/>
              <a:buNone/>
              <a:defRPr sz="1600">
                <a:solidFill>
                  <a:srgbClr val="00254C"/>
                </a:solidFill>
              </a:defRPr>
            </a:lvl4pPr>
            <a:lvl5pPr marL="1828754" indent="0">
              <a:buFontTx/>
              <a:buNone/>
              <a:defRPr sz="1600">
                <a:solidFill>
                  <a:srgbClr val="00254C"/>
                </a:solidFill>
              </a:defRPr>
            </a:lvl5pPr>
          </a:lstStyle>
          <a:p>
            <a:pPr lvl="0"/>
            <a:r>
              <a:rPr lang="de-DE" err="1"/>
              <a:t>Headlinemasterformat</a:t>
            </a:r>
            <a:endParaRPr lang="de-DE"/>
          </a:p>
        </p:txBody>
      </p:sp>
      <p:sp>
        <p:nvSpPr>
          <p:cNvPr id="32" name="Textplatzhalter 12">
            <a:extLst>
              <a:ext uri="{FF2B5EF4-FFF2-40B4-BE49-F238E27FC236}">
                <a16:creationId xmlns:a16="http://schemas.microsoft.com/office/drawing/2014/main" id="{AD810A28-6794-4D2C-8BF0-707F5B21AA61}"/>
              </a:ext>
            </a:extLst>
          </p:cNvPr>
          <p:cNvSpPr>
            <a:spLocks noGrp="1"/>
          </p:cNvSpPr>
          <p:nvPr>
            <p:ph type="body" sz="quarter" idx="24" hasCustomPrompt="1"/>
          </p:nvPr>
        </p:nvSpPr>
        <p:spPr>
          <a:xfrm>
            <a:off x="4376530" y="3479560"/>
            <a:ext cx="4515919" cy="269435"/>
          </a:xfrm>
          <a:prstGeom prst="rect">
            <a:avLst/>
          </a:prstGeom>
          <a:noFill/>
          <a:ln>
            <a:noFill/>
          </a:ln>
          <a:effectLst/>
        </p:spPr>
        <p:txBody>
          <a:bodyPr>
            <a:normAutofit/>
          </a:bodyPr>
          <a:lstStyle>
            <a:lvl1pPr marL="214313" indent="-214313">
              <a:buFont typeface="Arial" panose="020B0604020202020204" pitchFamily="34" charset="0"/>
              <a:buChar char="•"/>
              <a:defRPr sz="900" b="0" baseline="0">
                <a:solidFill>
                  <a:schemeClr val="bg1"/>
                </a:solidFill>
                <a:latin typeface="+mj-lt"/>
                <a:cs typeface="Segoe UI"/>
              </a:defRPr>
            </a:lvl1pPr>
            <a:lvl2pPr marL="457189" indent="0">
              <a:buFontTx/>
              <a:buNone/>
              <a:defRPr sz="1600">
                <a:solidFill>
                  <a:srgbClr val="00254C"/>
                </a:solidFill>
              </a:defRPr>
            </a:lvl2pPr>
            <a:lvl3pPr marL="914378" indent="0">
              <a:buFontTx/>
              <a:buNone/>
              <a:defRPr sz="1600">
                <a:solidFill>
                  <a:srgbClr val="00254C"/>
                </a:solidFill>
              </a:defRPr>
            </a:lvl3pPr>
            <a:lvl4pPr marL="1371566" indent="0">
              <a:buFontTx/>
              <a:buNone/>
              <a:defRPr sz="1600">
                <a:solidFill>
                  <a:srgbClr val="00254C"/>
                </a:solidFill>
              </a:defRPr>
            </a:lvl4pPr>
            <a:lvl5pPr marL="1828754" indent="0">
              <a:buFontTx/>
              <a:buNone/>
              <a:defRPr sz="1600">
                <a:solidFill>
                  <a:srgbClr val="00254C"/>
                </a:solidFill>
              </a:defRPr>
            </a:lvl5pPr>
          </a:lstStyle>
          <a:p>
            <a:pPr lvl="0"/>
            <a:r>
              <a:rPr lang="de-DE" err="1"/>
              <a:t>Headlinemasterformat</a:t>
            </a:r>
            <a:endParaRPr lang="de-DE"/>
          </a:p>
        </p:txBody>
      </p:sp>
      <p:sp>
        <p:nvSpPr>
          <p:cNvPr id="35" name="Textplatzhalter 12">
            <a:extLst>
              <a:ext uri="{FF2B5EF4-FFF2-40B4-BE49-F238E27FC236}">
                <a16:creationId xmlns:a16="http://schemas.microsoft.com/office/drawing/2014/main" id="{E173BF0E-1A3B-4FFE-9563-2D2F8AC6A96C}"/>
              </a:ext>
            </a:extLst>
          </p:cNvPr>
          <p:cNvSpPr>
            <a:spLocks noGrp="1"/>
          </p:cNvSpPr>
          <p:nvPr>
            <p:ph type="body" sz="quarter" idx="25" hasCustomPrompt="1"/>
          </p:nvPr>
        </p:nvSpPr>
        <p:spPr>
          <a:xfrm>
            <a:off x="4376530" y="4507785"/>
            <a:ext cx="4515919" cy="269435"/>
          </a:xfrm>
          <a:prstGeom prst="rect">
            <a:avLst/>
          </a:prstGeom>
          <a:noFill/>
          <a:ln>
            <a:noFill/>
          </a:ln>
          <a:effectLst/>
        </p:spPr>
        <p:txBody>
          <a:bodyPr>
            <a:normAutofit/>
          </a:bodyPr>
          <a:lstStyle>
            <a:lvl1pPr marL="214313" indent="-214313">
              <a:buFont typeface="Arial" panose="020B0604020202020204" pitchFamily="34" charset="0"/>
              <a:buChar char="•"/>
              <a:defRPr sz="900" b="0" baseline="0">
                <a:solidFill>
                  <a:schemeClr val="bg1"/>
                </a:solidFill>
                <a:latin typeface="+mj-lt"/>
                <a:cs typeface="Segoe UI"/>
              </a:defRPr>
            </a:lvl1pPr>
            <a:lvl2pPr marL="457189" indent="0">
              <a:buFontTx/>
              <a:buNone/>
              <a:defRPr sz="1600">
                <a:solidFill>
                  <a:srgbClr val="00254C"/>
                </a:solidFill>
              </a:defRPr>
            </a:lvl2pPr>
            <a:lvl3pPr marL="914378" indent="0">
              <a:buFontTx/>
              <a:buNone/>
              <a:defRPr sz="1600">
                <a:solidFill>
                  <a:srgbClr val="00254C"/>
                </a:solidFill>
              </a:defRPr>
            </a:lvl3pPr>
            <a:lvl4pPr marL="1371566" indent="0">
              <a:buFontTx/>
              <a:buNone/>
              <a:defRPr sz="1600">
                <a:solidFill>
                  <a:srgbClr val="00254C"/>
                </a:solidFill>
              </a:defRPr>
            </a:lvl4pPr>
            <a:lvl5pPr marL="1828754" indent="0">
              <a:buFontTx/>
              <a:buNone/>
              <a:defRPr sz="1600">
                <a:solidFill>
                  <a:srgbClr val="00254C"/>
                </a:solidFill>
              </a:defRPr>
            </a:lvl5pPr>
          </a:lstStyle>
          <a:p>
            <a:pPr lvl="0"/>
            <a:r>
              <a:rPr lang="de-DE" err="1"/>
              <a:t>Headlinemasterformat</a:t>
            </a:r>
            <a:endParaRPr lang="de-DE"/>
          </a:p>
        </p:txBody>
      </p:sp>
      <p:pic>
        <p:nvPicPr>
          <p:cNvPr id="21" name="Grafik 20" descr="Ein Bild, das Text enthält.&#10;&#10;Automatisch generierte Beschreibung">
            <a:extLst>
              <a:ext uri="{FF2B5EF4-FFF2-40B4-BE49-F238E27FC236}">
                <a16:creationId xmlns:a16="http://schemas.microsoft.com/office/drawing/2014/main" id="{2F596EC5-DE31-46D1-8541-EBED2985C912}"/>
              </a:ext>
            </a:extLst>
          </p:cNvPr>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219997" y="3945275"/>
            <a:ext cx="2319123" cy="829087"/>
          </a:xfrm>
          <a:prstGeom prst="rect">
            <a:avLst/>
          </a:prstGeom>
        </p:spPr>
      </p:pic>
    </p:spTree>
    <p:extLst>
      <p:ext uri="{BB962C8B-B14F-4D97-AF65-F5344CB8AC3E}">
        <p14:creationId xmlns:p14="http://schemas.microsoft.com/office/powerpoint/2010/main" val="3781093868"/>
      </p:ext>
    </p:extLst>
  </p:cSld>
  <p:clrMapOvr>
    <a:masterClrMapping/>
  </p:clrMapOvr>
  <p:hf sldNum="0" hdr="0" ftr="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6_CONTACT SLID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2" name="Objekt 1" hidden="1"/>
                      <p:cNvPicPr/>
                      <p:nvPr/>
                    </p:nvPicPr>
                    <p:blipFill>
                      <a:blip r:embed="rId4"/>
                      <a:stretch>
                        <a:fillRect/>
                      </a:stretch>
                    </p:blipFill>
                    <p:spPr>
                      <a:xfrm>
                        <a:off x="1466" y="1192"/>
                        <a:ext cx="1465" cy="1190"/>
                      </a:xfrm>
                      <a:prstGeom prst="rect">
                        <a:avLst/>
                      </a:prstGeom>
                    </p:spPr>
                  </p:pic>
                </p:oleObj>
              </mc:Fallback>
            </mc:AlternateContent>
          </a:graphicData>
        </a:graphic>
      </p:graphicFrame>
      <p:sp>
        <p:nvSpPr>
          <p:cNvPr id="20" name="Rechteck 19">
            <a:extLst>
              <a:ext uri="{FF2B5EF4-FFF2-40B4-BE49-F238E27FC236}">
                <a16:creationId xmlns:a16="http://schemas.microsoft.com/office/drawing/2014/main" id="{0CE87855-6A3A-403C-B657-440D2E2936AA}"/>
              </a:ext>
            </a:extLst>
          </p:cNvPr>
          <p:cNvSpPr/>
          <p:nvPr userDrawn="1"/>
        </p:nvSpPr>
        <p:spPr>
          <a:xfrm>
            <a:off x="52899" y="0"/>
            <a:ext cx="9091101" cy="51435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3" name="Rechteck 22">
            <a:extLst>
              <a:ext uri="{FF2B5EF4-FFF2-40B4-BE49-F238E27FC236}">
                <a16:creationId xmlns:a16="http://schemas.microsoft.com/office/drawing/2014/main" id="{658F5CDD-9CCE-4477-99A9-D107B4AEC46A}"/>
              </a:ext>
            </a:extLst>
          </p:cNvPr>
          <p:cNvSpPr/>
          <p:nvPr userDrawn="1"/>
        </p:nvSpPr>
        <p:spPr>
          <a:xfrm>
            <a:off x="0" y="0"/>
            <a:ext cx="2406316" cy="5143500"/>
          </a:xfrm>
          <a:prstGeom prst="rect">
            <a:avLst/>
          </a:prstGeom>
          <a:solidFill>
            <a:schemeClr val="accent5">
              <a:lumMod val="60000"/>
              <a:lumOff val="4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9" name="Rechteck 28">
            <a:extLst>
              <a:ext uri="{FF2B5EF4-FFF2-40B4-BE49-F238E27FC236}">
                <a16:creationId xmlns:a16="http://schemas.microsoft.com/office/drawing/2014/main" id="{A5E0C877-3986-48C1-9513-81F7CE1C0C7A}"/>
              </a:ext>
            </a:extLst>
          </p:cNvPr>
          <p:cNvSpPr/>
          <p:nvPr userDrawn="1"/>
        </p:nvSpPr>
        <p:spPr>
          <a:xfrm>
            <a:off x="0" y="4562977"/>
            <a:ext cx="9144000" cy="580523"/>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4" name="Ellipse 3">
            <a:extLst>
              <a:ext uri="{FF2B5EF4-FFF2-40B4-BE49-F238E27FC236}">
                <a16:creationId xmlns:a16="http://schemas.microsoft.com/office/drawing/2014/main" id="{42DE8A66-4F83-4D3B-9271-8C65B82C1634}"/>
              </a:ext>
            </a:extLst>
          </p:cNvPr>
          <p:cNvSpPr/>
          <p:nvPr userDrawn="1"/>
        </p:nvSpPr>
        <p:spPr>
          <a:xfrm>
            <a:off x="454599" y="1374838"/>
            <a:ext cx="1488332" cy="1571078"/>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3" name="Grafik 32" descr="Tageskalender">
            <a:extLst>
              <a:ext uri="{FF2B5EF4-FFF2-40B4-BE49-F238E27FC236}">
                <a16:creationId xmlns:a16="http://schemas.microsoft.com/office/drawing/2014/main" id="{1DC925AB-8107-4E64-B0E2-0BFE4496303A}"/>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20409745">
            <a:off x="1220799" y="1496626"/>
            <a:ext cx="517838" cy="517838"/>
          </a:xfrm>
          <a:prstGeom prst="rect">
            <a:avLst/>
          </a:prstGeom>
        </p:spPr>
      </p:pic>
      <p:pic>
        <p:nvPicPr>
          <p:cNvPr id="34" name="Grafik 33" descr="Wecker">
            <a:extLst>
              <a:ext uri="{FF2B5EF4-FFF2-40B4-BE49-F238E27FC236}">
                <a16:creationId xmlns:a16="http://schemas.microsoft.com/office/drawing/2014/main" id="{757A0778-82E7-478A-821C-C36BCEE9208A}"/>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400594">
            <a:off x="635528" y="1463426"/>
            <a:ext cx="551299" cy="551299"/>
          </a:xfrm>
          <a:prstGeom prst="rect">
            <a:avLst/>
          </a:prstGeom>
        </p:spPr>
      </p:pic>
      <p:pic>
        <p:nvPicPr>
          <p:cNvPr id="38" name="Grafik 37" descr="Zahnräder">
            <a:extLst>
              <a:ext uri="{FF2B5EF4-FFF2-40B4-BE49-F238E27FC236}">
                <a16:creationId xmlns:a16="http://schemas.microsoft.com/office/drawing/2014/main" id="{208C55C6-4AA1-4476-8B7E-E045A28C3618}"/>
              </a:ext>
            </a:extLst>
          </p:cNvPr>
          <p:cNvPicPr>
            <a:picLocks noChangeAspect="1"/>
          </p:cNvPicPr>
          <p:nvPr userDrawn="1"/>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702849">
            <a:off x="1046398" y="1743588"/>
            <a:ext cx="241854" cy="241854"/>
          </a:xfrm>
          <a:prstGeom prst="rect">
            <a:avLst/>
          </a:prstGeom>
        </p:spPr>
      </p:pic>
      <p:pic>
        <p:nvPicPr>
          <p:cNvPr id="40" name="Grafik 39" descr="Geöffnetes Buch">
            <a:extLst>
              <a:ext uri="{FF2B5EF4-FFF2-40B4-BE49-F238E27FC236}">
                <a16:creationId xmlns:a16="http://schemas.microsoft.com/office/drawing/2014/main" id="{F1DB5578-BBC9-4803-99CB-69DA2EC7D10F}"/>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22964" y="1837464"/>
            <a:ext cx="1010355" cy="1010355"/>
          </a:xfrm>
          <a:prstGeom prst="rect">
            <a:avLst/>
          </a:prstGeom>
        </p:spPr>
      </p:pic>
      <p:pic>
        <p:nvPicPr>
          <p:cNvPr id="42" name="Grafik 41" descr="Bleistift">
            <a:extLst>
              <a:ext uri="{FF2B5EF4-FFF2-40B4-BE49-F238E27FC236}">
                <a16:creationId xmlns:a16="http://schemas.microsoft.com/office/drawing/2014/main" id="{091EC474-057F-4113-8D84-99E601493B09}"/>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379559" y="1937575"/>
            <a:ext cx="505176" cy="505176"/>
          </a:xfrm>
          <a:prstGeom prst="rect">
            <a:avLst/>
          </a:prstGeom>
        </p:spPr>
      </p:pic>
      <p:pic>
        <p:nvPicPr>
          <p:cNvPr id="15" name="Grafik 14" descr="Ein Bild, das Text enthält.&#10;&#10;Automatisch generierte Beschreibung">
            <a:extLst>
              <a:ext uri="{FF2B5EF4-FFF2-40B4-BE49-F238E27FC236}">
                <a16:creationId xmlns:a16="http://schemas.microsoft.com/office/drawing/2014/main" id="{773B3C4B-E957-46E6-BF93-0BB6008B5AD5}"/>
              </a:ext>
            </a:extLst>
          </p:cNvPr>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193171" y="3896620"/>
            <a:ext cx="2372776" cy="848268"/>
          </a:xfrm>
          <a:prstGeom prst="rect">
            <a:avLst/>
          </a:prstGeom>
        </p:spPr>
      </p:pic>
    </p:spTree>
    <p:extLst>
      <p:ext uri="{BB962C8B-B14F-4D97-AF65-F5344CB8AC3E}">
        <p14:creationId xmlns:p14="http://schemas.microsoft.com/office/powerpoint/2010/main" val="425925706"/>
      </p:ext>
    </p:extLst>
  </p:cSld>
  <p:clrMapOvr>
    <a:masterClrMapping/>
  </p:clrMapOvr>
  <p:hf sldNum="0" hdr="0" ftr="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5_CONTACT SLID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2" name="Objekt 1" hidden="1"/>
                      <p:cNvPicPr/>
                      <p:nvPr/>
                    </p:nvPicPr>
                    <p:blipFill>
                      <a:blip r:embed="rId4"/>
                      <a:stretch>
                        <a:fillRect/>
                      </a:stretch>
                    </p:blipFill>
                    <p:spPr>
                      <a:xfrm>
                        <a:off x="1466" y="1192"/>
                        <a:ext cx="1465" cy="1190"/>
                      </a:xfrm>
                      <a:prstGeom prst="rect">
                        <a:avLst/>
                      </a:prstGeom>
                    </p:spPr>
                  </p:pic>
                </p:oleObj>
              </mc:Fallback>
            </mc:AlternateContent>
          </a:graphicData>
        </a:graphic>
      </p:graphicFrame>
      <p:sp>
        <p:nvSpPr>
          <p:cNvPr id="20" name="Rechteck 19">
            <a:extLst>
              <a:ext uri="{FF2B5EF4-FFF2-40B4-BE49-F238E27FC236}">
                <a16:creationId xmlns:a16="http://schemas.microsoft.com/office/drawing/2014/main" id="{0CE87855-6A3A-403C-B657-440D2E2936AA}"/>
              </a:ext>
            </a:extLst>
          </p:cNvPr>
          <p:cNvSpPr/>
          <p:nvPr userDrawn="1"/>
        </p:nvSpPr>
        <p:spPr>
          <a:xfrm>
            <a:off x="52899" y="0"/>
            <a:ext cx="9091101" cy="51435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3" name="Rechteck 22">
            <a:extLst>
              <a:ext uri="{FF2B5EF4-FFF2-40B4-BE49-F238E27FC236}">
                <a16:creationId xmlns:a16="http://schemas.microsoft.com/office/drawing/2014/main" id="{658F5CDD-9CCE-4477-99A9-D107B4AEC46A}"/>
              </a:ext>
            </a:extLst>
          </p:cNvPr>
          <p:cNvSpPr/>
          <p:nvPr userDrawn="1"/>
        </p:nvSpPr>
        <p:spPr>
          <a:xfrm>
            <a:off x="0" y="0"/>
            <a:ext cx="2406316" cy="5143500"/>
          </a:xfrm>
          <a:prstGeom prst="rect">
            <a:avLst/>
          </a:prstGeom>
          <a:solidFill>
            <a:schemeClr val="accent5">
              <a:lumMod val="60000"/>
              <a:lumOff val="4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8" name="Titel 1">
            <a:extLst>
              <a:ext uri="{FF2B5EF4-FFF2-40B4-BE49-F238E27FC236}">
                <a16:creationId xmlns:a16="http://schemas.microsoft.com/office/drawing/2014/main" id="{0665979E-779A-4B94-BBD0-1BD9DFA14CE9}"/>
              </a:ext>
            </a:extLst>
          </p:cNvPr>
          <p:cNvSpPr txBox="1">
            <a:spLocks/>
          </p:cNvSpPr>
          <p:nvPr userDrawn="1"/>
        </p:nvSpPr>
        <p:spPr>
          <a:xfrm>
            <a:off x="2677273" y="766795"/>
            <a:ext cx="6258031" cy="315624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200" b="1" err="1">
                <a:solidFill>
                  <a:schemeClr val="bg1"/>
                </a:solidFill>
                <a:latin typeface="+mj-lt"/>
                <a:cs typeface="Arial" panose="020B0604020202020204" pitchFamily="34" charset="0"/>
              </a:rPr>
              <a:t>Thank</a:t>
            </a:r>
            <a:r>
              <a:rPr lang="de-DE" sz="3200" b="1">
                <a:solidFill>
                  <a:schemeClr val="bg1"/>
                </a:solidFill>
                <a:latin typeface="+mj-lt"/>
                <a:cs typeface="Arial" panose="020B0604020202020204" pitchFamily="34" charset="0"/>
              </a:rPr>
              <a:t> </a:t>
            </a:r>
            <a:r>
              <a:rPr lang="de-DE" sz="3200" b="1" err="1">
                <a:solidFill>
                  <a:schemeClr val="bg1"/>
                </a:solidFill>
                <a:latin typeface="+mj-lt"/>
                <a:cs typeface="Arial" panose="020B0604020202020204" pitchFamily="34" charset="0"/>
              </a:rPr>
              <a:t>you</a:t>
            </a:r>
            <a:r>
              <a:rPr lang="de-DE" sz="3200" b="1">
                <a:solidFill>
                  <a:schemeClr val="bg1"/>
                </a:solidFill>
                <a:latin typeface="+mj-lt"/>
                <a:cs typeface="Arial" panose="020B0604020202020204" pitchFamily="34" charset="0"/>
              </a:rPr>
              <a:t> </a:t>
            </a:r>
            <a:r>
              <a:rPr lang="de-DE" sz="3200" b="1" err="1">
                <a:solidFill>
                  <a:schemeClr val="bg1"/>
                </a:solidFill>
                <a:latin typeface="+mj-lt"/>
                <a:cs typeface="Arial" panose="020B0604020202020204" pitchFamily="34" charset="0"/>
              </a:rPr>
              <a:t>for</a:t>
            </a:r>
            <a:r>
              <a:rPr lang="de-DE" sz="3200" b="1">
                <a:solidFill>
                  <a:schemeClr val="bg1"/>
                </a:solidFill>
                <a:latin typeface="+mj-lt"/>
                <a:cs typeface="Arial" panose="020B0604020202020204" pitchFamily="34" charset="0"/>
              </a:rPr>
              <a:t> </a:t>
            </a:r>
            <a:r>
              <a:rPr lang="de-DE" sz="3200" b="1" err="1">
                <a:solidFill>
                  <a:schemeClr val="bg1"/>
                </a:solidFill>
                <a:latin typeface="+mj-lt"/>
                <a:cs typeface="Arial" panose="020B0604020202020204" pitchFamily="34" charset="0"/>
              </a:rPr>
              <a:t>your</a:t>
            </a:r>
            <a:r>
              <a:rPr lang="de-DE" sz="3200" b="1">
                <a:solidFill>
                  <a:schemeClr val="bg1"/>
                </a:solidFill>
                <a:latin typeface="+mj-lt"/>
                <a:cs typeface="Arial" panose="020B0604020202020204" pitchFamily="34" charset="0"/>
              </a:rPr>
              <a:t> </a:t>
            </a:r>
            <a:r>
              <a:rPr lang="de-DE" sz="3200" b="1" err="1">
                <a:solidFill>
                  <a:schemeClr val="bg1"/>
                </a:solidFill>
                <a:latin typeface="+mj-lt"/>
                <a:cs typeface="Arial" panose="020B0604020202020204" pitchFamily="34" charset="0"/>
              </a:rPr>
              <a:t>attention</a:t>
            </a:r>
            <a:r>
              <a:rPr lang="de-DE" sz="3200" b="1">
                <a:solidFill>
                  <a:schemeClr val="bg1"/>
                </a:solidFill>
                <a:latin typeface="+mj-lt"/>
                <a:cs typeface="Arial" panose="020B0604020202020204" pitchFamily="34" charset="0"/>
              </a:rPr>
              <a:t>!</a:t>
            </a:r>
          </a:p>
          <a:p>
            <a:endParaRPr lang="de-DE" sz="2800">
              <a:solidFill>
                <a:schemeClr val="bg1"/>
              </a:solidFill>
              <a:latin typeface="+mj-lt"/>
              <a:cs typeface="Arial" panose="020B0604020202020204" pitchFamily="34" charset="0"/>
            </a:endParaRPr>
          </a:p>
          <a:p>
            <a:endParaRPr lang="de-DE" sz="2800">
              <a:solidFill>
                <a:schemeClr val="bg1"/>
              </a:solidFill>
              <a:latin typeface="+mj-lt"/>
              <a:cs typeface="Arial" panose="020B0604020202020204" pitchFamily="34" charset="0"/>
            </a:endParaRPr>
          </a:p>
          <a:p>
            <a:r>
              <a:rPr lang="de-DE" sz="2800">
                <a:solidFill>
                  <a:schemeClr val="bg1"/>
                </a:solidFill>
                <a:latin typeface="+mj-lt"/>
                <a:cs typeface="Arial" panose="020B0604020202020204" pitchFamily="34" charset="0"/>
              </a:rPr>
              <a:t>             Do </a:t>
            </a:r>
            <a:r>
              <a:rPr lang="de-DE" sz="2800" err="1">
                <a:solidFill>
                  <a:schemeClr val="bg1"/>
                </a:solidFill>
                <a:latin typeface="+mj-lt"/>
                <a:cs typeface="Arial" panose="020B0604020202020204" pitchFamily="34" charset="0"/>
              </a:rPr>
              <a:t>you</a:t>
            </a:r>
            <a:r>
              <a:rPr lang="de-DE" sz="2800">
                <a:solidFill>
                  <a:schemeClr val="bg1"/>
                </a:solidFill>
                <a:latin typeface="+mj-lt"/>
                <a:cs typeface="Arial" panose="020B0604020202020204" pitchFamily="34" charset="0"/>
              </a:rPr>
              <a:t> </a:t>
            </a:r>
            <a:r>
              <a:rPr lang="de-DE" sz="2800" err="1">
                <a:solidFill>
                  <a:schemeClr val="bg1"/>
                </a:solidFill>
                <a:latin typeface="+mj-lt"/>
                <a:cs typeface="Arial" panose="020B0604020202020204" pitchFamily="34" charset="0"/>
              </a:rPr>
              <a:t>have</a:t>
            </a:r>
            <a:r>
              <a:rPr lang="de-DE" sz="2800">
                <a:solidFill>
                  <a:schemeClr val="bg1"/>
                </a:solidFill>
                <a:latin typeface="+mj-lt"/>
                <a:cs typeface="Arial" panose="020B0604020202020204" pitchFamily="34" charset="0"/>
              </a:rPr>
              <a:t> </a:t>
            </a:r>
            <a:r>
              <a:rPr lang="de-DE" sz="2800" err="1">
                <a:solidFill>
                  <a:schemeClr val="bg1"/>
                </a:solidFill>
                <a:latin typeface="+mj-lt"/>
                <a:cs typeface="Arial" panose="020B0604020202020204" pitchFamily="34" charset="0"/>
              </a:rPr>
              <a:t>any</a:t>
            </a:r>
            <a:r>
              <a:rPr lang="de-DE" sz="2800">
                <a:solidFill>
                  <a:schemeClr val="bg1"/>
                </a:solidFill>
                <a:latin typeface="+mj-lt"/>
                <a:cs typeface="Arial" panose="020B0604020202020204" pitchFamily="34" charset="0"/>
              </a:rPr>
              <a:t> </a:t>
            </a:r>
            <a:r>
              <a:rPr lang="de-DE" sz="2800" err="1">
                <a:solidFill>
                  <a:schemeClr val="bg1"/>
                </a:solidFill>
                <a:latin typeface="+mj-lt"/>
                <a:cs typeface="Arial" panose="020B0604020202020204" pitchFamily="34" charset="0"/>
              </a:rPr>
              <a:t>questions</a:t>
            </a:r>
            <a:r>
              <a:rPr lang="de-DE" sz="2800">
                <a:solidFill>
                  <a:schemeClr val="bg1"/>
                </a:solidFill>
                <a:latin typeface="+mj-lt"/>
                <a:cs typeface="Arial" panose="020B0604020202020204" pitchFamily="34" charset="0"/>
              </a:rPr>
              <a:t>? </a:t>
            </a:r>
          </a:p>
        </p:txBody>
      </p:sp>
      <p:sp>
        <p:nvSpPr>
          <p:cNvPr id="29" name="Rechteck 28">
            <a:extLst>
              <a:ext uri="{FF2B5EF4-FFF2-40B4-BE49-F238E27FC236}">
                <a16:creationId xmlns:a16="http://schemas.microsoft.com/office/drawing/2014/main" id="{A5E0C877-3986-48C1-9513-81F7CE1C0C7A}"/>
              </a:ext>
            </a:extLst>
          </p:cNvPr>
          <p:cNvSpPr/>
          <p:nvPr userDrawn="1"/>
        </p:nvSpPr>
        <p:spPr>
          <a:xfrm>
            <a:off x="0" y="4562977"/>
            <a:ext cx="9144000" cy="580523"/>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4" name="Grafik 3" descr="Kundenbewertung">
            <a:extLst>
              <a:ext uri="{FF2B5EF4-FFF2-40B4-BE49-F238E27FC236}">
                <a16:creationId xmlns:a16="http://schemas.microsoft.com/office/drawing/2014/main" id="{835B4708-F542-476E-895D-48CAB6864967}"/>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534629" y="2492390"/>
            <a:ext cx="2203057" cy="2070587"/>
          </a:xfrm>
          <a:prstGeom prst="rect">
            <a:avLst/>
          </a:prstGeom>
        </p:spPr>
      </p:pic>
      <p:pic>
        <p:nvPicPr>
          <p:cNvPr id="9" name="Grafik 8" descr="Ein Bild, das Text enthält.&#10;&#10;Automatisch generierte Beschreibung">
            <a:extLst>
              <a:ext uri="{FF2B5EF4-FFF2-40B4-BE49-F238E27FC236}">
                <a16:creationId xmlns:a16="http://schemas.microsoft.com/office/drawing/2014/main" id="{6E24CB4C-BE4E-42F6-B9B8-703B5A04B10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68151" y="3923739"/>
            <a:ext cx="2373644" cy="848578"/>
          </a:xfrm>
          <a:prstGeom prst="rect">
            <a:avLst/>
          </a:prstGeom>
        </p:spPr>
      </p:pic>
    </p:spTree>
    <p:extLst>
      <p:ext uri="{BB962C8B-B14F-4D97-AF65-F5344CB8AC3E}">
        <p14:creationId xmlns:p14="http://schemas.microsoft.com/office/powerpoint/2010/main" val="7079706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3_CONTACT SLIDE">
    <p:spTree>
      <p:nvGrpSpPr>
        <p:cNvPr id="1" name=""/>
        <p:cNvGrpSpPr/>
        <p:nvPr/>
      </p:nvGrpSpPr>
      <p:grpSpPr>
        <a:xfrm>
          <a:off x="0" y="0"/>
          <a:ext cx="0" cy="0"/>
          <a:chOff x="0" y="0"/>
          <a:chExt cx="0" cy="0"/>
        </a:xfrm>
      </p:grpSpPr>
      <p:sp>
        <p:nvSpPr>
          <p:cNvPr id="20" name="Rechteck 19">
            <a:extLst>
              <a:ext uri="{FF2B5EF4-FFF2-40B4-BE49-F238E27FC236}">
                <a16:creationId xmlns:a16="http://schemas.microsoft.com/office/drawing/2014/main" id="{20FD1BF7-2FF6-499D-957D-2D2EEC81D157}"/>
              </a:ext>
            </a:extLst>
          </p:cNvPr>
          <p:cNvSpPr/>
          <p:nvPr userDrawn="1"/>
        </p:nvSpPr>
        <p:spPr>
          <a:xfrm>
            <a:off x="52899" y="0"/>
            <a:ext cx="9091101" cy="51435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3" name="Rechteck 22">
            <a:extLst>
              <a:ext uri="{FF2B5EF4-FFF2-40B4-BE49-F238E27FC236}">
                <a16:creationId xmlns:a16="http://schemas.microsoft.com/office/drawing/2014/main" id="{2D679CE4-B799-4793-9592-BF8CD254B935}"/>
              </a:ext>
            </a:extLst>
          </p:cNvPr>
          <p:cNvSpPr/>
          <p:nvPr userDrawn="1"/>
        </p:nvSpPr>
        <p:spPr>
          <a:xfrm>
            <a:off x="0" y="0"/>
            <a:ext cx="2406316" cy="5143500"/>
          </a:xfrm>
          <a:prstGeom prst="rect">
            <a:avLst/>
          </a:prstGeom>
          <a:solidFill>
            <a:schemeClr val="accent5">
              <a:lumMod val="60000"/>
              <a:lumOff val="4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graphicFrame>
        <p:nvGraphicFramePr>
          <p:cNvPr id="2" name="Objekt 1" hidden="1"/>
          <p:cNvGraphicFramePr>
            <a:graphicFrameLocks noChangeAspect="1"/>
          </p:cNvGraphicFramePr>
          <p:nvPr userDrawn="1">
            <p:custDataLst>
              <p:tags r:id="rId1"/>
            </p:custData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2" name="Objekt 1" hidden="1"/>
                      <p:cNvPicPr/>
                      <p:nvPr/>
                    </p:nvPicPr>
                    <p:blipFill>
                      <a:blip r:embed="rId4"/>
                      <a:stretch>
                        <a:fillRect/>
                      </a:stretch>
                    </p:blipFill>
                    <p:spPr>
                      <a:xfrm>
                        <a:off x="1466" y="1192"/>
                        <a:ext cx="1465" cy="1190"/>
                      </a:xfrm>
                      <a:prstGeom prst="rect">
                        <a:avLst/>
                      </a:prstGeom>
                    </p:spPr>
                  </p:pic>
                </p:oleObj>
              </mc:Fallback>
            </mc:AlternateContent>
          </a:graphicData>
        </a:graphic>
      </p:graphicFrame>
      <p:sp>
        <p:nvSpPr>
          <p:cNvPr id="24" name="Rechteck 23">
            <a:extLst>
              <a:ext uri="{FF2B5EF4-FFF2-40B4-BE49-F238E27FC236}">
                <a16:creationId xmlns:a16="http://schemas.microsoft.com/office/drawing/2014/main" id="{0EA64DA9-BCE8-4DCA-B104-2BF8C61D740F}"/>
              </a:ext>
            </a:extLst>
          </p:cNvPr>
          <p:cNvSpPr/>
          <p:nvPr userDrawn="1"/>
        </p:nvSpPr>
        <p:spPr>
          <a:xfrm>
            <a:off x="0" y="4562977"/>
            <a:ext cx="9144000" cy="580523"/>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30" name="Titel 1">
            <a:extLst>
              <a:ext uri="{FF2B5EF4-FFF2-40B4-BE49-F238E27FC236}">
                <a16:creationId xmlns:a16="http://schemas.microsoft.com/office/drawing/2014/main" id="{F03E4B7A-4DEC-4F59-A130-6F28E72BAAAD}"/>
              </a:ext>
            </a:extLst>
          </p:cNvPr>
          <p:cNvSpPr txBox="1">
            <a:spLocks/>
          </p:cNvSpPr>
          <p:nvPr userDrawn="1"/>
        </p:nvSpPr>
        <p:spPr>
          <a:xfrm>
            <a:off x="2646142" y="486217"/>
            <a:ext cx="6258031" cy="662452"/>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200" b="1">
                <a:solidFill>
                  <a:schemeClr val="bg1"/>
                </a:solidFill>
                <a:latin typeface="+mj-lt"/>
                <a:cs typeface="Arial" panose="020B0604020202020204" pitchFamily="34" charset="0"/>
              </a:rPr>
              <a:t>Contact &amp; support  </a:t>
            </a:r>
          </a:p>
          <a:p>
            <a:endParaRPr lang="de-DE" sz="3200" b="1">
              <a:solidFill>
                <a:schemeClr val="bg1"/>
              </a:solidFill>
              <a:latin typeface="+mj-lt"/>
              <a:cs typeface="Arial" panose="020B0604020202020204" pitchFamily="34" charset="0"/>
            </a:endParaRPr>
          </a:p>
          <a:p>
            <a:endParaRPr lang="de-DE" sz="3200" b="1">
              <a:solidFill>
                <a:schemeClr val="bg1"/>
              </a:solidFill>
              <a:latin typeface="+mj-lt"/>
              <a:cs typeface="Arial" panose="020B0604020202020204" pitchFamily="34" charset="0"/>
            </a:endParaRPr>
          </a:p>
          <a:p>
            <a:endParaRPr lang="de-DE" sz="2800" b="1">
              <a:solidFill>
                <a:schemeClr val="bg1"/>
              </a:solidFill>
              <a:latin typeface="+mj-lt"/>
              <a:cs typeface="Arial" panose="020B0604020202020204" pitchFamily="34" charset="0"/>
            </a:endParaRPr>
          </a:p>
          <a:p>
            <a:endParaRPr lang="de-DE" sz="2800">
              <a:solidFill>
                <a:schemeClr val="bg1"/>
              </a:solidFill>
              <a:latin typeface="+mj-lt"/>
              <a:cs typeface="Arial" panose="020B0604020202020204" pitchFamily="34" charset="0"/>
            </a:endParaRPr>
          </a:p>
          <a:p>
            <a:endParaRPr lang="de-DE" sz="2800">
              <a:solidFill>
                <a:schemeClr val="bg1"/>
              </a:solidFill>
              <a:latin typeface="+mj-lt"/>
              <a:cs typeface="Arial" panose="020B0604020202020204" pitchFamily="34" charset="0"/>
            </a:endParaRPr>
          </a:p>
        </p:txBody>
      </p:sp>
      <p:pic>
        <p:nvPicPr>
          <p:cNvPr id="45" name="Grafik 44" descr="Internet">
            <a:hlinkClick r:id="rId5"/>
            <a:extLst>
              <a:ext uri="{FF2B5EF4-FFF2-40B4-BE49-F238E27FC236}">
                <a16:creationId xmlns:a16="http://schemas.microsoft.com/office/drawing/2014/main" id="{BD4C5A34-F9FC-4A7C-A004-3EBE5FB22654}"/>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66992" y="4243868"/>
            <a:ext cx="345914" cy="345914"/>
          </a:xfrm>
          <a:prstGeom prst="rect">
            <a:avLst/>
          </a:prstGeom>
        </p:spPr>
      </p:pic>
      <p:sp>
        <p:nvSpPr>
          <p:cNvPr id="47" name="Rechteck 46">
            <a:extLst>
              <a:ext uri="{FF2B5EF4-FFF2-40B4-BE49-F238E27FC236}">
                <a16:creationId xmlns:a16="http://schemas.microsoft.com/office/drawing/2014/main" id="{9070992D-E80F-415F-9E2E-13802979554E}"/>
              </a:ext>
            </a:extLst>
          </p:cNvPr>
          <p:cNvSpPr/>
          <p:nvPr userDrawn="1"/>
        </p:nvSpPr>
        <p:spPr>
          <a:xfrm>
            <a:off x="3352514" y="4319210"/>
            <a:ext cx="196983" cy="1970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33" name="Picture 9" descr="linkedin - Kostenlose sozialen medien Icons">
            <a:hlinkClick r:id="rId8"/>
            <a:extLst>
              <a:ext uri="{FF2B5EF4-FFF2-40B4-BE49-F238E27FC236}">
                <a16:creationId xmlns:a16="http://schemas.microsoft.com/office/drawing/2014/main" id="{05468F3B-CA20-499B-BBAA-DFDEE4E81D1B}"/>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3339398" y="4307232"/>
            <a:ext cx="226668" cy="226668"/>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1" descr="xing-icon-rund-sgi-gmbh – SGI GmbH">
            <a:hlinkClick r:id="rId10"/>
            <a:extLst>
              <a:ext uri="{FF2B5EF4-FFF2-40B4-BE49-F238E27FC236}">
                <a16:creationId xmlns:a16="http://schemas.microsoft.com/office/drawing/2014/main" id="{FC30EAE8-B2FB-4055-9BDA-4EB7FE8A1971}"/>
              </a:ext>
            </a:extLst>
          </p:cNvPr>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3713033" y="4293164"/>
            <a:ext cx="247322" cy="247322"/>
          </a:xfrm>
          <a:prstGeom prst="rect">
            <a:avLst/>
          </a:prstGeom>
          <a:noFill/>
          <a:extLst>
            <a:ext uri="{909E8E84-426E-40DD-AFC4-6F175D3DCCD1}">
              <a14:hiddenFill xmlns:a14="http://schemas.microsoft.com/office/drawing/2010/main">
                <a:solidFill>
                  <a:srgbClr val="FFFFFF"/>
                </a:solidFill>
              </a14:hiddenFill>
            </a:ext>
          </a:extLst>
        </p:spPr>
      </p:pic>
      <p:pic>
        <p:nvPicPr>
          <p:cNvPr id="1037" name="Picture 13" descr="Youtube Kostenlos Symbol von Simply Styled Icons">
            <a:hlinkClick r:id="rId12"/>
            <a:extLst>
              <a:ext uri="{FF2B5EF4-FFF2-40B4-BE49-F238E27FC236}">
                <a16:creationId xmlns:a16="http://schemas.microsoft.com/office/drawing/2014/main" id="{B53A17A5-2EAD-4E3E-B261-F9AE957CAD36}"/>
              </a:ext>
            </a:extLst>
          </p:cNvPr>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4107322" y="4270010"/>
            <a:ext cx="293630" cy="293630"/>
          </a:xfrm>
          <a:prstGeom prst="rect">
            <a:avLst/>
          </a:prstGeom>
          <a:noFill/>
          <a:extLst>
            <a:ext uri="{909E8E84-426E-40DD-AFC4-6F175D3DCCD1}">
              <a14:hiddenFill xmlns:a14="http://schemas.microsoft.com/office/drawing/2010/main">
                <a:solidFill>
                  <a:srgbClr val="FFFFFF"/>
                </a:solidFill>
              </a14:hiddenFill>
            </a:ext>
          </a:extLst>
        </p:spPr>
      </p:pic>
      <p:sp>
        <p:nvSpPr>
          <p:cNvPr id="53" name="Titel 1">
            <a:extLst>
              <a:ext uri="{FF2B5EF4-FFF2-40B4-BE49-F238E27FC236}">
                <a16:creationId xmlns:a16="http://schemas.microsoft.com/office/drawing/2014/main" id="{7BFAD3D3-9F66-446A-9735-08953E461700}"/>
              </a:ext>
            </a:extLst>
          </p:cNvPr>
          <p:cNvSpPr txBox="1">
            <a:spLocks/>
          </p:cNvSpPr>
          <p:nvPr userDrawn="1"/>
        </p:nvSpPr>
        <p:spPr>
          <a:xfrm>
            <a:off x="2767780" y="3949146"/>
            <a:ext cx="5998432" cy="29363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en-US" sz="1000" b="0">
                <a:solidFill>
                  <a:schemeClr val="bg1"/>
                </a:solidFill>
                <a:latin typeface="+mj-lt"/>
                <a:cs typeface="Arial" panose="020B0604020202020204" pitchFamily="34" charset="0"/>
              </a:rPr>
              <a:t>For more information about Europe IT Consulting GmbH, visit us on our social channels: </a:t>
            </a:r>
            <a:endParaRPr lang="de-DE" sz="1000" b="1">
              <a:solidFill>
                <a:schemeClr val="bg1"/>
              </a:solidFill>
              <a:latin typeface="+mj-lt"/>
              <a:cs typeface="Arial" panose="020B0604020202020204" pitchFamily="34" charset="0"/>
            </a:endParaRPr>
          </a:p>
        </p:txBody>
      </p:sp>
      <p:sp>
        <p:nvSpPr>
          <p:cNvPr id="27" name="Titel 1">
            <a:extLst>
              <a:ext uri="{FF2B5EF4-FFF2-40B4-BE49-F238E27FC236}">
                <a16:creationId xmlns:a16="http://schemas.microsoft.com/office/drawing/2014/main" id="{2D950E90-BAE0-4656-88C9-3A3B738FC604}"/>
              </a:ext>
            </a:extLst>
          </p:cNvPr>
          <p:cNvSpPr txBox="1">
            <a:spLocks/>
          </p:cNvSpPr>
          <p:nvPr userDrawn="1"/>
        </p:nvSpPr>
        <p:spPr>
          <a:xfrm>
            <a:off x="3289635" y="1861251"/>
            <a:ext cx="2959912" cy="23243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1200" b="1">
                <a:solidFill>
                  <a:schemeClr val="bg1"/>
                </a:solidFill>
                <a:latin typeface="+mj-lt"/>
                <a:cs typeface="Arial" panose="020B0604020202020204" pitchFamily="34" charset="0"/>
              </a:rPr>
              <a:t>General </a:t>
            </a:r>
            <a:r>
              <a:rPr lang="de-DE" sz="1200" b="1" err="1">
                <a:solidFill>
                  <a:schemeClr val="bg1"/>
                </a:solidFill>
                <a:latin typeface="+mj-lt"/>
                <a:cs typeface="Arial" panose="020B0604020202020204" pitchFamily="34" charset="0"/>
              </a:rPr>
              <a:t>informationen</a:t>
            </a:r>
            <a:r>
              <a:rPr lang="de-DE" sz="1200" b="1">
                <a:solidFill>
                  <a:schemeClr val="bg1"/>
                </a:solidFill>
                <a:latin typeface="+mj-lt"/>
                <a:cs typeface="Arial" panose="020B0604020202020204" pitchFamily="34" charset="0"/>
              </a:rPr>
              <a:t> &amp;  support </a:t>
            </a:r>
          </a:p>
        </p:txBody>
      </p:sp>
      <p:sp>
        <p:nvSpPr>
          <p:cNvPr id="29" name="Titel 1">
            <a:extLst>
              <a:ext uri="{FF2B5EF4-FFF2-40B4-BE49-F238E27FC236}">
                <a16:creationId xmlns:a16="http://schemas.microsoft.com/office/drawing/2014/main" id="{A188F3D3-A5F1-4E3D-B4FE-D99F88F08D7F}"/>
              </a:ext>
            </a:extLst>
          </p:cNvPr>
          <p:cNvSpPr txBox="1">
            <a:spLocks/>
          </p:cNvSpPr>
          <p:nvPr userDrawn="1"/>
        </p:nvSpPr>
        <p:spPr>
          <a:xfrm>
            <a:off x="3289635" y="2116177"/>
            <a:ext cx="2959912" cy="727842"/>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de-DE" sz="1000" b="0">
                <a:solidFill>
                  <a:schemeClr val="bg1"/>
                </a:solidFill>
                <a:latin typeface="+mj-lt"/>
                <a:cs typeface="Arial" panose="020B0604020202020204" pitchFamily="34" charset="0"/>
                <a:hlinkClick r:id="rId14"/>
              </a:rPr>
              <a:t>support@europe-it-consulting.ch</a:t>
            </a:r>
            <a:r>
              <a:rPr lang="de-DE" sz="1000" b="0">
                <a:solidFill>
                  <a:schemeClr val="bg1"/>
                </a:solidFill>
                <a:latin typeface="+mj-lt"/>
                <a:cs typeface="Arial" panose="020B0604020202020204" pitchFamily="34" charset="0"/>
              </a:rPr>
              <a:t>  </a:t>
            </a:r>
          </a:p>
          <a:p>
            <a:pPr>
              <a:lnSpc>
                <a:spcPct val="100000"/>
              </a:lnSpc>
            </a:pPr>
            <a:r>
              <a:rPr lang="fr-FR" sz="1000" b="0">
                <a:solidFill>
                  <a:schemeClr val="bg1"/>
                </a:solidFill>
                <a:latin typeface="+mj-lt"/>
                <a:cs typeface="Arial" panose="020B0604020202020204" pitchFamily="34" charset="0"/>
              </a:rPr>
              <a:t>Phone  +41 61 / 511 92 50</a:t>
            </a:r>
          </a:p>
          <a:p>
            <a:pPr>
              <a:lnSpc>
                <a:spcPct val="100000"/>
              </a:lnSpc>
            </a:pPr>
            <a:r>
              <a:rPr lang="fr-FR" sz="1000" b="0">
                <a:solidFill>
                  <a:schemeClr val="bg1"/>
                </a:solidFill>
                <a:latin typeface="+mj-lt"/>
                <a:cs typeface="Arial" panose="020B0604020202020204" pitchFamily="34" charset="0"/>
                <a:hlinkClick r:id="rId5"/>
              </a:rPr>
              <a:t>https://www.europe-it-consulting.ch</a:t>
            </a:r>
            <a:endParaRPr lang="fr-FR" sz="1000" b="0">
              <a:solidFill>
                <a:schemeClr val="bg1"/>
              </a:solidFill>
              <a:latin typeface="+mj-lt"/>
              <a:cs typeface="Arial" panose="020B0604020202020204" pitchFamily="34" charset="0"/>
            </a:endParaRPr>
          </a:p>
          <a:p>
            <a:pPr>
              <a:lnSpc>
                <a:spcPct val="100000"/>
              </a:lnSpc>
            </a:pPr>
            <a:r>
              <a:rPr lang="de-DE" sz="1000" b="0">
                <a:solidFill>
                  <a:schemeClr val="bg1"/>
                </a:solidFill>
                <a:latin typeface="+mj-lt"/>
                <a:cs typeface="Arial" panose="020B0604020202020204" pitchFamily="34" charset="0"/>
              </a:rPr>
              <a:t>Steinentorstrasse 35, 4051 Basel, CH</a:t>
            </a:r>
          </a:p>
          <a:p>
            <a:pPr>
              <a:lnSpc>
                <a:spcPct val="100000"/>
              </a:lnSpc>
            </a:pPr>
            <a:r>
              <a:rPr lang="fr-FR" sz="1000" b="0">
                <a:solidFill>
                  <a:schemeClr val="bg1"/>
                </a:solidFill>
                <a:latin typeface="+mj-lt"/>
                <a:cs typeface="Arial" panose="020B0604020202020204" pitchFamily="34" charset="0"/>
              </a:rPr>
              <a:t> </a:t>
            </a:r>
          </a:p>
          <a:p>
            <a:pPr>
              <a:lnSpc>
                <a:spcPct val="100000"/>
              </a:lnSpc>
            </a:pPr>
            <a:endParaRPr lang="fr-FR" sz="1000" b="0">
              <a:solidFill>
                <a:schemeClr val="bg1"/>
              </a:solidFill>
              <a:latin typeface="+mj-lt"/>
              <a:cs typeface="Arial" panose="020B0604020202020204" pitchFamily="34" charset="0"/>
            </a:endParaRPr>
          </a:p>
          <a:p>
            <a:endParaRPr lang="de-DE" sz="1000" b="1">
              <a:solidFill>
                <a:schemeClr val="bg1"/>
              </a:solidFill>
              <a:latin typeface="+mj-lt"/>
              <a:cs typeface="Arial" panose="020B0604020202020204" pitchFamily="34" charset="0"/>
            </a:endParaRPr>
          </a:p>
        </p:txBody>
      </p:sp>
      <p:pic>
        <p:nvPicPr>
          <p:cNvPr id="36" name="Grafik 35" descr="Umschlag">
            <a:extLst>
              <a:ext uri="{FF2B5EF4-FFF2-40B4-BE49-F238E27FC236}">
                <a16:creationId xmlns:a16="http://schemas.microsoft.com/office/drawing/2014/main" id="{37560E2A-B788-4D3F-A37E-B8C841B74171}"/>
              </a:ext>
            </a:extLst>
          </p:cNvPr>
          <p:cNvPicPr>
            <a:picLocks noChangeAspect="1"/>
          </p:cNvPicPr>
          <p:nvPr userDrawn="1"/>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3130368" y="2164244"/>
            <a:ext cx="165075" cy="165075"/>
          </a:xfrm>
          <a:prstGeom prst="rect">
            <a:avLst/>
          </a:prstGeom>
        </p:spPr>
      </p:pic>
      <p:pic>
        <p:nvPicPr>
          <p:cNvPr id="37" name="Grafik 36" descr="Telefon">
            <a:extLst>
              <a:ext uri="{FF2B5EF4-FFF2-40B4-BE49-F238E27FC236}">
                <a16:creationId xmlns:a16="http://schemas.microsoft.com/office/drawing/2014/main" id="{CF824D6C-A95E-47A2-998A-B5869C6C2E63}"/>
              </a:ext>
            </a:extLst>
          </p:cNvPr>
          <p:cNvPicPr>
            <a:picLocks noChangeAspect="1"/>
          </p:cNvPicPr>
          <p:nvPr userDrawn="1"/>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3129537" y="2315063"/>
            <a:ext cx="160930" cy="160930"/>
          </a:xfrm>
          <a:prstGeom prst="rect">
            <a:avLst/>
          </a:prstGeom>
        </p:spPr>
      </p:pic>
      <p:pic>
        <p:nvPicPr>
          <p:cNvPr id="42" name="Grafik 41" descr="Internet">
            <a:hlinkClick r:id="rId5"/>
            <a:extLst>
              <a:ext uri="{FF2B5EF4-FFF2-40B4-BE49-F238E27FC236}">
                <a16:creationId xmlns:a16="http://schemas.microsoft.com/office/drawing/2014/main" id="{7EFAD8F3-1333-463C-8A94-A67A75887C4F}"/>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3129537" y="2467963"/>
            <a:ext cx="178286" cy="178286"/>
          </a:xfrm>
          <a:prstGeom prst="rect">
            <a:avLst/>
          </a:prstGeom>
        </p:spPr>
      </p:pic>
      <p:pic>
        <p:nvPicPr>
          <p:cNvPr id="5" name="Grafik 4" descr="Zuhause">
            <a:extLst>
              <a:ext uri="{FF2B5EF4-FFF2-40B4-BE49-F238E27FC236}">
                <a16:creationId xmlns:a16="http://schemas.microsoft.com/office/drawing/2014/main" id="{3B215D8A-9446-4C62-8250-966494401431}"/>
              </a:ext>
            </a:extLst>
          </p:cNvPr>
          <p:cNvPicPr>
            <a:picLocks noChangeAspect="1"/>
          </p:cNvPicPr>
          <p:nvPr userDrawn="1"/>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3140003" y="2611903"/>
            <a:ext cx="157354" cy="157354"/>
          </a:xfrm>
          <a:prstGeom prst="rect">
            <a:avLst/>
          </a:prstGeom>
        </p:spPr>
      </p:pic>
      <p:pic>
        <p:nvPicPr>
          <p:cNvPr id="21" name="Grafik 20" descr="Ein Bild, das Text enthält.&#10;&#10;Automatisch generierte Beschreibung">
            <a:extLst>
              <a:ext uri="{FF2B5EF4-FFF2-40B4-BE49-F238E27FC236}">
                <a16:creationId xmlns:a16="http://schemas.microsoft.com/office/drawing/2014/main" id="{EABD490A-54B5-4F9E-9C12-600AEAD30E80}"/>
              </a:ext>
            </a:extLst>
          </p:cNvPr>
          <p:cNvPicPr>
            <a:picLocks noChangeAspect="1"/>
          </p:cNvPicPr>
          <p:nvPr userDrawn="1"/>
        </p:nvPicPr>
        <p:blipFill>
          <a:blip r:embed="rId22">
            <a:extLst>
              <a:ext uri="{28A0092B-C50C-407E-A947-70E740481C1C}">
                <a14:useLocalDpi xmlns:a14="http://schemas.microsoft.com/office/drawing/2010/main" val="0"/>
              </a:ext>
            </a:extLst>
          </a:blip>
          <a:stretch>
            <a:fillRect/>
          </a:stretch>
        </p:blipFill>
        <p:spPr>
          <a:xfrm>
            <a:off x="291662" y="3949146"/>
            <a:ext cx="2285373" cy="817022"/>
          </a:xfrm>
          <a:prstGeom prst="rect">
            <a:avLst/>
          </a:prstGeom>
        </p:spPr>
      </p:pic>
    </p:spTree>
    <p:extLst>
      <p:ext uri="{BB962C8B-B14F-4D97-AF65-F5344CB8AC3E}">
        <p14:creationId xmlns:p14="http://schemas.microsoft.com/office/powerpoint/2010/main" val="32739185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7_Titel und Inhalt">
    <p:bg>
      <p:bgPr>
        <a:solidFill>
          <a:schemeClr val="bg1">
            <a:alpha val="99000"/>
          </a:schemeClr>
        </a:solidFill>
        <a:effectLst/>
      </p:bgPr>
    </p:bg>
    <p:spTree>
      <p:nvGrpSpPr>
        <p:cNvPr id="1" name=""/>
        <p:cNvGrpSpPr/>
        <p:nvPr/>
      </p:nvGrpSpPr>
      <p:grpSpPr>
        <a:xfrm>
          <a:off x="0" y="0"/>
          <a:ext cx="0" cy="0"/>
          <a:chOff x="0" y="0"/>
          <a:chExt cx="0" cy="0"/>
        </a:xfrm>
      </p:grpSpPr>
      <p:sp>
        <p:nvSpPr>
          <p:cNvPr id="6" name="Titel 1">
            <a:extLst>
              <a:ext uri="{FF2B5EF4-FFF2-40B4-BE49-F238E27FC236}">
                <a16:creationId xmlns:a16="http://schemas.microsoft.com/office/drawing/2014/main" id="{6B02AA6E-EFCB-444E-B396-472018602837}"/>
              </a:ext>
            </a:extLst>
          </p:cNvPr>
          <p:cNvSpPr>
            <a:spLocks noGrp="1"/>
          </p:cNvSpPr>
          <p:nvPr>
            <p:ph type="title"/>
          </p:nvPr>
        </p:nvSpPr>
        <p:spPr>
          <a:xfrm>
            <a:off x="269393" y="78770"/>
            <a:ext cx="7907189" cy="330545"/>
          </a:xfrm>
        </p:spPr>
        <p:txBody>
          <a:bodyPr/>
          <a:lstStyle/>
          <a:p>
            <a:r>
              <a:rPr lang="de-DE"/>
              <a:t>Mastertitelformat bearbeiten</a:t>
            </a:r>
          </a:p>
        </p:txBody>
      </p:sp>
      <p:sp>
        <p:nvSpPr>
          <p:cNvPr id="8" name="Textplatzhalter 2">
            <a:extLst>
              <a:ext uri="{FF2B5EF4-FFF2-40B4-BE49-F238E27FC236}">
                <a16:creationId xmlns:a16="http://schemas.microsoft.com/office/drawing/2014/main" id="{FCCB206A-1213-4726-AD1B-1F877EF928E8}"/>
              </a:ext>
            </a:extLst>
          </p:cNvPr>
          <p:cNvSpPr>
            <a:spLocks noGrp="1"/>
          </p:cNvSpPr>
          <p:nvPr>
            <p:ph idx="1"/>
          </p:nvPr>
        </p:nvSpPr>
        <p:spPr>
          <a:xfrm>
            <a:off x="628650" y="1226170"/>
            <a:ext cx="7886700" cy="3168709"/>
          </a:xfrm>
          <a:prstGeom prst="rect">
            <a:avLst/>
          </a:prstGeom>
        </p:spPr>
        <p:txBody>
          <a:bodyPr vert="horz" lIns="91440" tIns="45720" rIns="91440" bIns="45720" rtlCol="0">
            <a:normAutofit/>
          </a:bodyPr>
          <a:lstStyle>
            <a:lvl1pPr>
              <a:defRPr sz="1200">
                <a:latin typeface="Arial" panose="020B0604020202020204" pitchFamily="34" charset="0"/>
                <a:cs typeface="Arial" panose="020B0604020202020204" pitchFamily="34" charset="0"/>
              </a:defRPr>
            </a:lvl1pPr>
            <a:lvl2pPr>
              <a:defRPr sz="1200">
                <a:latin typeface="Arial" panose="020B0604020202020204" pitchFamily="34" charset="0"/>
                <a:cs typeface="Arial" panose="020B0604020202020204" pitchFamily="34" charset="0"/>
              </a:defRPr>
            </a:lvl2pPr>
            <a:lvl3pPr>
              <a:defRPr sz="12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200">
                <a:latin typeface="Arial" panose="020B0604020202020204" pitchFamily="34" charset="0"/>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31368694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8_Titel und Inhalt">
    <p:bg>
      <p:bgPr>
        <a:solidFill>
          <a:schemeClr val="bg1">
            <a:alpha val="99000"/>
          </a:schemeClr>
        </a:solidFill>
        <a:effectLst/>
      </p:bgPr>
    </p:bg>
    <p:spTree>
      <p:nvGrpSpPr>
        <p:cNvPr id="1" name=""/>
        <p:cNvGrpSpPr/>
        <p:nvPr/>
      </p:nvGrpSpPr>
      <p:grpSpPr>
        <a:xfrm>
          <a:off x="0" y="0"/>
          <a:ext cx="0" cy="0"/>
          <a:chOff x="0" y="0"/>
          <a:chExt cx="0" cy="0"/>
        </a:xfrm>
      </p:grpSpPr>
      <p:sp>
        <p:nvSpPr>
          <p:cNvPr id="6" name="Titel 1">
            <a:extLst>
              <a:ext uri="{FF2B5EF4-FFF2-40B4-BE49-F238E27FC236}">
                <a16:creationId xmlns:a16="http://schemas.microsoft.com/office/drawing/2014/main" id="{6B02AA6E-EFCB-444E-B396-472018602837}"/>
              </a:ext>
            </a:extLst>
          </p:cNvPr>
          <p:cNvSpPr>
            <a:spLocks noGrp="1"/>
          </p:cNvSpPr>
          <p:nvPr>
            <p:ph type="title"/>
          </p:nvPr>
        </p:nvSpPr>
        <p:spPr>
          <a:xfrm>
            <a:off x="269393" y="78770"/>
            <a:ext cx="7907189" cy="330545"/>
          </a:xfrm>
        </p:spPr>
        <p:txBody>
          <a:bodyPr/>
          <a:lstStyle/>
          <a:p>
            <a:r>
              <a:rPr lang="de-DE"/>
              <a:t>Mastertitelformat bearbeiten</a:t>
            </a:r>
          </a:p>
        </p:txBody>
      </p:sp>
      <p:sp>
        <p:nvSpPr>
          <p:cNvPr id="8" name="Textplatzhalter 2">
            <a:extLst>
              <a:ext uri="{FF2B5EF4-FFF2-40B4-BE49-F238E27FC236}">
                <a16:creationId xmlns:a16="http://schemas.microsoft.com/office/drawing/2014/main" id="{FCCB206A-1213-4726-AD1B-1F877EF928E8}"/>
              </a:ext>
            </a:extLst>
          </p:cNvPr>
          <p:cNvSpPr>
            <a:spLocks noGrp="1"/>
          </p:cNvSpPr>
          <p:nvPr>
            <p:ph idx="1"/>
          </p:nvPr>
        </p:nvSpPr>
        <p:spPr>
          <a:xfrm>
            <a:off x="628650" y="1226170"/>
            <a:ext cx="7886700" cy="3168709"/>
          </a:xfrm>
          <a:prstGeom prst="rect">
            <a:avLst/>
          </a:prstGeom>
        </p:spPr>
        <p:txBody>
          <a:bodyPr vert="horz" lIns="91440" tIns="45720" rIns="91440" bIns="45720" rtlCol="0">
            <a:normAutofit/>
          </a:bodyPr>
          <a:lstStyle>
            <a:lvl1pPr marL="0" indent="0">
              <a:buNone/>
              <a:defRPr sz="1200">
                <a:latin typeface="Arial" panose="020B0604020202020204" pitchFamily="34" charset="0"/>
                <a:cs typeface="Arial" panose="020B0604020202020204" pitchFamily="34" charset="0"/>
              </a:defRPr>
            </a:lvl1pPr>
            <a:lvl2pPr marL="257169" indent="0">
              <a:buNone/>
              <a:defRPr sz="1200">
                <a:latin typeface="Arial" panose="020B0604020202020204" pitchFamily="34" charset="0"/>
                <a:cs typeface="Arial" panose="020B0604020202020204" pitchFamily="34" charset="0"/>
              </a:defRPr>
            </a:lvl2pPr>
            <a:lvl3pPr marL="514337" indent="0">
              <a:buNone/>
              <a:defRPr sz="1200">
                <a:latin typeface="Arial" panose="020B0604020202020204" pitchFamily="34" charset="0"/>
                <a:cs typeface="Arial" panose="020B0604020202020204" pitchFamily="34" charset="0"/>
              </a:defRPr>
            </a:lvl3pPr>
            <a:lvl4pPr marL="771506" indent="0">
              <a:buNone/>
              <a:defRPr sz="1200">
                <a:latin typeface="Arial" panose="020B0604020202020204" pitchFamily="34" charset="0"/>
                <a:cs typeface="Arial" panose="020B0604020202020204" pitchFamily="34" charset="0"/>
              </a:defRPr>
            </a:lvl4pPr>
            <a:lvl5pPr marL="1028674" indent="0">
              <a:buNone/>
              <a:defRPr sz="1200">
                <a:latin typeface="Arial" panose="020B0604020202020204" pitchFamily="34" charset="0"/>
                <a:cs typeface="Arial" panose="020B0604020202020204" pitchFamily="34" charset="0"/>
              </a:defRPr>
            </a:lvl5pPr>
          </a:lstStyle>
          <a:p>
            <a:pPr lvl="0"/>
            <a:r>
              <a:rPr lang="de-DE"/>
              <a:t>Mastertextformat bearbeiten</a:t>
            </a:r>
          </a:p>
        </p:txBody>
      </p:sp>
    </p:spTree>
    <p:extLst>
      <p:ext uri="{BB962C8B-B14F-4D97-AF65-F5344CB8AC3E}">
        <p14:creationId xmlns:p14="http://schemas.microsoft.com/office/powerpoint/2010/main" val="2175843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ergleich">
    <p:spTree>
      <p:nvGrpSpPr>
        <p:cNvPr id="1" name=""/>
        <p:cNvGrpSpPr/>
        <p:nvPr/>
      </p:nvGrpSpPr>
      <p:grpSpPr>
        <a:xfrm>
          <a:off x="0" y="0"/>
          <a:ext cx="0" cy="0"/>
          <a:chOff x="0" y="0"/>
          <a:chExt cx="0" cy="0"/>
        </a:xfrm>
      </p:grpSpPr>
      <p:sp>
        <p:nvSpPr>
          <p:cNvPr id="15" name="Textplatzhalter 12"/>
          <p:cNvSpPr>
            <a:spLocks noGrp="1"/>
          </p:cNvSpPr>
          <p:nvPr>
            <p:ph type="body" sz="quarter" idx="18" hasCustomPrompt="1"/>
          </p:nvPr>
        </p:nvSpPr>
        <p:spPr>
          <a:xfrm>
            <a:off x="211318" y="855270"/>
            <a:ext cx="4176464" cy="269435"/>
          </a:xfrm>
          <a:prstGeom prst="rect">
            <a:avLst/>
          </a:prstGeom>
          <a:noFill/>
          <a:ln>
            <a:noFill/>
          </a:ln>
          <a:effectLst/>
        </p:spPr>
        <p:txBody>
          <a:bodyPr>
            <a:noAutofit/>
          </a:bodyPr>
          <a:lstStyle>
            <a:lvl1pPr marL="0" indent="0">
              <a:buFontTx/>
              <a:buNone/>
              <a:defRPr sz="1400" b="1" baseline="0">
                <a:solidFill>
                  <a:schemeClr val="tx1"/>
                </a:solidFill>
                <a:latin typeface="Arial" panose="020B0604020202020204" pitchFamily="34" charset="0"/>
                <a:cs typeface="Arial" panose="020B0604020202020204" pitchFamily="34" charset="0"/>
              </a:defRPr>
            </a:lvl1pPr>
            <a:lvl2pPr marL="457189" indent="0">
              <a:buFontTx/>
              <a:buNone/>
              <a:defRPr sz="1600">
                <a:solidFill>
                  <a:srgbClr val="00254C"/>
                </a:solidFill>
              </a:defRPr>
            </a:lvl2pPr>
            <a:lvl3pPr marL="914378" indent="0">
              <a:buFontTx/>
              <a:buNone/>
              <a:defRPr sz="1600">
                <a:solidFill>
                  <a:srgbClr val="00254C"/>
                </a:solidFill>
              </a:defRPr>
            </a:lvl3pPr>
            <a:lvl4pPr marL="1371566" indent="0">
              <a:buFontTx/>
              <a:buNone/>
              <a:defRPr sz="1600">
                <a:solidFill>
                  <a:srgbClr val="00254C"/>
                </a:solidFill>
              </a:defRPr>
            </a:lvl4pPr>
            <a:lvl5pPr marL="1828754" indent="0">
              <a:buFontTx/>
              <a:buNone/>
              <a:defRPr sz="1600">
                <a:solidFill>
                  <a:srgbClr val="00254C"/>
                </a:solidFill>
              </a:defRPr>
            </a:lvl5pPr>
          </a:lstStyle>
          <a:p>
            <a:pPr lvl="0"/>
            <a:r>
              <a:rPr lang="de-DE" err="1"/>
              <a:t>Headlinemasterformat</a:t>
            </a:r>
            <a:r>
              <a:rPr lang="de-DE"/>
              <a:t> bearbeiten</a:t>
            </a:r>
          </a:p>
        </p:txBody>
      </p:sp>
      <p:sp>
        <p:nvSpPr>
          <p:cNvPr id="17" name="Textplatzhalter 12"/>
          <p:cNvSpPr>
            <a:spLocks noGrp="1"/>
          </p:cNvSpPr>
          <p:nvPr>
            <p:ph type="body" sz="quarter" idx="24" hasCustomPrompt="1"/>
          </p:nvPr>
        </p:nvSpPr>
        <p:spPr>
          <a:xfrm>
            <a:off x="4713486" y="854749"/>
            <a:ext cx="4178994" cy="269435"/>
          </a:xfrm>
          <a:prstGeom prst="rect">
            <a:avLst/>
          </a:prstGeom>
          <a:noFill/>
          <a:ln>
            <a:noFill/>
          </a:ln>
          <a:effectLst/>
        </p:spPr>
        <p:txBody>
          <a:bodyPr>
            <a:noAutofit/>
          </a:bodyPr>
          <a:lstStyle>
            <a:lvl1pPr marL="0" indent="0">
              <a:buFontTx/>
              <a:buNone/>
              <a:defRPr sz="1400" b="1" baseline="0">
                <a:solidFill>
                  <a:schemeClr val="tx1"/>
                </a:solidFill>
                <a:latin typeface="Arial" panose="020B0604020202020204" pitchFamily="34" charset="0"/>
                <a:cs typeface="Arial" panose="020B0604020202020204" pitchFamily="34" charset="0"/>
              </a:defRPr>
            </a:lvl1pPr>
            <a:lvl2pPr marL="457189" indent="0">
              <a:buFontTx/>
              <a:buNone/>
              <a:defRPr sz="1600">
                <a:solidFill>
                  <a:srgbClr val="00254C"/>
                </a:solidFill>
              </a:defRPr>
            </a:lvl2pPr>
            <a:lvl3pPr marL="914378" indent="0">
              <a:buFontTx/>
              <a:buNone/>
              <a:defRPr sz="1600">
                <a:solidFill>
                  <a:srgbClr val="00254C"/>
                </a:solidFill>
              </a:defRPr>
            </a:lvl3pPr>
            <a:lvl4pPr marL="1371566" indent="0">
              <a:buFontTx/>
              <a:buNone/>
              <a:defRPr sz="1600">
                <a:solidFill>
                  <a:srgbClr val="00254C"/>
                </a:solidFill>
              </a:defRPr>
            </a:lvl4pPr>
            <a:lvl5pPr marL="1828754" indent="0">
              <a:buFontTx/>
              <a:buNone/>
              <a:defRPr sz="1600">
                <a:solidFill>
                  <a:srgbClr val="00254C"/>
                </a:solidFill>
              </a:defRPr>
            </a:lvl5pPr>
          </a:lstStyle>
          <a:p>
            <a:pPr lvl="0"/>
            <a:r>
              <a:rPr lang="de-DE" err="1"/>
              <a:t>Headlinemasterformat</a:t>
            </a:r>
            <a:r>
              <a:rPr lang="de-DE"/>
              <a:t> bearbeiten</a:t>
            </a:r>
          </a:p>
        </p:txBody>
      </p:sp>
      <p:sp>
        <p:nvSpPr>
          <p:cNvPr id="21" name="Inhaltsplatzhalter 22"/>
          <p:cNvSpPr>
            <a:spLocks noGrp="1"/>
          </p:cNvSpPr>
          <p:nvPr>
            <p:ph sz="quarter" idx="26"/>
          </p:nvPr>
        </p:nvSpPr>
        <p:spPr>
          <a:xfrm>
            <a:off x="221993" y="1203598"/>
            <a:ext cx="4188083" cy="3259910"/>
          </a:xfrm>
          <a:prstGeom prst="rect">
            <a:avLst/>
          </a:prstGeom>
        </p:spPr>
        <p:txBody>
          <a:bodyPr>
            <a:normAutofit/>
          </a:bodyPr>
          <a:lstStyle>
            <a:lvl1pPr marL="0" indent="0">
              <a:buFontTx/>
              <a:buNone/>
              <a:defRPr sz="1200" b="0">
                <a:solidFill>
                  <a:schemeClr val="tx1"/>
                </a:solidFill>
                <a:latin typeface="Arial" panose="020B0604020202020204" pitchFamily="34" charset="0"/>
                <a:cs typeface="Arial" panose="020B0604020202020204" pitchFamily="34" charset="0"/>
              </a:defRPr>
            </a:lvl1pPr>
            <a:lvl2pPr marL="180971" indent="-180971">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2pPr>
            <a:lvl3pPr marL="361941" indent="-180971">
              <a:buFont typeface="Webdings" pitchFamily="18" charset="2"/>
              <a:buChar char=""/>
              <a:defRPr sz="1200">
                <a:solidFill>
                  <a:schemeClr val="tx1"/>
                </a:solidFill>
                <a:latin typeface="Arial" panose="020B0604020202020204" pitchFamily="34" charset="0"/>
                <a:cs typeface="Arial" panose="020B0604020202020204" pitchFamily="34" charset="0"/>
              </a:defRPr>
            </a:lvl3pPr>
            <a:lvl4pPr marL="542912" indent="-180971" defTabSz="985814">
              <a:buFont typeface="Webdings" panose="05030102010509060703" pitchFamily="18" charset="2"/>
              <a:buChar char=""/>
              <a:tabLst/>
              <a:defRPr sz="1200">
                <a:solidFill>
                  <a:schemeClr val="tx1"/>
                </a:solidFill>
                <a:latin typeface="Arial" panose="020B0604020202020204" pitchFamily="34" charset="0"/>
                <a:cs typeface="Arial" panose="020B0604020202020204" pitchFamily="34" charset="0"/>
              </a:defRPr>
            </a:lvl4pPr>
            <a:lvl5pPr marL="714357" indent="-171446">
              <a:buFont typeface="Trebuchet MS" pitchFamily="34" charset="0"/>
              <a:buChar char="»"/>
              <a:defRPr sz="1200">
                <a:solidFill>
                  <a:schemeClr val="tx1"/>
                </a:solidFill>
                <a:latin typeface="Arial" panose="020B0604020202020204" pitchFamily="34" charset="0"/>
                <a:cs typeface="Arial" panose="020B060402020202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22" name="Inhaltsplatzhalter 22"/>
          <p:cNvSpPr>
            <a:spLocks noGrp="1"/>
          </p:cNvSpPr>
          <p:nvPr>
            <p:ph sz="quarter" idx="27"/>
          </p:nvPr>
        </p:nvSpPr>
        <p:spPr>
          <a:xfrm>
            <a:off x="4710114" y="1176165"/>
            <a:ext cx="4188083" cy="3259910"/>
          </a:xfrm>
          <a:prstGeom prst="rect">
            <a:avLst/>
          </a:prstGeom>
        </p:spPr>
        <p:txBody>
          <a:bodyPr>
            <a:normAutofit/>
          </a:bodyPr>
          <a:lstStyle>
            <a:lvl1pPr marL="0" indent="0">
              <a:buFontTx/>
              <a:buNone/>
              <a:defRPr sz="1200" b="0">
                <a:solidFill>
                  <a:schemeClr val="tx1"/>
                </a:solidFill>
                <a:latin typeface="Arial" panose="020B0604020202020204" pitchFamily="34" charset="0"/>
                <a:cs typeface="Arial" panose="020B0604020202020204" pitchFamily="34" charset="0"/>
              </a:defRPr>
            </a:lvl1pPr>
            <a:lvl2pPr marL="180971" indent="-180971">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2pPr>
            <a:lvl3pPr marL="361941" indent="-180971">
              <a:buFont typeface="Webdings" pitchFamily="18" charset="2"/>
              <a:buChar char=""/>
              <a:defRPr sz="1200">
                <a:solidFill>
                  <a:schemeClr val="tx1"/>
                </a:solidFill>
                <a:latin typeface="Arial" panose="020B0604020202020204" pitchFamily="34" charset="0"/>
                <a:cs typeface="Arial" panose="020B0604020202020204" pitchFamily="34" charset="0"/>
              </a:defRPr>
            </a:lvl3pPr>
            <a:lvl4pPr marL="542912" indent="-180971" defTabSz="985814">
              <a:buFont typeface="Webdings" panose="05030102010509060703" pitchFamily="18" charset="2"/>
              <a:buChar char=""/>
              <a:tabLst/>
              <a:defRPr sz="1200">
                <a:solidFill>
                  <a:schemeClr val="tx1"/>
                </a:solidFill>
                <a:latin typeface="Arial" panose="020B0604020202020204" pitchFamily="34" charset="0"/>
                <a:cs typeface="Arial" panose="020B0604020202020204" pitchFamily="34" charset="0"/>
              </a:defRPr>
            </a:lvl4pPr>
            <a:lvl5pPr marL="714357" indent="-171446">
              <a:buFont typeface="Trebuchet MS" pitchFamily="34" charset="0"/>
              <a:buChar char="»"/>
              <a:defRPr sz="1200">
                <a:solidFill>
                  <a:schemeClr val="tx1"/>
                </a:solidFill>
                <a:latin typeface="Arial" panose="020B0604020202020204" pitchFamily="34" charset="0"/>
                <a:cs typeface="Arial" panose="020B060402020202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Titel 1">
            <a:extLst>
              <a:ext uri="{FF2B5EF4-FFF2-40B4-BE49-F238E27FC236}">
                <a16:creationId xmlns:a16="http://schemas.microsoft.com/office/drawing/2014/main" id="{5531500D-3CB5-4868-9A79-A4DA9EEB131A}"/>
              </a:ext>
            </a:extLst>
          </p:cNvPr>
          <p:cNvSpPr>
            <a:spLocks noGrp="1"/>
          </p:cNvSpPr>
          <p:nvPr>
            <p:ph type="title"/>
          </p:nvPr>
        </p:nvSpPr>
        <p:spPr>
          <a:xfrm>
            <a:off x="269393" y="78770"/>
            <a:ext cx="7907189" cy="330545"/>
          </a:xfrm>
        </p:spPr>
        <p:txBody>
          <a:bodyPr/>
          <a:lstStyle/>
          <a:p>
            <a:r>
              <a:rPr lang="de-DE"/>
              <a:t>Mastertitelformat bearbeiten</a:t>
            </a:r>
          </a:p>
        </p:txBody>
      </p:sp>
    </p:spTree>
    <p:extLst>
      <p:ext uri="{BB962C8B-B14F-4D97-AF65-F5344CB8AC3E}">
        <p14:creationId xmlns:p14="http://schemas.microsoft.com/office/powerpoint/2010/main" val="4044627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Titel und Inhalt">
    <p:spTree>
      <p:nvGrpSpPr>
        <p:cNvPr id="1" name=""/>
        <p:cNvGrpSpPr/>
        <p:nvPr/>
      </p:nvGrpSpPr>
      <p:grpSpPr>
        <a:xfrm>
          <a:off x="0" y="0"/>
          <a:ext cx="0" cy="0"/>
          <a:chOff x="0" y="0"/>
          <a:chExt cx="0" cy="0"/>
        </a:xfrm>
      </p:grpSpPr>
      <p:sp>
        <p:nvSpPr>
          <p:cNvPr id="10" name="Textplatzhalter 12"/>
          <p:cNvSpPr>
            <a:spLocks noGrp="1"/>
          </p:cNvSpPr>
          <p:nvPr>
            <p:ph type="body" sz="quarter" idx="18" hasCustomPrompt="1"/>
          </p:nvPr>
        </p:nvSpPr>
        <p:spPr>
          <a:xfrm>
            <a:off x="219267" y="794161"/>
            <a:ext cx="8600883" cy="330544"/>
          </a:xfrm>
          <a:prstGeom prst="rect">
            <a:avLst/>
          </a:prstGeom>
          <a:noFill/>
          <a:ln>
            <a:noFill/>
          </a:ln>
          <a:effectLst/>
        </p:spPr>
        <p:txBody>
          <a:bodyPr>
            <a:noAutofit/>
          </a:bodyPr>
          <a:lstStyle>
            <a:lvl1pPr marL="0" indent="0">
              <a:buFontTx/>
              <a:buNone/>
              <a:defRPr sz="1400" b="1" baseline="0">
                <a:solidFill>
                  <a:schemeClr val="tx1"/>
                </a:solidFill>
                <a:latin typeface="Arial" panose="020B0604020202020204" pitchFamily="34" charset="0"/>
                <a:cs typeface="Arial" panose="020B0604020202020204" pitchFamily="34" charset="0"/>
              </a:defRPr>
            </a:lvl1pPr>
            <a:lvl2pPr marL="457200" indent="0">
              <a:buFontTx/>
              <a:buNone/>
              <a:defRPr sz="1600">
                <a:solidFill>
                  <a:srgbClr val="00254C"/>
                </a:solidFill>
              </a:defRPr>
            </a:lvl2pPr>
            <a:lvl3pPr marL="914400" indent="0">
              <a:buFontTx/>
              <a:buNone/>
              <a:defRPr sz="1600">
                <a:solidFill>
                  <a:srgbClr val="00254C"/>
                </a:solidFill>
              </a:defRPr>
            </a:lvl3pPr>
            <a:lvl4pPr marL="1371600" indent="0">
              <a:buFontTx/>
              <a:buNone/>
              <a:defRPr sz="1600">
                <a:solidFill>
                  <a:srgbClr val="00254C"/>
                </a:solidFill>
              </a:defRPr>
            </a:lvl4pPr>
            <a:lvl5pPr marL="1828800" indent="0">
              <a:buFontTx/>
              <a:buNone/>
              <a:defRPr sz="1600">
                <a:solidFill>
                  <a:srgbClr val="00254C"/>
                </a:solidFill>
              </a:defRPr>
            </a:lvl5pPr>
          </a:lstStyle>
          <a:p>
            <a:pPr lvl="0"/>
            <a:r>
              <a:rPr lang="de-DE" err="1"/>
              <a:t>Headlinemasterformat</a:t>
            </a:r>
            <a:r>
              <a:rPr lang="de-DE"/>
              <a:t> durch Klicken bearbeiten (Segoe UI, 16pt)a</a:t>
            </a:r>
          </a:p>
        </p:txBody>
      </p:sp>
      <p:sp>
        <p:nvSpPr>
          <p:cNvPr id="12" name="Inhaltsplatzhalter 11"/>
          <p:cNvSpPr>
            <a:spLocks noGrp="1"/>
          </p:cNvSpPr>
          <p:nvPr>
            <p:ph sz="quarter" idx="19"/>
          </p:nvPr>
        </p:nvSpPr>
        <p:spPr>
          <a:xfrm>
            <a:off x="222610" y="1203598"/>
            <a:ext cx="8569325" cy="3455988"/>
          </a:xfrm>
          <a:prstGeom prst="rect">
            <a:avLst/>
          </a:prstGeom>
        </p:spPr>
        <p:txBody>
          <a:bodyPr>
            <a:normAutofit/>
          </a:bodyPr>
          <a:lstStyle>
            <a:lvl1pPr marL="265113" indent="-265113">
              <a:spcAft>
                <a:spcPts val="700"/>
              </a:spcAft>
              <a:buFont typeface="Wingdings" panose="05000000000000000000" pitchFamily="2" charset="2"/>
              <a:buChar char="§"/>
              <a:defRPr sz="1200">
                <a:latin typeface="Arial" panose="020B0604020202020204" pitchFamily="34" charset="0"/>
                <a:cs typeface="Arial" panose="020B0604020202020204" pitchFamily="34" charset="0"/>
              </a:defRPr>
            </a:lvl1pPr>
            <a:lvl2pPr marL="447675" indent="-285750">
              <a:spcAft>
                <a:spcPts val="700"/>
              </a:spcAft>
              <a:buFont typeface="Webdings" panose="05030102010509060703" pitchFamily="18" charset="2"/>
              <a:buChar char=""/>
              <a:defRPr sz="1200">
                <a:latin typeface="Arial" panose="020B0604020202020204" pitchFamily="34" charset="0"/>
                <a:cs typeface="Arial" panose="020B0604020202020204" pitchFamily="34" charset="0"/>
              </a:defRPr>
            </a:lvl2pPr>
            <a:lvl3pPr marL="628650" indent="-231775">
              <a:spcAft>
                <a:spcPts val="700"/>
              </a:spcAft>
              <a:buFont typeface="Webdings" panose="05030102010509060703" pitchFamily="18" charset="2"/>
              <a:buChar char=""/>
              <a:tabLst/>
              <a:defRPr sz="1200">
                <a:latin typeface="Arial" panose="020B0604020202020204" pitchFamily="34" charset="0"/>
                <a:cs typeface="Arial" panose="020B0604020202020204" pitchFamily="34" charset="0"/>
              </a:defRPr>
            </a:lvl3pPr>
            <a:lvl4pPr marL="895350" indent="-228600">
              <a:spcAft>
                <a:spcPts val="700"/>
              </a:spcAft>
              <a:buFont typeface="Trebuchet MS" panose="020B0603020202020204" pitchFamily="34" charset="0"/>
              <a:buChar char="»"/>
              <a:defRPr sz="1200">
                <a:latin typeface="Arial" panose="020B0604020202020204" pitchFamily="34" charset="0"/>
                <a:cs typeface="Arial" panose="020B0604020202020204" pitchFamily="34" charset="0"/>
              </a:defRPr>
            </a:lvl4pPr>
            <a:lvl5pPr marL="1828800" indent="0">
              <a:spcAft>
                <a:spcPts val="700"/>
              </a:spcAft>
              <a:buNone/>
              <a:defRPr sz="1000"/>
            </a:lvl5pPr>
          </a:lstStyle>
          <a:p>
            <a:pPr lvl="0"/>
            <a:r>
              <a:rPr lang="de-DE"/>
              <a:t>Textmasterformat bearbeiten</a:t>
            </a:r>
          </a:p>
          <a:p>
            <a:pPr lvl="1"/>
            <a:r>
              <a:rPr lang="de-DE"/>
              <a:t>Zweite Ebene</a:t>
            </a:r>
          </a:p>
          <a:p>
            <a:pPr lvl="2"/>
            <a:r>
              <a:rPr lang="de-DE"/>
              <a:t>Dritte Ebene</a:t>
            </a:r>
          </a:p>
          <a:p>
            <a:pPr lvl="3"/>
            <a:r>
              <a:rPr lang="de-DE"/>
              <a:t>Vierte Ebene</a:t>
            </a:r>
          </a:p>
        </p:txBody>
      </p:sp>
      <p:sp>
        <p:nvSpPr>
          <p:cNvPr id="4" name="Titel 1">
            <a:extLst>
              <a:ext uri="{FF2B5EF4-FFF2-40B4-BE49-F238E27FC236}">
                <a16:creationId xmlns:a16="http://schemas.microsoft.com/office/drawing/2014/main" id="{5761C838-4A41-4A8B-9718-05D6738DD1A5}"/>
              </a:ext>
            </a:extLst>
          </p:cNvPr>
          <p:cNvSpPr>
            <a:spLocks noGrp="1"/>
          </p:cNvSpPr>
          <p:nvPr>
            <p:ph type="title"/>
          </p:nvPr>
        </p:nvSpPr>
        <p:spPr>
          <a:xfrm>
            <a:off x="269393" y="78770"/>
            <a:ext cx="7907189" cy="330545"/>
          </a:xfrm>
        </p:spPr>
        <p:txBody>
          <a:bodyPr/>
          <a:lstStyle/>
          <a:p>
            <a:r>
              <a:rPr lang="de-DE"/>
              <a:t>Mastertitelformat bearbeiten</a:t>
            </a:r>
          </a:p>
        </p:txBody>
      </p:sp>
    </p:spTree>
    <p:extLst>
      <p:ext uri="{BB962C8B-B14F-4D97-AF65-F5344CB8AC3E}">
        <p14:creationId xmlns:p14="http://schemas.microsoft.com/office/powerpoint/2010/main" val="34260939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ild mit Überschrift">
    <p:spTree>
      <p:nvGrpSpPr>
        <p:cNvPr id="1" name=""/>
        <p:cNvGrpSpPr/>
        <p:nvPr/>
      </p:nvGrpSpPr>
      <p:grpSpPr>
        <a:xfrm>
          <a:off x="0" y="0"/>
          <a:ext cx="0" cy="0"/>
          <a:chOff x="0" y="0"/>
          <a:chExt cx="0" cy="0"/>
        </a:xfrm>
      </p:grpSpPr>
      <p:sp>
        <p:nvSpPr>
          <p:cNvPr id="18" name="Textplatzhalter 12"/>
          <p:cNvSpPr>
            <a:spLocks noGrp="1"/>
          </p:cNvSpPr>
          <p:nvPr>
            <p:ph type="body" sz="quarter" idx="18" hasCustomPrompt="1"/>
          </p:nvPr>
        </p:nvSpPr>
        <p:spPr>
          <a:xfrm>
            <a:off x="323528" y="3363839"/>
            <a:ext cx="4058715" cy="269435"/>
          </a:xfrm>
          <a:prstGeom prst="rect">
            <a:avLst/>
          </a:prstGeom>
          <a:noFill/>
          <a:ln>
            <a:noFill/>
          </a:ln>
          <a:effectLst/>
        </p:spPr>
        <p:txBody>
          <a:bodyPr/>
          <a:lstStyle>
            <a:lvl1pPr marL="0" indent="0">
              <a:buFontTx/>
              <a:buNone/>
              <a:defRPr sz="1200" b="0" baseline="0">
                <a:solidFill>
                  <a:schemeClr val="tx1"/>
                </a:solidFill>
                <a:latin typeface="Segoe UI"/>
                <a:cs typeface="Segoe UI"/>
              </a:defRPr>
            </a:lvl1pPr>
            <a:lvl2pPr marL="457189" indent="0">
              <a:buFontTx/>
              <a:buNone/>
              <a:defRPr sz="1600">
                <a:solidFill>
                  <a:srgbClr val="00254C"/>
                </a:solidFill>
              </a:defRPr>
            </a:lvl2pPr>
            <a:lvl3pPr marL="914378" indent="0">
              <a:buFontTx/>
              <a:buNone/>
              <a:defRPr sz="1600">
                <a:solidFill>
                  <a:srgbClr val="00254C"/>
                </a:solidFill>
              </a:defRPr>
            </a:lvl3pPr>
            <a:lvl4pPr marL="1371566" indent="0">
              <a:buFontTx/>
              <a:buNone/>
              <a:defRPr sz="1600">
                <a:solidFill>
                  <a:srgbClr val="00254C"/>
                </a:solidFill>
              </a:defRPr>
            </a:lvl4pPr>
            <a:lvl5pPr marL="1828754" indent="0">
              <a:buFontTx/>
              <a:buNone/>
              <a:defRPr sz="1600">
                <a:solidFill>
                  <a:srgbClr val="00254C"/>
                </a:solidFill>
              </a:defRPr>
            </a:lvl5pPr>
          </a:lstStyle>
          <a:p>
            <a:pPr lvl="0"/>
            <a:r>
              <a:rPr lang="de-DE"/>
              <a:t>BILDINFORMATIONEN</a:t>
            </a:r>
          </a:p>
        </p:txBody>
      </p:sp>
      <p:sp>
        <p:nvSpPr>
          <p:cNvPr id="20" name="Inhaltsplatzhalter 22"/>
          <p:cNvSpPr>
            <a:spLocks noGrp="1"/>
          </p:cNvSpPr>
          <p:nvPr>
            <p:ph sz="quarter" idx="19" hasCustomPrompt="1"/>
          </p:nvPr>
        </p:nvSpPr>
        <p:spPr>
          <a:xfrm>
            <a:off x="1187625" y="3651871"/>
            <a:ext cx="2232248" cy="936104"/>
          </a:xfrm>
          <a:prstGeom prst="rect">
            <a:avLst/>
          </a:prstGeom>
        </p:spPr>
        <p:txBody>
          <a:bodyPr/>
          <a:lstStyle>
            <a:lvl1pPr marL="0" indent="0">
              <a:buFont typeface="Wingdings" pitchFamily="2" charset="2"/>
              <a:buNone/>
              <a:defRPr sz="1100">
                <a:solidFill>
                  <a:schemeClr val="tx1"/>
                </a:solidFill>
                <a:latin typeface="Segoe UI"/>
                <a:cs typeface="Segoe UI"/>
              </a:defRPr>
            </a:lvl1pPr>
            <a:lvl2pPr marL="442902" indent="-266693">
              <a:buFont typeface="Webdings" pitchFamily="18" charset="2"/>
              <a:buChar char=""/>
              <a:defRPr sz="1400">
                <a:solidFill>
                  <a:schemeClr val="tx1"/>
                </a:solidFill>
                <a:latin typeface="Segoe UI"/>
                <a:cs typeface="Segoe UI"/>
              </a:defRPr>
            </a:lvl2pPr>
            <a:lvl3pPr marL="720707" indent="-277806">
              <a:buFont typeface="Webdings" pitchFamily="18" charset="2"/>
              <a:buChar char=""/>
              <a:defRPr sz="1300">
                <a:solidFill>
                  <a:schemeClr val="tx1"/>
                </a:solidFill>
                <a:latin typeface="Segoe UI"/>
                <a:cs typeface="Segoe UI"/>
              </a:defRPr>
            </a:lvl3pPr>
            <a:lvl4pPr marL="895328" indent="-174621">
              <a:buFont typeface="Trebuchet MS" pitchFamily="34" charset="0"/>
              <a:buChar char="&gt;"/>
              <a:tabLst/>
              <a:defRPr sz="1200">
                <a:solidFill>
                  <a:schemeClr val="tx1"/>
                </a:solidFill>
                <a:latin typeface="Segoe UI"/>
                <a:cs typeface="Segoe UI"/>
              </a:defRPr>
            </a:lvl4pPr>
            <a:lvl5pPr marL="1081061" indent="-185733">
              <a:buFont typeface="Trebuchet MS" pitchFamily="34" charset="0"/>
              <a:buChar char="»"/>
              <a:defRPr sz="1100">
                <a:solidFill>
                  <a:schemeClr val="tx1"/>
                </a:solidFill>
                <a:latin typeface="Segoe UI"/>
                <a:cs typeface="Segoe UI"/>
              </a:defRPr>
            </a:lvl5pPr>
          </a:lstStyle>
          <a:p>
            <a:pPr lvl="0"/>
            <a:r>
              <a:rPr lang="de-DE"/>
              <a:t>Textmasterformat bearbeiten</a:t>
            </a:r>
          </a:p>
        </p:txBody>
      </p:sp>
      <p:sp>
        <p:nvSpPr>
          <p:cNvPr id="32" name="Rectangle 41"/>
          <p:cNvSpPr txBox="1">
            <a:spLocks noChangeArrowheads="1"/>
          </p:cNvSpPr>
          <p:nvPr userDrawn="1"/>
        </p:nvSpPr>
        <p:spPr bwMode="white">
          <a:xfrm>
            <a:off x="63329" y="4870412"/>
            <a:ext cx="576064" cy="180910"/>
          </a:xfrm>
          <a:prstGeom prst="rect">
            <a:avLst/>
          </a:prstGeom>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fld id="{12866D1D-B7B0-4F86-A6A2-9A2064F0C5D6}" type="slidenum">
              <a:rPr lang="en-US" sz="700" smtClean="0">
                <a:solidFill>
                  <a:srgbClr val="FFFFFF"/>
                </a:solidFill>
                <a:latin typeface="Segoe UI"/>
                <a:cs typeface="Segoe UI"/>
              </a:rPr>
              <a:pPr algn="ctr">
                <a:defRPr/>
              </a:pPr>
              <a:t>‹Nr.›</a:t>
            </a:fld>
            <a:r>
              <a:rPr lang="en-US" sz="700">
                <a:solidFill>
                  <a:srgbClr val="FFFFFF"/>
                </a:solidFill>
                <a:latin typeface="Segoe UI"/>
                <a:cs typeface="Segoe UI"/>
              </a:rPr>
              <a:t> </a:t>
            </a:r>
          </a:p>
        </p:txBody>
      </p:sp>
      <p:sp>
        <p:nvSpPr>
          <p:cNvPr id="17" name="Inhaltsplatzhalter 22"/>
          <p:cNvSpPr>
            <a:spLocks noGrp="1"/>
          </p:cNvSpPr>
          <p:nvPr>
            <p:ph sz="quarter" idx="26"/>
          </p:nvPr>
        </p:nvSpPr>
        <p:spPr>
          <a:xfrm>
            <a:off x="4729164" y="1203598"/>
            <a:ext cx="4188083" cy="3259910"/>
          </a:xfrm>
          <a:prstGeom prst="rect">
            <a:avLst/>
          </a:prstGeom>
        </p:spPr>
        <p:txBody>
          <a:bodyPr>
            <a:normAutofit/>
          </a:bodyPr>
          <a:lstStyle>
            <a:lvl1pPr marL="0" indent="0">
              <a:buFontTx/>
              <a:buNone/>
              <a:defRPr sz="1200" b="0">
                <a:solidFill>
                  <a:schemeClr val="tx1"/>
                </a:solidFill>
                <a:latin typeface="Arial" panose="020B0604020202020204" pitchFamily="34" charset="0"/>
                <a:cs typeface="Arial" panose="020B0604020202020204" pitchFamily="34" charset="0"/>
              </a:defRPr>
            </a:lvl1pPr>
            <a:lvl2pPr marL="180971" indent="-180971">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2pPr>
            <a:lvl3pPr marL="361941" indent="-180971">
              <a:buFont typeface="Webdings" pitchFamily="18" charset="2"/>
              <a:buChar char=""/>
              <a:defRPr sz="1200">
                <a:solidFill>
                  <a:schemeClr val="tx1"/>
                </a:solidFill>
                <a:latin typeface="Arial" panose="020B0604020202020204" pitchFamily="34" charset="0"/>
                <a:cs typeface="Arial" panose="020B0604020202020204" pitchFamily="34" charset="0"/>
              </a:defRPr>
            </a:lvl3pPr>
            <a:lvl4pPr marL="542912" indent="-180971" defTabSz="985814">
              <a:buFont typeface="Webdings" panose="05030102010509060703" pitchFamily="18" charset="2"/>
              <a:buChar char=""/>
              <a:tabLst/>
              <a:defRPr sz="1200">
                <a:solidFill>
                  <a:schemeClr val="tx1"/>
                </a:solidFill>
                <a:latin typeface="Arial" panose="020B0604020202020204" pitchFamily="34" charset="0"/>
                <a:cs typeface="Arial" panose="020B0604020202020204" pitchFamily="34" charset="0"/>
              </a:defRPr>
            </a:lvl4pPr>
            <a:lvl5pPr marL="714357" indent="-171446">
              <a:buFont typeface="Trebuchet MS" pitchFamily="34" charset="0"/>
              <a:buChar char="»"/>
              <a:defRPr sz="1200">
                <a:solidFill>
                  <a:schemeClr val="tx1"/>
                </a:solidFill>
                <a:latin typeface="Arial" panose="020B0604020202020204" pitchFamily="34" charset="0"/>
                <a:cs typeface="Arial" panose="020B060402020202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9" name="Textplatzhalter 12"/>
          <p:cNvSpPr>
            <a:spLocks noGrp="1"/>
          </p:cNvSpPr>
          <p:nvPr>
            <p:ph type="body" sz="quarter" idx="24" hasCustomPrompt="1"/>
          </p:nvPr>
        </p:nvSpPr>
        <p:spPr>
          <a:xfrm>
            <a:off x="4713486" y="854749"/>
            <a:ext cx="4178994" cy="269435"/>
          </a:xfrm>
          <a:prstGeom prst="rect">
            <a:avLst/>
          </a:prstGeom>
          <a:noFill/>
          <a:ln>
            <a:noFill/>
          </a:ln>
          <a:effectLst/>
        </p:spPr>
        <p:txBody>
          <a:bodyPr>
            <a:noAutofit/>
          </a:bodyPr>
          <a:lstStyle>
            <a:lvl1pPr marL="0" indent="0">
              <a:buFontTx/>
              <a:buNone/>
              <a:defRPr sz="1400" b="1" baseline="0">
                <a:solidFill>
                  <a:schemeClr val="tx1"/>
                </a:solidFill>
                <a:latin typeface="Arial" panose="020B0604020202020204" pitchFamily="34" charset="0"/>
                <a:cs typeface="Arial" panose="020B0604020202020204" pitchFamily="34" charset="0"/>
              </a:defRPr>
            </a:lvl1pPr>
            <a:lvl2pPr marL="457189" indent="0">
              <a:buFontTx/>
              <a:buNone/>
              <a:defRPr sz="1600">
                <a:solidFill>
                  <a:srgbClr val="00254C"/>
                </a:solidFill>
              </a:defRPr>
            </a:lvl2pPr>
            <a:lvl3pPr marL="914378" indent="0">
              <a:buFontTx/>
              <a:buNone/>
              <a:defRPr sz="1600">
                <a:solidFill>
                  <a:srgbClr val="00254C"/>
                </a:solidFill>
              </a:defRPr>
            </a:lvl3pPr>
            <a:lvl4pPr marL="1371566" indent="0">
              <a:buFontTx/>
              <a:buNone/>
              <a:defRPr sz="1600">
                <a:solidFill>
                  <a:srgbClr val="00254C"/>
                </a:solidFill>
              </a:defRPr>
            </a:lvl4pPr>
            <a:lvl5pPr marL="1828754" indent="0">
              <a:buFontTx/>
              <a:buNone/>
              <a:defRPr sz="1600">
                <a:solidFill>
                  <a:srgbClr val="00254C"/>
                </a:solidFill>
              </a:defRPr>
            </a:lvl5pPr>
          </a:lstStyle>
          <a:p>
            <a:pPr lvl="0"/>
            <a:r>
              <a:rPr lang="de-DE" err="1"/>
              <a:t>Headlinemasterformat</a:t>
            </a:r>
            <a:r>
              <a:rPr lang="de-DE"/>
              <a:t> bearbeiten</a:t>
            </a:r>
          </a:p>
        </p:txBody>
      </p:sp>
      <p:sp>
        <p:nvSpPr>
          <p:cNvPr id="22" name="Bildplatzhalter 2"/>
          <p:cNvSpPr>
            <a:spLocks noGrp="1"/>
          </p:cNvSpPr>
          <p:nvPr>
            <p:ph type="pic" idx="1" hasCustomPrompt="1"/>
          </p:nvPr>
        </p:nvSpPr>
        <p:spPr>
          <a:xfrm>
            <a:off x="323851" y="994383"/>
            <a:ext cx="4086225" cy="2297448"/>
          </a:xfrm>
          <a:prstGeom prst="rect">
            <a:avLst/>
          </a:prstGeom>
          <a:noFill/>
          <a:ln>
            <a:noFill/>
          </a:ln>
        </p:spPr>
        <p:txBody>
          <a:bodyPr/>
          <a:lstStyle>
            <a:lvl1pPr marL="0" indent="0">
              <a:buNone/>
              <a:defRPr sz="3200" baseline="0">
                <a:solidFill>
                  <a:schemeClr val="tx1"/>
                </a:solidFill>
                <a:latin typeface="Segoe UI"/>
                <a:cs typeface="Segoe UI"/>
              </a:defRPr>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de-DE"/>
              <a:t>Bild durch Klicken auf Symbol hinzufügen</a:t>
            </a:r>
          </a:p>
        </p:txBody>
      </p:sp>
      <p:sp>
        <p:nvSpPr>
          <p:cNvPr id="8" name="Titel 1">
            <a:extLst>
              <a:ext uri="{FF2B5EF4-FFF2-40B4-BE49-F238E27FC236}">
                <a16:creationId xmlns:a16="http://schemas.microsoft.com/office/drawing/2014/main" id="{A30E2AFE-3F01-43B0-8561-C87663A2D5FE}"/>
              </a:ext>
            </a:extLst>
          </p:cNvPr>
          <p:cNvSpPr>
            <a:spLocks noGrp="1"/>
          </p:cNvSpPr>
          <p:nvPr>
            <p:ph type="title"/>
          </p:nvPr>
        </p:nvSpPr>
        <p:spPr>
          <a:xfrm>
            <a:off x="269393" y="78770"/>
            <a:ext cx="7907189" cy="330545"/>
          </a:xfrm>
        </p:spPr>
        <p:txBody>
          <a:bodyPr/>
          <a:lstStyle/>
          <a:p>
            <a:r>
              <a:rPr lang="de-DE"/>
              <a:t>Mastertitelformat bearbeiten</a:t>
            </a:r>
          </a:p>
        </p:txBody>
      </p:sp>
    </p:spTree>
    <p:extLst>
      <p:ext uri="{BB962C8B-B14F-4D97-AF65-F5344CB8AC3E}">
        <p14:creationId xmlns:p14="http://schemas.microsoft.com/office/powerpoint/2010/main" val="19842311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8A7AD684-55C9-416B-9332-5119265FD67A}"/>
              </a:ext>
            </a:extLst>
          </p:cNvPr>
          <p:cNvSpPr>
            <a:spLocks noGrp="1"/>
          </p:cNvSpPr>
          <p:nvPr>
            <p:ph type="body" idx="1"/>
          </p:nvPr>
        </p:nvSpPr>
        <p:spPr>
          <a:xfrm>
            <a:off x="628650" y="1226170"/>
            <a:ext cx="7886700" cy="3168709"/>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0" name="Rechteck 9">
            <a:extLst>
              <a:ext uri="{FF2B5EF4-FFF2-40B4-BE49-F238E27FC236}">
                <a16:creationId xmlns:a16="http://schemas.microsoft.com/office/drawing/2014/main" id="{DE369D4C-5D54-4B4A-8645-83045D9FF52B}"/>
              </a:ext>
            </a:extLst>
          </p:cNvPr>
          <p:cNvSpPr/>
          <p:nvPr userDrawn="1"/>
        </p:nvSpPr>
        <p:spPr>
          <a:xfrm>
            <a:off x="8611630" y="4887928"/>
            <a:ext cx="523493" cy="144920"/>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1" name="Rectangle 41">
            <a:extLst>
              <a:ext uri="{FF2B5EF4-FFF2-40B4-BE49-F238E27FC236}">
                <a16:creationId xmlns:a16="http://schemas.microsoft.com/office/drawing/2014/main" id="{3E7EDE87-E170-499A-A77E-43B4B303D4AB}"/>
              </a:ext>
            </a:extLst>
          </p:cNvPr>
          <p:cNvSpPr txBox="1">
            <a:spLocks noChangeArrowheads="1"/>
          </p:cNvSpPr>
          <p:nvPr userDrawn="1"/>
        </p:nvSpPr>
        <p:spPr>
          <a:xfrm>
            <a:off x="8620508" y="4859932"/>
            <a:ext cx="576064" cy="186863"/>
          </a:xfrm>
          <a:prstGeom prst="rect">
            <a:avLst/>
          </a:prstGeom>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fld id="{12866D1D-B7B0-4F86-A6A2-9A2064F0C5D6}" type="slidenum">
              <a:rPr lang="en-US" sz="700" smtClean="0">
                <a:solidFill>
                  <a:schemeClr val="bg1"/>
                </a:solidFill>
                <a:latin typeface="Segoe UI"/>
                <a:cs typeface="Segoe UI"/>
              </a:rPr>
              <a:pPr algn="ctr">
                <a:defRPr/>
              </a:pPr>
              <a:t>‹Nr.›</a:t>
            </a:fld>
            <a:r>
              <a:rPr lang="en-US" sz="700">
                <a:solidFill>
                  <a:schemeClr val="bg1"/>
                </a:solidFill>
                <a:latin typeface="Segoe UI"/>
                <a:cs typeface="Segoe UI"/>
              </a:rPr>
              <a:t> </a:t>
            </a:r>
          </a:p>
        </p:txBody>
      </p:sp>
      <p:cxnSp>
        <p:nvCxnSpPr>
          <p:cNvPr id="22" name="Gerader Verbinder 21">
            <a:extLst>
              <a:ext uri="{FF2B5EF4-FFF2-40B4-BE49-F238E27FC236}">
                <a16:creationId xmlns:a16="http://schemas.microsoft.com/office/drawing/2014/main" id="{9C020881-C8AC-411D-A1D6-46CB86BD0D92}"/>
              </a:ext>
            </a:extLst>
          </p:cNvPr>
          <p:cNvCxnSpPr>
            <a:cxnSpLocks/>
          </p:cNvCxnSpPr>
          <p:nvPr userDrawn="1"/>
        </p:nvCxnSpPr>
        <p:spPr>
          <a:xfrm>
            <a:off x="-4439" y="4887915"/>
            <a:ext cx="9144000" cy="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9" name="Rechteck 8">
            <a:extLst>
              <a:ext uri="{FF2B5EF4-FFF2-40B4-BE49-F238E27FC236}">
                <a16:creationId xmlns:a16="http://schemas.microsoft.com/office/drawing/2014/main" id="{EA5B77AC-431B-40A5-96CC-51C69822AB2B}"/>
              </a:ext>
            </a:extLst>
          </p:cNvPr>
          <p:cNvSpPr/>
          <p:nvPr userDrawn="1"/>
        </p:nvSpPr>
        <p:spPr>
          <a:xfrm>
            <a:off x="0" y="-24594"/>
            <a:ext cx="9144000" cy="507831"/>
          </a:xfrm>
          <a:prstGeom prst="rect">
            <a:avLst/>
          </a:prstGeom>
          <a:solidFill>
            <a:schemeClr val="accent1">
              <a:lumMod val="75000"/>
            </a:schemeClr>
          </a:solidFill>
        </p:spPr>
        <p:txBody>
          <a:bodyPr wrap="square" anchor="b">
            <a:spAutoFit/>
          </a:bodyPr>
          <a:lstStyle/>
          <a:p>
            <a:endParaRPr lang="de-DE" sz="1350" b="1">
              <a:solidFill>
                <a:schemeClr val="bg1"/>
              </a:solidFill>
              <a:latin typeface="Arial" pitchFamily="34" charset="0"/>
              <a:cs typeface="Arial" pitchFamily="34" charset="0"/>
            </a:endParaRPr>
          </a:p>
          <a:p>
            <a:r>
              <a:rPr lang="de-DE" sz="1350" b="1">
                <a:solidFill>
                  <a:schemeClr val="bg1"/>
                </a:solidFill>
                <a:latin typeface="Arial" pitchFamily="34" charset="0"/>
                <a:cs typeface="Arial" pitchFamily="34" charset="0"/>
              </a:rPr>
              <a:t> </a:t>
            </a:r>
          </a:p>
        </p:txBody>
      </p:sp>
      <p:sp>
        <p:nvSpPr>
          <p:cNvPr id="16" name="Rechteck 15">
            <a:extLst>
              <a:ext uri="{FF2B5EF4-FFF2-40B4-BE49-F238E27FC236}">
                <a16:creationId xmlns:a16="http://schemas.microsoft.com/office/drawing/2014/main" id="{AB826EA0-BB3B-4B29-A086-9CD26EDFECBF}"/>
              </a:ext>
            </a:extLst>
          </p:cNvPr>
          <p:cNvSpPr/>
          <p:nvPr userDrawn="1"/>
        </p:nvSpPr>
        <p:spPr>
          <a:xfrm>
            <a:off x="88015" y="4940418"/>
            <a:ext cx="1686194" cy="1658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1219140" rtl="0" eaLnBrk="1" fontAlgn="auto" latinLnBrk="0" hangingPunct="1">
              <a:lnSpc>
                <a:spcPct val="100000"/>
              </a:lnSpc>
              <a:spcBef>
                <a:spcPts val="0"/>
              </a:spcBef>
              <a:spcAft>
                <a:spcPts val="0"/>
              </a:spcAft>
              <a:buClrTx/>
              <a:buSzTx/>
              <a:buFontTx/>
              <a:buNone/>
              <a:tabLst/>
              <a:defRPr/>
            </a:pPr>
            <a:r>
              <a:rPr lang="de-DE" sz="800">
                <a:solidFill>
                  <a:schemeClr val="tx1"/>
                </a:solidFill>
                <a:latin typeface="Arial" panose="020B0604020202020204" pitchFamily="34" charset="0"/>
                <a:cs typeface="Arial" panose="020B0604020202020204" pitchFamily="34" charset="0"/>
              </a:rPr>
              <a:t>© Europe IT Consulting GmbH</a:t>
            </a:r>
          </a:p>
          <a:p>
            <a:pPr marL="0" marR="0" indent="0" algn="r" defTabSz="1219140" rtl="0" eaLnBrk="1" fontAlgn="auto" latinLnBrk="0" hangingPunct="1">
              <a:lnSpc>
                <a:spcPct val="100000"/>
              </a:lnSpc>
              <a:spcBef>
                <a:spcPts val="0"/>
              </a:spcBef>
              <a:spcAft>
                <a:spcPts val="0"/>
              </a:spcAft>
              <a:buClrTx/>
              <a:buSzTx/>
              <a:buFontTx/>
              <a:buNone/>
              <a:tabLst/>
              <a:defRPr/>
            </a:pPr>
            <a:endParaRPr lang="de-DE" sz="800">
              <a:solidFill>
                <a:schemeClr val="tx1"/>
              </a:solidFill>
              <a:latin typeface="Arial" panose="020B0604020202020204" pitchFamily="34" charset="0"/>
              <a:cs typeface="Arial" panose="020B0604020202020204" pitchFamily="34" charset="0"/>
            </a:endParaRPr>
          </a:p>
        </p:txBody>
      </p:sp>
      <p:sp>
        <p:nvSpPr>
          <p:cNvPr id="12" name="Rechteck 11">
            <a:extLst>
              <a:ext uri="{FF2B5EF4-FFF2-40B4-BE49-F238E27FC236}">
                <a16:creationId xmlns:a16="http://schemas.microsoft.com/office/drawing/2014/main" id="{B04FD651-31CF-4E24-B530-8160F9D2EC81}"/>
              </a:ext>
            </a:extLst>
          </p:cNvPr>
          <p:cNvSpPr/>
          <p:nvPr userDrawn="1"/>
        </p:nvSpPr>
        <p:spPr>
          <a:xfrm>
            <a:off x="3878403" y="4961390"/>
            <a:ext cx="1387194" cy="1449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indent="0" algn="r" defTabSz="914378" rtl="0" eaLnBrk="1" fontAlgn="auto" latinLnBrk="0" hangingPunct="1">
              <a:lnSpc>
                <a:spcPct val="100000"/>
              </a:lnSpc>
              <a:spcBef>
                <a:spcPts val="0"/>
              </a:spcBef>
              <a:spcAft>
                <a:spcPts val="0"/>
              </a:spcAft>
              <a:buClrTx/>
              <a:buSzTx/>
              <a:buFontTx/>
              <a:buNone/>
              <a:tabLst/>
              <a:defRPr/>
            </a:pPr>
            <a:r>
              <a:rPr lang="de-DE" sz="700">
                <a:solidFill>
                  <a:schemeClr val="tx1"/>
                </a:solidFill>
                <a:latin typeface="Arial" panose="020B0604020202020204" pitchFamily="34" charset="0"/>
                <a:cs typeface="Arial" panose="020B0604020202020204" pitchFamily="34" charset="0"/>
              </a:rPr>
              <a:t>www.europe-it-consulting.ch</a:t>
            </a:r>
          </a:p>
          <a:p>
            <a:pPr algn="ctr"/>
            <a:endParaRPr lang="de-DE" sz="700">
              <a:solidFill>
                <a:srgbClr val="002060"/>
              </a:solidFill>
              <a:latin typeface="Arial" panose="020B0604020202020204" pitchFamily="34" charset="0"/>
              <a:cs typeface="Arial" panose="020B0604020202020204" pitchFamily="34" charset="0"/>
            </a:endParaRPr>
          </a:p>
        </p:txBody>
      </p:sp>
      <p:sp>
        <p:nvSpPr>
          <p:cNvPr id="6" name="Titelplatzhalter 5">
            <a:extLst>
              <a:ext uri="{FF2B5EF4-FFF2-40B4-BE49-F238E27FC236}">
                <a16:creationId xmlns:a16="http://schemas.microsoft.com/office/drawing/2014/main" id="{B4CBFAEA-E773-4F49-A1CF-17A0833A51A1}"/>
              </a:ext>
            </a:extLst>
          </p:cNvPr>
          <p:cNvSpPr>
            <a:spLocks noGrp="1"/>
          </p:cNvSpPr>
          <p:nvPr>
            <p:ph type="title"/>
          </p:nvPr>
        </p:nvSpPr>
        <p:spPr>
          <a:xfrm>
            <a:off x="269393" y="78770"/>
            <a:ext cx="7907189" cy="330545"/>
          </a:xfrm>
          <a:prstGeom prst="rect">
            <a:avLst/>
          </a:prstGeom>
        </p:spPr>
        <p:txBody>
          <a:bodyPr vert="horz" lIns="91440" tIns="45720" rIns="91440" bIns="45720" rtlCol="0" anchor="ctr">
            <a:normAutofit/>
          </a:bodyPr>
          <a:lstStyle/>
          <a:p>
            <a:r>
              <a:rPr lang="de-DE"/>
              <a:t>Mastertitelformat bearbeiten</a:t>
            </a:r>
          </a:p>
        </p:txBody>
      </p:sp>
      <p:pic>
        <p:nvPicPr>
          <p:cNvPr id="14" name="Grafik 13" descr="Ein Bild, das Text enthält.&#10;&#10;Automatisch generierte Beschreibung">
            <a:extLst>
              <a:ext uri="{FF2B5EF4-FFF2-40B4-BE49-F238E27FC236}">
                <a16:creationId xmlns:a16="http://schemas.microsoft.com/office/drawing/2014/main" id="{15731662-0731-4E37-AF60-B59BA6885B15}"/>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7667955" y="69260"/>
            <a:ext cx="1467168" cy="372648"/>
          </a:xfrm>
          <a:prstGeom prst="rect">
            <a:avLst/>
          </a:prstGeom>
        </p:spPr>
      </p:pic>
    </p:spTree>
    <p:extLst>
      <p:ext uri="{BB962C8B-B14F-4D97-AF65-F5344CB8AC3E}">
        <p14:creationId xmlns:p14="http://schemas.microsoft.com/office/powerpoint/2010/main" val="2165569194"/>
      </p:ext>
    </p:extLst>
  </p:cSld>
  <p:clrMap bg1="lt1" tx1="dk1" bg2="lt2" tx2="dk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14" r:id="rId6"/>
    <p:sldLayoutId id="2147483909" r:id="rId7"/>
    <p:sldLayoutId id="2147483899" r:id="rId8"/>
    <p:sldLayoutId id="2147483910" r:id="rId9"/>
    <p:sldLayoutId id="2147483911" r:id="rId10"/>
    <p:sldLayoutId id="2147483912" r:id="rId11"/>
    <p:sldLayoutId id="2147483913" r:id="rId12"/>
    <p:sldLayoutId id="2147483897" r:id="rId13"/>
    <p:sldLayoutId id="2147483915" r:id="rId14"/>
    <p:sldLayoutId id="2147483916" r:id="rId15"/>
  </p:sldLayoutIdLst>
  <p:hf hdr="0" ftr="0" dt="0"/>
  <p:txStyles>
    <p:titleStyle>
      <a:lvl1pPr algn="l" defTabSz="514337" rtl="0" eaLnBrk="1" latinLnBrk="0" hangingPunct="1">
        <a:lnSpc>
          <a:spcPct val="90000"/>
        </a:lnSpc>
        <a:spcBef>
          <a:spcPct val="0"/>
        </a:spcBef>
        <a:buNone/>
        <a:defRPr sz="1800" b="1" kern="1200">
          <a:solidFill>
            <a:schemeClr val="bg1"/>
          </a:solidFill>
          <a:latin typeface="Arial" panose="020B0604020202020204" pitchFamily="34" charset="0"/>
          <a:ea typeface="+mj-ea"/>
          <a:cs typeface="Arial" panose="020B0604020202020204" pitchFamily="34" charset="0"/>
        </a:defRPr>
      </a:lvl1pPr>
    </p:titleStyle>
    <p:bodyStyle>
      <a:lvl1pPr marL="128585" indent="-128585" algn="l" defTabSz="514337" rtl="0" eaLnBrk="1" latinLnBrk="0" hangingPunct="1">
        <a:lnSpc>
          <a:spcPct val="90000"/>
        </a:lnSpc>
        <a:spcBef>
          <a:spcPts val="563"/>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385754" indent="-128585" algn="l" defTabSz="514337" rtl="0" eaLnBrk="1" latinLnBrk="0" hangingPunct="1">
        <a:lnSpc>
          <a:spcPct val="90000"/>
        </a:lnSpc>
        <a:spcBef>
          <a:spcPts val="281"/>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2pPr>
      <a:lvl3pPr marL="642922" indent="-128585" algn="l" defTabSz="514337" rtl="0" eaLnBrk="1" latinLnBrk="0" hangingPunct="1">
        <a:lnSpc>
          <a:spcPct val="90000"/>
        </a:lnSpc>
        <a:spcBef>
          <a:spcPts val="281"/>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900091" indent="-128585" algn="l" defTabSz="514337" rtl="0" eaLnBrk="1" latinLnBrk="0" hangingPunct="1">
        <a:lnSpc>
          <a:spcPct val="90000"/>
        </a:lnSpc>
        <a:spcBef>
          <a:spcPts val="281"/>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1157259" indent="-128585" algn="l" defTabSz="514337" rtl="0" eaLnBrk="1" latinLnBrk="0" hangingPunct="1">
        <a:lnSpc>
          <a:spcPct val="90000"/>
        </a:lnSpc>
        <a:spcBef>
          <a:spcPts val="281"/>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1414428" indent="-128585"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96" indent="-128585"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65" indent="-128585"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34" indent="-128585"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de-DE"/>
      </a:defPPr>
      <a:lvl1pPr marL="0" algn="l" defTabSz="514337" rtl="0" eaLnBrk="1" latinLnBrk="0" hangingPunct="1">
        <a:defRPr sz="1013" kern="1200">
          <a:solidFill>
            <a:schemeClr val="tx1"/>
          </a:solidFill>
          <a:latin typeface="+mn-lt"/>
          <a:ea typeface="+mn-ea"/>
          <a:cs typeface="+mn-cs"/>
        </a:defRPr>
      </a:lvl1pPr>
      <a:lvl2pPr marL="257168" algn="l" defTabSz="514337" rtl="0" eaLnBrk="1" latinLnBrk="0" hangingPunct="1">
        <a:defRPr sz="1013" kern="1200">
          <a:solidFill>
            <a:schemeClr val="tx1"/>
          </a:solidFill>
          <a:latin typeface="+mn-lt"/>
          <a:ea typeface="+mn-ea"/>
          <a:cs typeface="+mn-cs"/>
        </a:defRPr>
      </a:lvl2pPr>
      <a:lvl3pPr marL="514337" algn="l" defTabSz="514337" rtl="0" eaLnBrk="1" latinLnBrk="0" hangingPunct="1">
        <a:defRPr sz="1013" kern="1200">
          <a:solidFill>
            <a:schemeClr val="tx1"/>
          </a:solidFill>
          <a:latin typeface="+mn-lt"/>
          <a:ea typeface="+mn-ea"/>
          <a:cs typeface="+mn-cs"/>
        </a:defRPr>
      </a:lvl3pPr>
      <a:lvl4pPr marL="771506" algn="l" defTabSz="514337" rtl="0" eaLnBrk="1" latinLnBrk="0" hangingPunct="1">
        <a:defRPr sz="1013" kern="1200">
          <a:solidFill>
            <a:schemeClr val="tx1"/>
          </a:solidFill>
          <a:latin typeface="+mn-lt"/>
          <a:ea typeface="+mn-ea"/>
          <a:cs typeface="+mn-cs"/>
        </a:defRPr>
      </a:lvl4pPr>
      <a:lvl5pPr marL="1028675" algn="l" defTabSz="514337" rtl="0" eaLnBrk="1" latinLnBrk="0" hangingPunct="1">
        <a:defRPr sz="1013" kern="1200">
          <a:solidFill>
            <a:schemeClr val="tx1"/>
          </a:solidFill>
          <a:latin typeface="+mn-lt"/>
          <a:ea typeface="+mn-ea"/>
          <a:cs typeface="+mn-cs"/>
        </a:defRPr>
      </a:lvl5pPr>
      <a:lvl6pPr marL="1285843" algn="l" defTabSz="514337" rtl="0" eaLnBrk="1" latinLnBrk="0" hangingPunct="1">
        <a:defRPr sz="1013" kern="1200">
          <a:solidFill>
            <a:schemeClr val="tx1"/>
          </a:solidFill>
          <a:latin typeface="+mn-lt"/>
          <a:ea typeface="+mn-ea"/>
          <a:cs typeface="+mn-cs"/>
        </a:defRPr>
      </a:lvl6pPr>
      <a:lvl7pPr marL="1543012" algn="l" defTabSz="514337" rtl="0" eaLnBrk="1" latinLnBrk="0" hangingPunct="1">
        <a:defRPr sz="1013" kern="1200">
          <a:solidFill>
            <a:schemeClr val="tx1"/>
          </a:solidFill>
          <a:latin typeface="+mn-lt"/>
          <a:ea typeface="+mn-ea"/>
          <a:cs typeface="+mn-cs"/>
        </a:defRPr>
      </a:lvl7pPr>
      <a:lvl8pPr marL="1800180" algn="l" defTabSz="514337" rtl="0" eaLnBrk="1" latinLnBrk="0" hangingPunct="1">
        <a:defRPr sz="1013" kern="1200">
          <a:solidFill>
            <a:schemeClr val="tx1"/>
          </a:solidFill>
          <a:latin typeface="+mn-lt"/>
          <a:ea typeface="+mn-ea"/>
          <a:cs typeface="+mn-cs"/>
        </a:defRPr>
      </a:lvl8pPr>
      <a:lvl9pPr marL="2057348" algn="l" defTabSz="514337" rtl="0" eaLnBrk="1" latinLnBrk="0" hangingPunct="1">
        <a:defRPr sz="101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8.xml"/><Relationship Id="rId5" Type="http://schemas.openxmlformats.org/officeDocument/2006/relationships/image" Target="../media/image44.png"/><Relationship Id="rId4" Type="http://schemas.openxmlformats.org/officeDocument/2006/relationships/image" Target="../media/image43.png"/></Relationships>
</file>

<file path=ppt/slides/_rels/slide2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xml"/><Relationship Id="rId1" Type="http://schemas.openxmlformats.org/officeDocument/2006/relationships/slideLayout" Target="../slideLayouts/slideLayout8.xml"/><Relationship Id="rId4" Type="http://schemas.openxmlformats.org/officeDocument/2006/relationships/image" Target="../media/image49.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8.xml"/><Relationship Id="rId5" Type="http://schemas.openxmlformats.org/officeDocument/2006/relationships/image" Target="../media/image57.png"/><Relationship Id="rId4" Type="http://schemas.openxmlformats.org/officeDocument/2006/relationships/image" Target="../media/image56.png"/></Relationships>
</file>

<file path=ppt/slides/_rels/slide2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8.xml"/><Relationship Id="rId5" Type="http://schemas.openxmlformats.org/officeDocument/2006/relationships/image" Target="../media/image61.png"/><Relationship Id="rId4" Type="http://schemas.openxmlformats.org/officeDocument/2006/relationships/image" Target="../media/image60.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slideLayout" Target="../slideLayouts/slideLayout8.xml"/><Relationship Id="rId1" Type="http://schemas.openxmlformats.org/officeDocument/2006/relationships/themeOverride" Target="../theme/themeOverride2.xml"/></Relationships>
</file>

<file path=ppt/slides/_rels/slide32.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slideLayout" Target="../slideLayouts/slideLayout8.xml"/><Relationship Id="rId1" Type="http://schemas.openxmlformats.org/officeDocument/2006/relationships/themeOverride" Target="../theme/themeOverride3.xml"/></Relationships>
</file>

<file path=ppt/slides/_rels/slide36.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8.xml"/><Relationship Id="rId4" Type="http://schemas.openxmlformats.org/officeDocument/2006/relationships/image" Target="../media/image73.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80.png"/><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3" Type="http://schemas.openxmlformats.org/officeDocument/2006/relationships/image" Target="../media/image82.png"/><Relationship Id="rId7" Type="http://schemas.openxmlformats.org/officeDocument/2006/relationships/image" Target="../media/image86.png"/><Relationship Id="rId2" Type="http://schemas.openxmlformats.org/officeDocument/2006/relationships/image" Target="../media/image81.png"/><Relationship Id="rId1" Type="http://schemas.openxmlformats.org/officeDocument/2006/relationships/slideLayout" Target="../slideLayouts/slideLayout8.xml"/><Relationship Id="rId6" Type="http://schemas.openxmlformats.org/officeDocument/2006/relationships/image" Target="../media/image85.png"/><Relationship Id="rId5" Type="http://schemas.openxmlformats.org/officeDocument/2006/relationships/image" Target="../media/image84.png"/><Relationship Id="rId4" Type="http://schemas.openxmlformats.org/officeDocument/2006/relationships/image" Target="../media/image83.png"/></Relationships>
</file>

<file path=ppt/slides/_rels/slide4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87.png"/><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8.xml"/><Relationship Id="rId6" Type="http://schemas.openxmlformats.org/officeDocument/2006/relationships/image" Target="../media/image92.png"/><Relationship Id="rId5" Type="http://schemas.openxmlformats.org/officeDocument/2006/relationships/image" Target="../media/image91.png"/><Relationship Id="rId4" Type="http://schemas.openxmlformats.org/officeDocument/2006/relationships/image" Target="../media/image90.pn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Layout" Target="../slideLayouts/slideLayout8.xml"/><Relationship Id="rId4" Type="http://schemas.openxmlformats.org/officeDocument/2006/relationships/image" Target="../media/image95.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png"/><Relationship Id="rId1" Type="http://schemas.openxmlformats.org/officeDocument/2006/relationships/slideLayout" Target="../slideLayouts/slideLayout8.xml"/><Relationship Id="rId4" Type="http://schemas.openxmlformats.org/officeDocument/2006/relationships/image" Target="../media/image98.pn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9.png"/><Relationship Id="rId1" Type="http://schemas.openxmlformats.org/officeDocument/2006/relationships/slideLayout" Target="../slideLayouts/slideLayout8.xml"/><Relationship Id="rId4" Type="http://schemas.openxmlformats.org/officeDocument/2006/relationships/image" Target="../media/image100.png"/></Relationships>
</file>

<file path=ppt/slides/_rels/slide53.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png"/><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106.png"/><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6.png"/><Relationship Id="rId1" Type="http://schemas.openxmlformats.org/officeDocument/2006/relationships/slideLayout" Target="../slideLayouts/slideLayout8.xml"/><Relationship Id="rId4" Type="http://schemas.openxmlformats.org/officeDocument/2006/relationships/image" Target="../media/image108.png"/></Relationships>
</file>

<file path=ppt/slides/_rels/slide59.xml.rels><?xml version="1.0" encoding="UTF-8" standalone="yes"?>
<Relationships xmlns="http://schemas.openxmlformats.org/package/2006/relationships"><Relationship Id="rId3" Type="http://schemas.openxmlformats.org/officeDocument/2006/relationships/image" Target="../media/image109.jpeg"/><Relationship Id="rId7" Type="http://schemas.openxmlformats.org/officeDocument/2006/relationships/image" Target="../media/image113.png"/><Relationship Id="rId2" Type="http://schemas.openxmlformats.org/officeDocument/2006/relationships/hyperlink" Target="http://www.fda.gov/" TargetMode="External"/><Relationship Id="rId1" Type="http://schemas.openxmlformats.org/officeDocument/2006/relationships/slideLayout" Target="../slideLayouts/slideLayout8.xml"/><Relationship Id="rId6" Type="http://schemas.openxmlformats.org/officeDocument/2006/relationships/image" Target="../media/image112.png"/><Relationship Id="rId5" Type="http://schemas.openxmlformats.org/officeDocument/2006/relationships/image" Target="../media/image111.png"/><Relationship Id="rId4" Type="http://schemas.openxmlformats.org/officeDocument/2006/relationships/image" Target="../media/image110.png"/></Relationships>
</file>

<file path=ppt/slides/_rels/slide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8.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5.png"/><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image" Target="../media/image119.png"/><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3" Type="http://schemas.openxmlformats.org/officeDocument/2006/relationships/slide" Target="slide72.xml"/><Relationship Id="rId2" Type="http://schemas.openxmlformats.org/officeDocument/2006/relationships/slide" Target="slide70.xml"/><Relationship Id="rId1" Type="http://schemas.openxmlformats.org/officeDocument/2006/relationships/slideLayout" Target="../slideLayouts/slideLayout8.xml"/><Relationship Id="rId4" Type="http://schemas.openxmlformats.org/officeDocument/2006/relationships/slide" Target="slide74.xml"/></Relationships>
</file>

<file path=ppt/slides/_rels/slide69.xml.rels><?xml version="1.0" encoding="UTF-8" standalone="yes"?>
<Relationships xmlns="http://schemas.openxmlformats.org/package/2006/relationships"><Relationship Id="rId3" Type="http://schemas.openxmlformats.org/officeDocument/2006/relationships/image" Target="../media/image122.png"/><Relationship Id="rId7" Type="http://schemas.openxmlformats.org/officeDocument/2006/relationships/image" Target="../media/image126.png"/><Relationship Id="rId2" Type="http://schemas.openxmlformats.org/officeDocument/2006/relationships/image" Target="../media/image121.png"/><Relationship Id="rId1" Type="http://schemas.openxmlformats.org/officeDocument/2006/relationships/slideLayout" Target="../slideLayouts/slideLayout8.xml"/><Relationship Id="rId6" Type="http://schemas.openxmlformats.org/officeDocument/2006/relationships/image" Target="../media/image125.png"/><Relationship Id="rId5" Type="http://schemas.openxmlformats.org/officeDocument/2006/relationships/image" Target="../media/image124.png"/><Relationship Id="rId4" Type="http://schemas.openxmlformats.org/officeDocument/2006/relationships/image" Target="../media/image123.png"/></Relationships>
</file>

<file path=ppt/slides/_rels/slide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8.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image" Target="../media/image127.png"/><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6.xml.rels><?xml version="1.0" encoding="UTF-8" standalone="yes"?>
<Relationships xmlns="http://schemas.openxmlformats.org/package/2006/relationships"><Relationship Id="rId8" Type="http://schemas.openxmlformats.org/officeDocument/2006/relationships/image" Target="../media/image135.png"/><Relationship Id="rId3" Type="http://schemas.openxmlformats.org/officeDocument/2006/relationships/image" Target="../media/image130.png"/><Relationship Id="rId7" Type="http://schemas.openxmlformats.org/officeDocument/2006/relationships/image" Target="../media/image134.png"/><Relationship Id="rId2" Type="http://schemas.openxmlformats.org/officeDocument/2006/relationships/image" Target="../media/image129.png"/><Relationship Id="rId1" Type="http://schemas.openxmlformats.org/officeDocument/2006/relationships/slideLayout" Target="../slideLayouts/slideLayout8.xml"/><Relationship Id="rId6" Type="http://schemas.openxmlformats.org/officeDocument/2006/relationships/image" Target="../media/image133.png"/><Relationship Id="rId5" Type="http://schemas.openxmlformats.org/officeDocument/2006/relationships/image" Target="../media/image132.png"/><Relationship Id="rId4" Type="http://schemas.openxmlformats.org/officeDocument/2006/relationships/image" Target="../media/image131.png"/></Relationships>
</file>

<file path=ppt/slides/_rels/slide77.xml.rels><?xml version="1.0" encoding="UTF-8" standalone="yes"?>
<Relationships xmlns="http://schemas.openxmlformats.org/package/2006/relationships"><Relationship Id="rId3" Type="http://schemas.openxmlformats.org/officeDocument/2006/relationships/image" Target="../media/image137.svg"/><Relationship Id="rId7" Type="http://schemas.openxmlformats.org/officeDocument/2006/relationships/image" Target="../media/image133.png"/><Relationship Id="rId2" Type="http://schemas.openxmlformats.org/officeDocument/2006/relationships/image" Target="../media/image136.png"/><Relationship Id="rId1" Type="http://schemas.openxmlformats.org/officeDocument/2006/relationships/slideLayout" Target="../slideLayouts/slideLayout8.xml"/><Relationship Id="rId6" Type="http://schemas.openxmlformats.org/officeDocument/2006/relationships/image" Target="../media/image140.svg"/><Relationship Id="rId5" Type="http://schemas.openxmlformats.org/officeDocument/2006/relationships/image" Target="../media/image139.svg"/><Relationship Id="rId4" Type="http://schemas.openxmlformats.org/officeDocument/2006/relationships/image" Target="../media/image138.png"/></Relationships>
</file>

<file path=ppt/slides/_rels/slide78.xml.rels><?xml version="1.0" encoding="UTF-8" standalone="yes"?>
<Relationships xmlns="http://schemas.openxmlformats.org/package/2006/relationships"><Relationship Id="rId3" Type="http://schemas.openxmlformats.org/officeDocument/2006/relationships/image" Target="../media/image142.svg"/><Relationship Id="rId2" Type="http://schemas.openxmlformats.org/officeDocument/2006/relationships/image" Target="../media/image141.png"/><Relationship Id="rId1" Type="http://schemas.openxmlformats.org/officeDocument/2006/relationships/slideLayout" Target="../slideLayouts/slideLayout8.xml"/><Relationship Id="rId4" Type="http://schemas.openxmlformats.org/officeDocument/2006/relationships/image" Target="../media/image133.png"/></Relationships>
</file>

<file path=ppt/slides/_rels/slide79.xml.rels><?xml version="1.0" encoding="UTF-8" standalone="yes"?>
<Relationships xmlns="http://schemas.openxmlformats.org/package/2006/relationships"><Relationship Id="rId3" Type="http://schemas.openxmlformats.org/officeDocument/2006/relationships/image" Target="../media/image139.svg"/><Relationship Id="rId2" Type="http://schemas.openxmlformats.org/officeDocument/2006/relationships/image" Target="../media/image138.png"/><Relationship Id="rId1" Type="http://schemas.openxmlformats.org/officeDocument/2006/relationships/slideLayout" Target="../slideLayouts/slideLayout8.xml"/><Relationship Id="rId5" Type="http://schemas.openxmlformats.org/officeDocument/2006/relationships/image" Target="../media/image133.png"/><Relationship Id="rId4" Type="http://schemas.openxmlformats.org/officeDocument/2006/relationships/image" Target="../media/image140.svg"/></Relationships>
</file>

<file path=ppt/slides/_rels/slide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slideLayout" Target="../slideLayouts/slideLayout8.xml"/><Relationship Id="rId1" Type="http://schemas.openxmlformats.org/officeDocument/2006/relationships/themeOverride" Target="../theme/themeOverride1.xml"/></Relationships>
</file>

<file path=ppt/slides/_rels/slide80.xml.rels><?xml version="1.0" encoding="UTF-8" standalone="yes"?>
<Relationships xmlns="http://schemas.openxmlformats.org/package/2006/relationships"><Relationship Id="rId3" Type="http://schemas.openxmlformats.org/officeDocument/2006/relationships/image" Target="../media/image140.svg"/><Relationship Id="rId7" Type="http://schemas.openxmlformats.org/officeDocument/2006/relationships/image" Target="../media/image144.png"/><Relationship Id="rId2" Type="http://schemas.openxmlformats.org/officeDocument/2006/relationships/image" Target="../media/image138.png"/><Relationship Id="rId1" Type="http://schemas.openxmlformats.org/officeDocument/2006/relationships/slideLayout" Target="../slideLayouts/slideLayout8.xml"/><Relationship Id="rId6" Type="http://schemas.openxmlformats.org/officeDocument/2006/relationships/image" Target="../media/image143.png"/><Relationship Id="rId5" Type="http://schemas.openxmlformats.org/officeDocument/2006/relationships/image" Target="../media/image142.svg"/><Relationship Id="rId4" Type="http://schemas.openxmlformats.org/officeDocument/2006/relationships/image" Target="../media/image141.png"/></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1F4646-E8DB-4A47-961C-1EFD7A4C3CE7}"/>
              </a:ext>
            </a:extLst>
          </p:cNvPr>
          <p:cNvSpPr>
            <a:spLocks noGrp="1"/>
          </p:cNvSpPr>
          <p:nvPr>
            <p:ph type="title"/>
          </p:nvPr>
        </p:nvSpPr>
        <p:spPr/>
        <p:txBody>
          <a:bodyPr/>
          <a:lstStyle/>
          <a:p>
            <a:r>
              <a:rPr lang="de-DE"/>
              <a:t>SAP EUDAMED Add-On Training  </a:t>
            </a:r>
          </a:p>
        </p:txBody>
      </p:sp>
      <p:sp>
        <p:nvSpPr>
          <p:cNvPr id="3" name="Textplatzhalter 2">
            <a:extLst>
              <a:ext uri="{FF2B5EF4-FFF2-40B4-BE49-F238E27FC236}">
                <a16:creationId xmlns:a16="http://schemas.microsoft.com/office/drawing/2014/main" id="{7716F4FB-E2A6-4989-A910-CBF8CC87B56B}"/>
              </a:ext>
            </a:extLst>
          </p:cNvPr>
          <p:cNvSpPr>
            <a:spLocks noGrp="1"/>
          </p:cNvSpPr>
          <p:nvPr>
            <p:ph type="body" sz="quarter" idx="18"/>
          </p:nvPr>
        </p:nvSpPr>
        <p:spPr/>
        <p:txBody>
          <a:bodyPr/>
          <a:lstStyle/>
          <a:p>
            <a:r>
              <a:rPr lang="de-DE" dirty="0"/>
              <a:t>Version V2022/02</a:t>
            </a:r>
          </a:p>
        </p:txBody>
      </p:sp>
    </p:spTree>
    <p:extLst>
      <p:ext uri="{BB962C8B-B14F-4D97-AF65-F5344CB8AC3E}">
        <p14:creationId xmlns:p14="http://schemas.microsoft.com/office/powerpoint/2010/main" val="33154759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17403686-94D3-4A24-BDEB-07854049E7FA}"/>
              </a:ext>
            </a:extLst>
          </p:cNvPr>
          <p:cNvSpPr>
            <a:spLocks noGrp="1"/>
          </p:cNvSpPr>
          <p:nvPr>
            <p:ph type="title"/>
          </p:nvPr>
        </p:nvSpPr>
        <p:spPr/>
        <p:txBody>
          <a:bodyPr>
            <a:normAutofit fontScale="90000"/>
          </a:bodyPr>
          <a:lstStyle/>
          <a:p>
            <a:r>
              <a:rPr lang="de-DE"/>
              <a:t>2. </a:t>
            </a:r>
            <a:r>
              <a:rPr lang="en-US"/>
              <a:t>W</a:t>
            </a:r>
            <a:r>
              <a:rPr lang="en-US" sz="1800" b="1"/>
              <a:t>ork processes from the database to data transmission </a:t>
            </a:r>
            <a:endParaRPr lang="de-DE"/>
          </a:p>
        </p:txBody>
      </p:sp>
      <p:sp>
        <p:nvSpPr>
          <p:cNvPr id="31" name="Rechteck: abgerundete Ecken 30">
            <a:extLst>
              <a:ext uri="{FF2B5EF4-FFF2-40B4-BE49-F238E27FC236}">
                <a16:creationId xmlns:a16="http://schemas.microsoft.com/office/drawing/2014/main" id="{C2E356A7-F0C9-4E37-8904-4CFAE1F864A1}"/>
              </a:ext>
            </a:extLst>
          </p:cNvPr>
          <p:cNvSpPr/>
          <p:nvPr/>
        </p:nvSpPr>
        <p:spPr>
          <a:xfrm>
            <a:off x="5097017" y="1537771"/>
            <a:ext cx="1797627" cy="1936246"/>
          </a:xfrm>
          <a:prstGeom prst="round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sz="1200" b="1">
                <a:solidFill>
                  <a:schemeClr val="tx1"/>
                </a:solidFill>
                <a:latin typeface="Arial" panose="020B0604020202020204" pitchFamily="34" charset="0"/>
                <a:cs typeface="Arial" panose="020B0604020202020204" pitchFamily="34" charset="0"/>
              </a:rPr>
              <a:t>Data </a:t>
            </a:r>
            <a:r>
              <a:rPr lang="de-DE" sz="1200" b="1" err="1">
                <a:solidFill>
                  <a:schemeClr val="tx1"/>
                </a:solidFill>
                <a:latin typeface="Arial" panose="020B0604020202020204" pitchFamily="34" charset="0"/>
                <a:cs typeface="Arial" panose="020B0604020202020204" pitchFamily="34" charset="0"/>
              </a:rPr>
              <a:t>transmission</a:t>
            </a:r>
            <a:endParaRPr lang="de-DE" sz="1200" b="1">
              <a:solidFill>
                <a:schemeClr val="tx1"/>
              </a:solidFill>
              <a:latin typeface="Arial" panose="020B0604020202020204" pitchFamily="34" charset="0"/>
              <a:cs typeface="Arial" panose="020B0604020202020204" pitchFamily="34" charset="0"/>
            </a:endParaRPr>
          </a:p>
          <a:p>
            <a:pPr algn="ctr"/>
            <a:endParaRPr lang="de-DE" sz="1200">
              <a:latin typeface="Arial" panose="020B0604020202020204" pitchFamily="34" charset="0"/>
              <a:cs typeface="Arial" panose="020B0604020202020204" pitchFamily="34" charset="0"/>
            </a:endParaRPr>
          </a:p>
          <a:p>
            <a:pPr algn="ctr"/>
            <a:endParaRPr lang="de-DE" sz="1200">
              <a:latin typeface="Arial" panose="020B0604020202020204" pitchFamily="34" charset="0"/>
              <a:cs typeface="Arial" panose="020B0604020202020204" pitchFamily="34" charset="0"/>
            </a:endParaRPr>
          </a:p>
          <a:p>
            <a:pPr algn="ctr"/>
            <a:endParaRPr lang="de-DE" sz="1200">
              <a:latin typeface="Arial" panose="020B0604020202020204" pitchFamily="34" charset="0"/>
              <a:cs typeface="Arial" panose="020B0604020202020204" pitchFamily="34" charset="0"/>
            </a:endParaRPr>
          </a:p>
          <a:p>
            <a:pPr algn="ctr"/>
            <a:endParaRPr lang="de-DE" sz="1200">
              <a:latin typeface="Arial" panose="020B0604020202020204" pitchFamily="34" charset="0"/>
              <a:cs typeface="Arial" panose="020B0604020202020204" pitchFamily="34" charset="0"/>
            </a:endParaRPr>
          </a:p>
          <a:p>
            <a:pPr algn="ctr"/>
            <a:endParaRPr lang="de-CH" sz="1200">
              <a:latin typeface="Arial" panose="020B0604020202020204" pitchFamily="34" charset="0"/>
              <a:cs typeface="Arial" panose="020B0604020202020204" pitchFamily="34" charset="0"/>
            </a:endParaRPr>
          </a:p>
        </p:txBody>
      </p:sp>
      <p:sp>
        <p:nvSpPr>
          <p:cNvPr id="35" name="Rechteck: abgerundete Ecken 34">
            <a:extLst>
              <a:ext uri="{FF2B5EF4-FFF2-40B4-BE49-F238E27FC236}">
                <a16:creationId xmlns:a16="http://schemas.microsoft.com/office/drawing/2014/main" id="{2F00C498-6C91-4802-B79A-B21A351086B1}"/>
              </a:ext>
            </a:extLst>
          </p:cNvPr>
          <p:cNvSpPr/>
          <p:nvPr/>
        </p:nvSpPr>
        <p:spPr>
          <a:xfrm>
            <a:off x="347716" y="1540014"/>
            <a:ext cx="1620000" cy="776776"/>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Arial" panose="020B0604020202020204" pitchFamily="34" charset="0"/>
                <a:cs typeface="Arial" panose="020B0604020202020204" pitchFamily="34" charset="0"/>
              </a:rPr>
              <a:t>Product creation in the Add-On</a:t>
            </a:r>
          </a:p>
        </p:txBody>
      </p:sp>
      <p:sp>
        <p:nvSpPr>
          <p:cNvPr id="36" name="Rechteck: abgerundete Ecken 35">
            <a:extLst>
              <a:ext uri="{FF2B5EF4-FFF2-40B4-BE49-F238E27FC236}">
                <a16:creationId xmlns:a16="http://schemas.microsoft.com/office/drawing/2014/main" id="{D66D3841-4BE4-4211-9A3B-E6FBAB054984}"/>
              </a:ext>
            </a:extLst>
          </p:cNvPr>
          <p:cNvSpPr/>
          <p:nvPr/>
        </p:nvSpPr>
        <p:spPr>
          <a:xfrm>
            <a:off x="2026073" y="1548429"/>
            <a:ext cx="1620000" cy="776776"/>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err="1">
                <a:solidFill>
                  <a:schemeClr val="bg1"/>
                </a:solidFill>
                <a:latin typeface="Arial" panose="020B0604020202020204" pitchFamily="34" charset="0"/>
                <a:cs typeface="Arial" panose="020B0604020202020204" pitchFamily="34" charset="0"/>
              </a:rPr>
              <a:t>Product</a:t>
            </a:r>
            <a:r>
              <a:rPr lang="de-CH" sz="1200">
                <a:solidFill>
                  <a:schemeClr val="bg1"/>
                </a:solidFill>
                <a:latin typeface="Arial" panose="020B0604020202020204" pitchFamily="34" charset="0"/>
                <a:cs typeface="Arial" panose="020B0604020202020204" pitchFamily="34" charset="0"/>
              </a:rPr>
              <a:t> </a:t>
            </a:r>
            <a:r>
              <a:rPr lang="de-CH" sz="1200" err="1">
                <a:solidFill>
                  <a:schemeClr val="bg1"/>
                </a:solidFill>
                <a:latin typeface="Arial" panose="020B0604020202020204" pitchFamily="34" charset="0"/>
                <a:cs typeface="Arial" panose="020B0604020202020204" pitchFamily="34" charset="0"/>
              </a:rPr>
              <a:t>creation</a:t>
            </a:r>
            <a:r>
              <a:rPr lang="de-CH" sz="1200">
                <a:solidFill>
                  <a:schemeClr val="bg1"/>
                </a:solidFill>
                <a:latin typeface="Arial" panose="020B0604020202020204" pitchFamily="34" charset="0"/>
                <a:cs typeface="Arial" panose="020B0604020202020204" pitchFamily="34" charset="0"/>
              </a:rPr>
              <a:t> </a:t>
            </a:r>
            <a:r>
              <a:rPr lang="de-CH" sz="1200" err="1">
                <a:solidFill>
                  <a:schemeClr val="bg1"/>
                </a:solidFill>
                <a:latin typeface="Arial" panose="020B0604020202020204" pitchFamily="34" charset="0"/>
                <a:cs typeface="Arial" panose="020B0604020202020204" pitchFamily="34" charset="0"/>
              </a:rPr>
              <a:t>with</a:t>
            </a:r>
            <a:r>
              <a:rPr lang="de-CH" sz="1200">
                <a:solidFill>
                  <a:schemeClr val="bg1"/>
                </a:solidFill>
                <a:latin typeface="Arial" panose="020B0604020202020204" pitchFamily="34" charset="0"/>
                <a:cs typeface="Arial" panose="020B0604020202020204" pitchFamily="34" charset="0"/>
              </a:rPr>
              <a:t> Excel</a:t>
            </a:r>
          </a:p>
        </p:txBody>
      </p:sp>
      <p:sp>
        <p:nvSpPr>
          <p:cNvPr id="37" name="Rechteck: abgerundete Ecken 36">
            <a:extLst>
              <a:ext uri="{FF2B5EF4-FFF2-40B4-BE49-F238E27FC236}">
                <a16:creationId xmlns:a16="http://schemas.microsoft.com/office/drawing/2014/main" id="{C4BE9CCD-C203-414F-B252-20F9929F8E62}"/>
              </a:ext>
            </a:extLst>
          </p:cNvPr>
          <p:cNvSpPr/>
          <p:nvPr/>
        </p:nvSpPr>
        <p:spPr>
          <a:xfrm>
            <a:off x="1191046" y="2591329"/>
            <a:ext cx="1620000" cy="875128"/>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a:latin typeface="Arial" panose="020B0604020202020204" pitchFamily="34" charset="0"/>
                <a:cs typeface="Arial" panose="020B0604020202020204" pitchFamily="34" charset="0"/>
              </a:rPr>
              <a:t>Mass </a:t>
            </a:r>
            <a:r>
              <a:rPr lang="de-CH" sz="1200" err="1">
                <a:latin typeface="Arial" panose="020B0604020202020204" pitchFamily="34" charset="0"/>
                <a:cs typeface="Arial" panose="020B0604020202020204" pitchFamily="34" charset="0"/>
              </a:rPr>
              <a:t>change</a:t>
            </a:r>
            <a:r>
              <a:rPr lang="de-CH" sz="1200">
                <a:latin typeface="Arial" panose="020B0604020202020204" pitchFamily="34" charset="0"/>
                <a:cs typeface="Arial" panose="020B0604020202020204" pitchFamily="34" charset="0"/>
              </a:rPr>
              <a:t> </a:t>
            </a:r>
          </a:p>
          <a:p>
            <a:pPr marL="171450" indent="-171450">
              <a:buFont typeface="Arial" panose="020B0604020202020204" pitchFamily="34" charset="0"/>
              <a:buChar char="•"/>
            </a:pPr>
            <a:r>
              <a:rPr lang="de-CH" sz="1200" err="1">
                <a:latin typeface="Arial" panose="020B0604020202020204" pitchFamily="34" charset="0"/>
                <a:cs typeface="Arial" panose="020B0604020202020204" pitchFamily="34" charset="0"/>
              </a:rPr>
              <a:t>with</a:t>
            </a:r>
            <a:r>
              <a:rPr lang="de-CH" sz="1200">
                <a:latin typeface="Arial" panose="020B0604020202020204" pitchFamily="34" charset="0"/>
                <a:cs typeface="Arial" panose="020B0604020202020204" pitchFamily="34" charset="0"/>
              </a:rPr>
              <a:t> Excel</a:t>
            </a:r>
          </a:p>
          <a:p>
            <a:pPr marL="171450" indent="-171450">
              <a:buFont typeface="Arial" panose="020B0604020202020204" pitchFamily="34" charset="0"/>
              <a:buChar char="•"/>
            </a:pPr>
            <a:r>
              <a:rPr lang="de-CH" sz="1200">
                <a:latin typeface="Arial" panose="020B0604020202020204" pitchFamily="34" charset="0"/>
                <a:cs typeface="Arial" panose="020B0604020202020204" pitchFamily="34" charset="0"/>
              </a:rPr>
              <a:t>in </a:t>
            </a:r>
            <a:r>
              <a:rPr lang="de-CH" sz="1200" err="1">
                <a:latin typeface="Arial" panose="020B0604020202020204" pitchFamily="34" charset="0"/>
                <a:cs typeface="Arial" panose="020B0604020202020204" pitchFamily="34" charset="0"/>
              </a:rPr>
              <a:t>the</a:t>
            </a:r>
            <a:r>
              <a:rPr lang="de-CH" sz="1200">
                <a:latin typeface="Arial" panose="020B0604020202020204" pitchFamily="34" charset="0"/>
                <a:cs typeface="Arial" panose="020B0604020202020204" pitchFamily="34" charset="0"/>
              </a:rPr>
              <a:t> Add-On</a:t>
            </a:r>
          </a:p>
        </p:txBody>
      </p:sp>
      <p:sp>
        <p:nvSpPr>
          <p:cNvPr id="38" name="Rechteck: abgerundete Ecken 37">
            <a:extLst>
              <a:ext uri="{FF2B5EF4-FFF2-40B4-BE49-F238E27FC236}">
                <a16:creationId xmlns:a16="http://schemas.microsoft.com/office/drawing/2014/main" id="{ED09656B-C0AC-4936-AD21-246475444A6A}"/>
              </a:ext>
            </a:extLst>
          </p:cNvPr>
          <p:cNvSpPr/>
          <p:nvPr/>
        </p:nvSpPr>
        <p:spPr>
          <a:xfrm>
            <a:off x="3182665" y="2591329"/>
            <a:ext cx="1620000" cy="875128"/>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a:latin typeface="Arial" panose="020B0604020202020204" pitchFamily="34" charset="0"/>
                <a:cs typeface="Arial" panose="020B0604020202020204" pitchFamily="34" charset="0"/>
              </a:rPr>
              <a:t>Data </a:t>
            </a:r>
            <a:r>
              <a:rPr lang="de-CH" sz="1200" err="1">
                <a:latin typeface="Arial" panose="020B0604020202020204" pitchFamily="34" charset="0"/>
                <a:cs typeface="Arial" panose="020B0604020202020204" pitchFamily="34" charset="0"/>
              </a:rPr>
              <a:t>overview</a:t>
            </a:r>
            <a:r>
              <a:rPr lang="de-CH" sz="1200">
                <a:latin typeface="Arial" panose="020B0604020202020204" pitchFamily="34" charset="0"/>
                <a:cs typeface="Arial" panose="020B0604020202020204" pitchFamily="34" charset="0"/>
              </a:rPr>
              <a:t>,</a:t>
            </a:r>
          </a:p>
          <a:p>
            <a:pPr algn="ctr"/>
            <a:r>
              <a:rPr lang="de-CH" sz="1200" err="1">
                <a:latin typeface="Arial" panose="020B0604020202020204" pitchFamily="34" charset="0"/>
                <a:cs typeface="Arial" panose="020B0604020202020204" pitchFamily="34" charset="0"/>
              </a:rPr>
              <a:t>visual</a:t>
            </a:r>
            <a:r>
              <a:rPr lang="de-CH" sz="1200">
                <a:latin typeface="Arial" panose="020B0604020202020204" pitchFamily="34" charset="0"/>
                <a:cs typeface="Arial" panose="020B0604020202020204" pitchFamily="34" charset="0"/>
              </a:rPr>
              <a:t> </a:t>
            </a:r>
            <a:r>
              <a:rPr lang="de-CH" sz="1200" err="1">
                <a:latin typeface="Arial" panose="020B0604020202020204" pitchFamily="34" charset="0"/>
                <a:cs typeface="Arial" panose="020B0604020202020204" pitchFamily="34" charset="0"/>
              </a:rPr>
              <a:t>data</a:t>
            </a:r>
            <a:r>
              <a:rPr lang="de-CH" sz="1200">
                <a:latin typeface="Arial" panose="020B0604020202020204" pitchFamily="34" charset="0"/>
                <a:cs typeface="Arial" panose="020B0604020202020204" pitchFamily="34" charset="0"/>
              </a:rPr>
              <a:t> check</a:t>
            </a:r>
          </a:p>
          <a:p>
            <a:pPr algn="ctr"/>
            <a:r>
              <a:rPr lang="de-CH" sz="1200">
                <a:latin typeface="Arial" panose="020B0604020202020204" pitchFamily="34" charset="0"/>
                <a:cs typeface="Arial" panose="020B0604020202020204" pitchFamily="34" charset="0"/>
              </a:rPr>
              <a:t>/UDI/Attributes</a:t>
            </a:r>
          </a:p>
        </p:txBody>
      </p:sp>
      <p:sp>
        <p:nvSpPr>
          <p:cNvPr id="39" name="Rechteck: abgerundete Ecken 38">
            <a:extLst>
              <a:ext uri="{FF2B5EF4-FFF2-40B4-BE49-F238E27FC236}">
                <a16:creationId xmlns:a16="http://schemas.microsoft.com/office/drawing/2014/main" id="{9A5867D7-3747-4F74-80A8-1B5AF417EA49}"/>
              </a:ext>
            </a:extLst>
          </p:cNvPr>
          <p:cNvSpPr/>
          <p:nvPr/>
        </p:nvSpPr>
        <p:spPr>
          <a:xfrm>
            <a:off x="5195571" y="3825404"/>
            <a:ext cx="1620000" cy="702778"/>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latin typeface="Arial" panose="020B0604020202020204" pitchFamily="34" charset="0"/>
                <a:cs typeface="Arial" panose="020B0604020202020204" pitchFamily="34" charset="0"/>
              </a:rPr>
              <a:t>Data release /</a:t>
            </a:r>
          </a:p>
          <a:p>
            <a:pPr algn="ctr"/>
            <a:r>
              <a:rPr lang="en-US" sz="1200">
                <a:latin typeface="Arial" panose="020B0604020202020204" pitchFamily="34" charset="0"/>
                <a:cs typeface="Arial" panose="020B0604020202020204" pitchFamily="34" charset="0"/>
              </a:rPr>
              <a:t>Lock trigger fields</a:t>
            </a:r>
          </a:p>
        </p:txBody>
      </p:sp>
      <p:sp>
        <p:nvSpPr>
          <p:cNvPr id="40" name="Rechteck: abgerundete Ecken 39">
            <a:extLst>
              <a:ext uri="{FF2B5EF4-FFF2-40B4-BE49-F238E27FC236}">
                <a16:creationId xmlns:a16="http://schemas.microsoft.com/office/drawing/2014/main" id="{1F9F01A8-FA07-42C7-AF3A-103F301FB65B}"/>
              </a:ext>
            </a:extLst>
          </p:cNvPr>
          <p:cNvSpPr/>
          <p:nvPr/>
        </p:nvSpPr>
        <p:spPr>
          <a:xfrm>
            <a:off x="5195571" y="2397705"/>
            <a:ext cx="1620000" cy="314633"/>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a:latin typeface="Arial" panose="020B0604020202020204" pitchFamily="34" charset="0"/>
                <a:cs typeface="Arial" panose="020B0604020202020204" pitchFamily="34" charset="0"/>
              </a:rPr>
              <a:t>XML </a:t>
            </a:r>
            <a:r>
              <a:rPr lang="de-CH" sz="1200" err="1">
                <a:latin typeface="Arial" panose="020B0604020202020204" pitchFamily="34" charset="0"/>
                <a:cs typeface="Arial" panose="020B0604020202020204" pitchFamily="34" charset="0"/>
              </a:rPr>
              <a:t>export</a:t>
            </a:r>
            <a:endParaRPr lang="de-CH" sz="1200">
              <a:latin typeface="Arial" panose="020B0604020202020204" pitchFamily="34" charset="0"/>
              <a:cs typeface="Arial" panose="020B0604020202020204" pitchFamily="34" charset="0"/>
            </a:endParaRPr>
          </a:p>
        </p:txBody>
      </p:sp>
      <p:sp>
        <p:nvSpPr>
          <p:cNvPr id="41" name="Rechteck: abgerundete Ecken 40">
            <a:extLst>
              <a:ext uri="{FF2B5EF4-FFF2-40B4-BE49-F238E27FC236}">
                <a16:creationId xmlns:a16="http://schemas.microsoft.com/office/drawing/2014/main" id="{8E2A35B4-08DC-4C68-80B1-B6FA91906473}"/>
              </a:ext>
            </a:extLst>
          </p:cNvPr>
          <p:cNvSpPr/>
          <p:nvPr/>
        </p:nvSpPr>
        <p:spPr>
          <a:xfrm>
            <a:off x="3182664" y="3825404"/>
            <a:ext cx="1620000" cy="702778"/>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a:latin typeface="Arial" panose="020B0604020202020204" pitchFamily="34" charset="0"/>
                <a:cs typeface="Arial" panose="020B0604020202020204" pitchFamily="34" charset="0"/>
              </a:rPr>
              <a:t>Integrity check</a:t>
            </a:r>
          </a:p>
          <a:p>
            <a:pPr algn="ctr"/>
            <a:r>
              <a:rPr lang="de-CH" sz="1200">
                <a:latin typeface="Arial" panose="020B0604020202020204" pitchFamily="34" charset="0"/>
                <a:cs typeface="Arial" panose="020B0604020202020204" pitchFamily="34" charset="0"/>
              </a:rPr>
              <a:t>Validation check</a:t>
            </a:r>
          </a:p>
        </p:txBody>
      </p:sp>
      <p:sp>
        <p:nvSpPr>
          <p:cNvPr id="43" name="Rechteck: abgerundete Ecken 42">
            <a:extLst>
              <a:ext uri="{FF2B5EF4-FFF2-40B4-BE49-F238E27FC236}">
                <a16:creationId xmlns:a16="http://schemas.microsoft.com/office/drawing/2014/main" id="{5B9B524D-B2AF-4C3A-9818-2DA5A726A8D0}"/>
              </a:ext>
            </a:extLst>
          </p:cNvPr>
          <p:cNvSpPr/>
          <p:nvPr/>
        </p:nvSpPr>
        <p:spPr>
          <a:xfrm>
            <a:off x="8504772" y="1660078"/>
            <a:ext cx="322128" cy="1761413"/>
          </a:xfrm>
          <a:prstGeom prst="round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CH" sz="1350" b="1"/>
              <a:t>E</a:t>
            </a:r>
          </a:p>
          <a:p>
            <a:r>
              <a:rPr lang="de-CH" sz="1350" b="1"/>
              <a:t>U</a:t>
            </a:r>
          </a:p>
          <a:p>
            <a:r>
              <a:rPr lang="de-CH" sz="1350" b="1"/>
              <a:t>D</a:t>
            </a:r>
          </a:p>
          <a:p>
            <a:r>
              <a:rPr lang="de-CH" sz="1350" b="1"/>
              <a:t>A</a:t>
            </a:r>
          </a:p>
          <a:p>
            <a:r>
              <a:rPr lang="de-CH" sz="1350" b="1"/>
              <a:t>M</a:t>
            </a:r>
          </a:p>
          <a:p>
            <a:r>
              <a:rPr lang="de-CH" sz="1350" b="1"/>
              <a:t>E</a:t>
            </a:r>
          </a:p>
          <a:p>
            <a:r>
              <a:rPr lang="de-CH" sz="1350" b="1"/>
              <a:t>D</a:t>
            </a:r>
          </a:p>
        </p:txBody>
      </p:sp>
      <p:sp>
        <p:nvSpPr>
          <p:cNvPr id="44" name="Rechteck: abgerundete Ecken 43">
            <a:extLst>
              <a:ext uri="{FF2B5EF4-FFF2-40B4-BE49-F238E27FC236}">
                <a16:creationId xmlns:a16="http://schemas.microsoft.com/office/drawing/2014/main" id="{87B16B71-40C1-4B47-96E8-5F15754C1997}"/>
              </a:ext>
            </a:extLst>
          </p:cNvPr>
          <p:cNvSpPr/>
          <p:nvPr/>
        </p:nvSpPr>
        <p:spPr>
          <a:xfrm>
            <a:off x="5194670" y="1959467"/>
            <a:ext cx="1620000" cy="314633"/>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a:latin typeface="Arial" panose="020B0604020202020204" pitchFamily="34" charset="0"/>
                <a:cs typeface="Arial" panose="020B0604020202020204" pitchFamily="34" charset="0"/>
              </a:rPr>
              <a:t>Excel </a:t>
            </a:r>
            <a:r>
              <a:rPr lang="de-CH" sz="1200" err="1">
                <a:latin typeface="Arial" panose="020B0604020202020204" pitchFamily="34" charset="0"/>
                <a:cs typeface="Arial" panose="020B0604020202020204" pitchFamily="34" charset="0"/>
              </a:rPr>
              <a:t>export</a:t>
            </a:r>
            <a:endParaRPr lang="de-CH" sz="1200">
              <a:latin typeface="Arial" panose="020B0604020202020204" pitchFamily="34" charset="0"/>
              <a:cs typeface="Arial" panose="020B0604020202020204" pitchFamily="34" charset="0"/>
            </a:endParaRPr>
          </a:p>
        </p:txBody>
      </p:sp>
      <p:sp>
        <p:nvSpPr>
          <p:cNvPr id="45" name="Rechteck: abgerundete Ecken 44">
            <a:extLst>
              <a:ext uri="{FF2B5EF4-FFF2-40B4-BE49-F238E27FC236}">
                <a16:creationId xmlns:a16="http://schemas.microsoft.com/office/drawing/2014/main" id="{646486A8-D8A3-4FA5-875E-0F3F80A7D1A8}"/>
              </a:ext>
            </a:extLst>
          </p:cNvPr>
          <p:cNvSpPr/>
          <p:nvPr/>
        </p:nvSpPr>
        <p:spPr>
          <a:xfrm>
            <a:off x="5195571" y="2833353"/>
            <a:ext cx="1620000" cy="408087"/>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200">
              <a:latin typeface="Arial" panose="020B0604020202020204" pitchFamily="34" charset="0"/>
              <a:cs typeface="Arial" panose="020B0604020202020204" pitchFamily="34" charset="0"/>
            </a:endParaRPr>
          </a:p>
        </p:txBody>
      </p:sp>
      <p:sp>
        <p:nvSpPr>
          <p:cNvPr id="54" name="Rechteck: abgerundete Ecken 53">
            <a:extLst>
              <a:ext uri="{FF2B5EF4-FFF2-40B4-BE49-F238E27FC236}">
                <a16:creationId xmlns:a16="http://schemas.microsoft.com/office/drawing/2014/main" id="{C90BCC80-CC53-4FAB-90F5-99AED375928F}"/>
              </a:ext>
            </a:extLst>
          </p:cNvPr>
          <p:cNvSpPr/>
          <p:nvPr/>
        </p:nvSpPr>
        <p:spPr>
          <a:xfrm>
            <a:off x="347716" y="849581"/>
            <a:ext cx="3298357" cy="415894"/>
          </a:xfrm>
          <a:prstGeom prst="roundRect">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solidFill>
                  <a:schemeClr val="bg1"/>
                </a:solidFill>
                <a:latin typeface="Arial" panose="020B0604020202020204" pitchFamily="34" charset="0"/>
                <a:cs typeface="Arial" panose="020B0604020202020204" pitchFamily="34" charset="0"/>
              </a:rPr>
              <a:t>UDI relevant </a:t>
            </a:r>
            <a:r>
              <a:rPr lang="de-DE" sz="1200" err="1">
                <a:solidFill>
                  <a:schemeClr val="bg1"/>
                </a:solidFill>
                <a:latin typeface="Arial" panose="020B0604020202020204" pitchFamily="34" charset="0"/>
                <a:cs typeface="Arial" panose="020B0604020202020204" pitchFamily="34" charset="0"/>
              </a:rPr>
              <a:t>marking</a:t>
            </a:r>
            <a:endParaRPr lang="de-DE" sz="1200">
              <a:solidFill>
                <a:schemeClr val="bg1"/>
              </a:solidFill>
              <a:latin typeface="Arial" panose="020B0604020202020204" pitchFamily="34" charset="0"/>
              <a:cs typeface="Arial" panose="020B0604020202020204" pitchFamily="34" charset="0"/>
            </a:endParaRPr>
          </a:p>
        </p:txBody>
      </p:sp>
      <p:cxnSp>
        <p:nvCxnSpPr>
          <p:cNvPr id="8" name="Gerade Verbindung mit Pfeil 7">
            <a:extLst>
              <a:ext uri="{FF2B5EF4-FFF2-40B4-BE49-F238E27FC236}">
                <a16:creationId xmlns:a16="http://schemas.microsoft.com/office/drawing/2014/main" id="{7F8FBB42-5E6F-494A-9FA9-D776E43B375D}"/>
              </a:ext>
            </a:extLst>
          </p:cNvPr>
          <p:cNvCxnSpPr>
            <a:cxnSpLocks/>
            <a:endCxn id="35" idx="0"/>
          </p:cNvCxnSpPr>
          <p:nvPr/>
        </p:nvCxnSpPr>
        <p:spPr>
          <a:xfrm>
            <a:off x="1157716" y="1265475"/>
            <a:ext cx="0" cy="274539"/>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0" name="Gerade Verbindung mit Pfeil 9">
            <a:extLst>
              <a:ext uri="{FF2B5EF4-FFF2-40B4-BE49-F238E27FC236}">
                <a16:creationId xmlns:a16="http://schemas.microsoft.com/office/drawing/2014/main" id="{3079ADE2-81AA-4647-AA7F-C4E7527E5280}"/>
              </a:ext>
            </a:extLst>
          </p:cNvPr>
          <p:cNvCxnSpPr>
            <a:cxnSpLocks/>
            <a:endCxn id="36" idx="0"/>
          </p:cNvCxnSpPr>
          <p:nvPr/>
        </p:nvCxnSpPr>
        <p:spPr>
          <a:xfrm>
            <a:off x="2836073" y="1261268"/>
            <a:ext cx="0" cy="28716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69" name="Gerade Verbindung mit Pfeil 68">
            <a:extLst>
              <a:ext uri="{FF2B5EF4-FFF2-40B4-BE49-F238E27FC236}">
                <a16:creationId xmlns:a16="http://schemas.microsoft.com/office/drawing/2014/main" id="{1B16878B-8423-441F-856F-52AE4DCDB29D}"/>
              </a:ext>
            </a:extLst>
          </p:cNvPr>
          <p:cNvCxnSpPr>
            <a:cxnSpLocks/>
          </p:cNvCxnSpPr>
          <p:nvPr/>
        </p:nvCxnSpPr>
        <p:spPr>
          <a:xfrm>
            <a:off x="1520984" y="2316790"/>
            <a:ext cx="0" cy="266124"/>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1" name="Gerade Verbindung mit Pfeil 70">
            <a:extLst>
              <a:ext uri="{FF2B5EF4-FFF2-40B4-BE49-F238E27FC236}">
                <a16:creationId xmlns:a16="http://schemas.microsoft.com/office/drawing/2014/main" id="{EB808EBE-B377-40AD-94B2-C1CD1E859C23}"/>
              </a:ext>
            </a:extLst>
          </p:cNvPr>
          <p:cNvCxnSpPr/>
          <p:nvPr/>
        </p:nvCxnSpPr>
        <p:spPr>
          <a:xfrm>
            <a:off x="2507811" y="2346345"/>
            <a:ext cx="0" cy="244984"/>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5" name="Gerade Verbindung mit Pfeil 74">
            <a:extLst>
              <a:ext uri="{FF2B5EF4-FFF2-40B4-BE49-F238E27FC236}">
                <a16:creationId xmlns:a16="http://schemas.microsoft.com/office/drawing/2014/main" id="{71D0F3A7-5FF8-4078-9F7D-F8BB0FEDE112}"/>
              </a:ext>
            </a:extLst>
          </p:cNvPr>
          <p:cNvCxnSpPr>
            <a:cxnSpLocks/>
            <a:stCxn id="37" idx="3"/>
            <a:endCxn id="38" idx="1"/>
          </p:cNvCxnSpPr>
          <p:nvPr/>
        </p:nvCxnSpPr>
        <p:spPr>
          <a:xfrm>
            <a:off x="2811046" y="3028893"/>
            <a:ext cx="371619"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7" name="Gerade Verbindung mit Pfeil 76">
            <a:extLst>
              <a:ext uri="{FF2B5EF4-FFF2-40B4-BE49-F238E27FC236}">
                <a16:creationId xmlns:a16="http://schemas.microsoft.com/office/drawing/2014/main" id="{3EA88A85-494A-4551-8527-12C496D561A3}"/>
              </a:ext>
            </a:extLst>
          </p:cNvPr>
          <p:cNvCxnSpPr>
            <a:cxnSpLocks/>
            <a:stCxn id="38" idx="2"/>
            <a:endCxn id="41" idx="0"/>
          </p:cNvCxnSpPr>
          <p:nvPr/>
        </p:nvCxnSpPr>
        <p:spPr>
          <a:xfrm flipH="1">
            <a:off x="3992664" y="3466457"/>
            <a:ext cx="1" cy="35894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9" name="Gerade Verbindung mit Pfeil 78">
            <a:extLst>
              <a:ext uri="{FF2B5EF4-FFF2-40B4-BE49-F238E27FC236}">
                <a16:creationId xmlns:a16="http://schemas.microsoft.com/office/drawing/2014/main" id="{EE89B85E-1B80-4056-9B33-499490C7AC53}"/>
              </a:ext>
            </a:extLst>
          </p:cNvPr>
          <p:cNvCxnSpPr>
            <a:cxnSpLocks/>
            <a:stCxn id="41" idx="3"/>
            <a:endCxn id="39" idx="1"/>
          </p:cNvCxnSpPr>
          <p:nvPr/>
        </p:nvCxnSpPr>
        <p:spPr>
          <a:xfrm>
            <a:off x="4802664" y="4176793"/>
            <a:ext cx="392907"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81" name="Gerade Verbindung mit Pfeil 80">
            <a:extLst>
              <a:ext uri="{FF2B5EF4-FFF2-40B4-BE49-F238E27FC236}">
                <a16:creationId xmlns:a16="http://schemas.microsoft.com/office/drawing/2014/main" id="{BD62FE4F-238A-4316-8DF4-8E2F26C7E1ED}"/>
              </a:ext>
            </a:extLst>
          </p:cNvPr>
          <p:cNvCxnSpPr>
            <a:cxnSpLocks/>
            <a:stCxn id="39" idx="0"/>
          </p:cNvCxnSpPr>
          <p:nvPr/>
        </p:nvCxnSpPr>
        <p:spPr>
          <a:xfrm flipH="1" flipV="1">
            <a:off x="5997809" y="3474017"/>
            <a:ext cx="7762" cy="35138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86" name="Textfeld 85">
            <a:extLst>
              <a:ext uri="{FF2B5EF4-FFF2-40B4-BE49-F238E27FC236}">
                <a16:creationId xmlns:a16="http://schemas.microsoft.com/office/drawing/2014/main" id="{BE02670F-8114-4463-936A-9D2672146D41}"/>
              </a:ext>
            </a:extLst>
          </p:cNvPr>
          <p:cNvSpPr txBox="1"/>
          <p:nvPr/>
        </p:nvSpPr>
        <p:spPr>
          <a:xfrm>
            <a:off x="5195571" y="2827685"/>
            <a:ext cx="1634256" cy="646331"/>
          </a:xfrm>
          <a:prstGeom prst="rect">
            <a:avLst/>
          </a:prstGeom>
          <a:noFill/>
        </p:spPr>
        <p:txBody>
          <a:bodyPr wrap="square" rtlCol="0">
            <a:spAutoFit/>
          </a:bodyPr>
          <a:lstStyle/>
          <a:p>
            <a:pPr algn="ctr"/>
            <a:r>
              <a:rPr lang="en-US" sz="1200">
                <a:solidFill>
                  <a:schemeClr val="bg1"/>
                </a:solidFill>
                <a:latin typeface="Arial" panose="020B0604020202020204" pitchFamily="34" charset="0"/>
                <a:cs typeface="Arial" panose="020B0604020202020204" pitchFamily="34" charset="0"/>
              </a:rPr>
              <a:t>Europe IT Consulting Web Service</a:t>
            </a:r>
          </a:p>
          <a:p>
            <a:pPr algn="ctr"/>
            <a:endParaRPr lang="en-US" sz="1200">
              <a:solidFill>
                <a:schemeClr val="bg1"/>
              </a:solidFill>
              <a:latin typeface="Arial" panose="020B0604020202020204" pitchFamily="34" charset="0"/>
              <a:cs typeface="Arial" panose="020B0604020202020204" pitchFamily="34" charset="0"/>
            </a:endParaRPr>
          </a:p>
        </p:txBody>
      </p:sp>
      <p:cxnSp>
        <p:nvCxnSpPr>
          <p:cNvPr id="104" name="Gerade Verbindung mit Pfeil 103">
            <a:extLst>
              <a:ext uri="{FF2B5EF4-FFF2-40B4-BE49-F238E27FC236}">
                <a16:creationId xmlns:a16="http://schemas.microsoft.com/office/drawing/2014/main" id="{98A2D59C-096A-46B5-8EBF-CAAECD1A9BCB}"/>
              </a:ext>
            </a:extLst>
          </p:cNvPr>
          <p:cNvCxnSpPr>
            <a:cxnSpLocks/>
            <a:stCxn id="40" idx="3"/>
            <a:endCxn id="43" idx="1"/>
          </p:cNvCxnSpPr>
          <p:nvPr/>
        </p:nvCxnSpPr>
        <p:spPr>
          <a:xfrm flipV="1">
            <a:off x="6815571" y="2540785"/>
            <a:ext cx="1689201" cy="1423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06" name="Verbinder: gewinkelt 105">
            <a:extLst>
              <a:ext uri="{FF2B5EF4-FFF2-40B4-BE49-F238E27FC236}">
                <a16:creationId xmlns:a16="http://schemas.microsoft.com/office/drawing/2014/main" id="{7F8C2BBE-4ED8-4524-9F9D-68F561918F36}"/>
              </a:ext>
            </a:extLst>
          </p:cNvPr>
          <p:cNvCxnSpPr>
            <a:cxnSpLocks/>
            <a:stCxn id="44" idx="3"/>
          </p:cNvCxnSpPr>
          <p:nvPr/>
        </p:nvCxnSpPr>
        <p:spPr>
          <a:xfrm flipV="1">
            <a:off x="6814670" y="1844120"/>
            <a:ext cx="1690102" cy="272664"/>
          </a:xfrm>
          <a:prstGeom prst="bentConnector3">
            <a:avLst>
              <a:gd name="adj1" fmla="val 19466"/>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08" name="Verbinder: gewinkelt 107">
            <a:extLst>
              <a:ext uri="{FF2B5EF4-FFF2-40B4-BE49-F238E27FC236}">
                <a16:creationId xmlns:a16="http://schemas.microsoft.com/office/drawing/2014/main" id="{ADDCFB2A-B92B-402C-8E9F-2C24F61DFD77}"/>
              </a:ext>
            </a:extLst>
          </p:cNvPr>
          <p:cNvCxnSpPr>
            <a:cxnSpLocks/>
          </p:cNvCxnSpPr>
          <p:nvPr/>
        </p:nvCxnSpPr>
        <p:spPr>
          <a:xfrm>
            <a:off x="6814670" y="3028893"/>
            <a:ext cx="1660625" cy="177230"/>
          </a:xfrm>
          <a:prstGeom prst="bentConnector3">
            <a:avLst>
              <a:gd name="adj1" fmla="val 21105"/>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53" name="Rechteck: abgerundete Ecken 52">
            <a:extLst>
              <a:ext uri="{FF2B5EF4-FFF2-40B4-BE49-F238E27FC236}">
                <a16:creationId xmlns:a16="http://schemas.microsoft.com/office/drawing/2014/main" id="{DC1BB485-83A3-4556-8949-E18D80FCAA63}"/>
              </a:ext>
            </a:extLst>
          </p:cNvPr>
          <p:cNvSpPr/>
          <p:nvPr/>
        </p:nvSpPr>
        <p:spPr>
          <a:xfrm>
            <a:off x="7358060" y="1651217"/>
            <a:ext cx="784325" cy="484748"/>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a:t>3rd Party</a:t>
            </a:r>
          </a:p>
        </p:txBody>
      </p:sp>
      <p:sp>
        <p:nvSpPr>
          <p:cNvPr id="46" name="Rechteck: abgerundete Ecken 45">
            <a:extLst>
              <a:ext uri="{FF2B5EF4-FFF2-40B4-BE49-F238E27FC236}">
                <a16:creationId xmlns:a16="http://schemas.microsoft.com/office/drawing/2014/main" id="{55F6C6E1-DD30-43DE-BD84-8F53864D115C}"/>
              </a:ext>
            </a:extLst>
          </p:cNvPr>
          <p:cNvSpPr/>
          <p:nvPr/>
        </p:nvSpPr>
        <p:spPr>
          <a:xfrm>
            <a:off x="7365097" y="2964666"/>
            <a:ext cx="784325" cy="484748"/>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err="1"/>
              <a:t>WebService</a:t>
            </a:r>
            <a:endParaRPr lang="de-DE" sz="800"/>
          </a:p>
          <a:p>
            <a:pPr algn="ctr"/>
            <a:r>
              <a:rPr lang="de-DE" sz="800"/>
              <a:t>(SSL</a:t>
            </a:r>
            <a:r>
              <a:rPr lang="de-DE" sz="900"/>
              <a:t>)</a:t>
            </a:r>
          </a:p>
        </p:txBody>
      </p:sp>
      <p:sp>
        <p:nvSpPr>
          <p:cNvPr id="48" name="Rechteck: abgerundete Ecken 47">
            <a:extLst>
              <a:ext uri="{FF2B5EF4-FFF2-40B4-BE49-F238E27FC236}">
                <a16:creationId xmlns:a16="http://schemas.microsoft.com/office/drawing/2014/main" id="{E166C7F1-E948-4DCE-95F4-24D33AEBBFBE}"/>
              </a:ext>
            </a:extLst>
          </p:cNvPr>
          <p:cNvSpPr/>
          <p:nvPr/>
        </p:nvSpPr>
        <p:spPr>
          <a:xfrm>
            <a:off x="7361817" y="2307483"/>
            <a:ext cx="784325" cy="484748"/>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err="1"/>
              <a:t>WebTrader</a:t>
            </a:r>
            <a:endParaRPr lang="de-DE" sz="800"/>
          </a:p>
        </p:txBody>
      </p:sp>
    </p:spTree>
    <p:extLst>
      <p:ext uri="{BB962C8B-B14F-4D97-AF65-F5344CB8AC3E}">
        <p14:creationId xmlns:p14="http://schemas.microsoft.com/office/powerpoint/2010/main" val="25150246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A19744FE-0122-4458-A703-1ED9355A7C5F}"/>
              </a:ext>
            </a:extLst>
          </p:cNvPr>
          <p:cNvSpPr>
            <a:spLocks noGrp="1"/>
          </p:cNvSpPr>
          <p:nvPr>
            <p:ph type="body" sz="quarter" idx="18"/>
          </p:nvPr>
        </p:nvSpPr>
        <p:spPr>
          <a:xfrm>
            <a:off x="185649" y="720619"/>
            <a:ext cx="8600883" cy="330544"/>
          </a:xfrm>
        </p:spPr>
        <p:txBody>
          <a:bodyPr>
            <a:normAutofit/>
          </a:bodyPr>
          <a:lstStyle/>
          <a:p>
            <a:r>
              <a:rPr lang="de-DE"/>
              <a:t>2.1 UDI relevant </a:t>
            </a:r>
            <a:r>
              <a:rPr lang="de-DE" err="1"/>
              <a:t>marking</a:t>
            </a:r>
            <a:endParaRPr lang="de-DE"/>
          </a:p>
          <a:p>
            <a:endParaRPr lang="de-DE"/>
          </a:p>
        </p:txBody>
      </p:sp>
      <p:sp>
        <p:nvSpPr>
          <p:cNvPr id="3" name="Titel 2">
            <a:extLst>
              <a:ext uri="{FF2B5EF4-FFF2-40B4-BE49-F238E27FC236}">
                <a16:creationId xmlns:a16="http://schemas.microsoft.com/office/drawing/2014/main" id="{17403686-94D3-4A24-BDEB-07854049E7FA}"/>
              </a:ext>
            </a:extLst>
          </p:cNvPr>
          <p:cNvSpPr>
            <a:spLocks noGrp="1"/>
          </p:cNvSpPr>
          <p:nvPr>
            <p:ph type="title"/>
          </p:nvPr>
        </p:nvSpPr>
        <p:spPr/>
        <p:txBody>
          <a:bodyPr>
            <a:normAutofit fontScale="90000"/>
          </a:bodyPr>
          <a:lstStyle/>
          <a:p>
            <a:r>
              <a:rPr lang="de-DE"/>
              <a:t>2. </a:t>
            </a:r>
            <a:r>
              <a:rPr lang="en-US"/>
              <a:t>W</a:t>
            </a:r>
            <a:r>
              <a:rPr lang="en-US" sz="1800" b="1"/>
              <a:t>ork processes from the database to data transmission </a:t>
            </a:r>
            <a:endParaRPr lang="de-DE"/>
          </a:p>
        </p:txBody>
      </p:sp>
      <p:sp>
        <p:nvSpPr>
          <p:cNvPr id="31" name="Rechteck: abgerundete Ecken 30">
            <a:extLst>
              <a:ext uri="{FF2B5EF4-FFF2-40B4-BE49-F238E27FC236}">
                <a16:creationId xmlns:a16="http://schemas.microsoft.com/office/drawing/2014/main" id="{C2E356A7-F0C9-4E37-8904-4CFAE1F864A1}"/>
              </a:ext>
            </a:extLst>
          </p:cNvPr>
          <p:cNvSpPr/>
          <p:nvPr/>
        </p:nvSpPr>
        <p:spPr>
          <a:xfrm>
            <a:off x="5170564" y="1787589"/>
            <a:ext cx="1797627" cy="1936246"/>
          </a:xfrm>
          <a:prstGeom prst="round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sz="1200" b="1">
                <a:solidFill>
                  <a:schemeClr val="tx1"/>
                </a:solidFill>
                <a:latin typeface="Arial" panose="020B0604020202020204" pitchFamily="34" charset="0"/>
                <a:cs typeface="Arial" panose="020B0604020202020204" pitchFamily="34" charset="0"/>
              </a:rPr>
              <a:t>Data </a:t>
            </a:r>
            <a:r>
              <a:rPr lang="de-DE" sz="1200" b="1" err="1">
                <a:solidFill>
                  <a:schemeClr val="tx1"/>
                </a:solidFill>
                <a:latin typeface="Arial" panose="020B0604020202020204" pitchFamily="34" charset="0"/>
                <a:cs typeface="Arial" panose="020B0604020202020204" pitchFamily="34" charset="0"/>
              </a:rPr>
              <a:t>transmission</a:t>
            </a:r>
            <a:endParaRPr lang="de-DE" sz="1200" b="1">
              <a:solidFill>
                <a:schemeClr val="tx1"/>
              </a:solidFill>
              <a:latin typeface="Arial" panose="020B0604020202020204" pitchFamily="34" charset="0"/>
              <a:cs typeface="Arial" panose="020B0604020202020204" pitchFamily="34" charset="0"/>
            </a:endParaRPr>
          </a:p>
          <a:p>
            <a:pPr algn="ctr"/>
            <a:endParaRPr lang="de-DE" sz="1200">
              <a:latin typeface="Arial" panose="020B0604020202020204" pitchFamily="34" charset="0"/>
              <a:cs typeface="Arial" panose="020B0604020202020204" pitchFamily="34" charset="0"/>
            </a:endParaRPr>
          </a:p>
          <a:p>
            <a:pPr algn="ctr"/>
            <a:endParaRPr lang="de-DE" sz="1200">
              <a:latin typeface="Arial" panose="020B0604020202020204" pitchFamily="34" charset="0"/>
              <a:cs typeface="Arial" panose="020B0604020202020204" pitchFamily="34" charset="0"/>
            </a:endParaRPr>
          </a:p>
          <a:p>
            <a:pPr algn="ctr"/>
            <a:endParaRPr lang="de-DE" sz="1200">
              <a:latin typeface="Arial" panose="020B0604020202020204" pitchFamily="34" charset="0"/>
              <a:cs typeface="Arial" panose="020B0604020202020204" pitchFamily="34" charset="0"/>
            </a:endParaRPr>
          </a:p>
          <a:p>
            <a:pPr algn="ctr"/>
            <a:endParaRPr lang="de-DE" sz="1200">
              <a:latin typeface="Arial" panose="020B0604020202020204" pitchFamily="34" charset="0"/>
              <a:cs typeface="Arial" panose="020B0604020202020204" pitchFamily="34" charset="0"/>
            </a:endParaRPr>
          </a:p>
          <a:p>
            <a:pPr algn="ctr"/>
            <a:endParaRPr lang="de-CH" sz="1200">
              <a:latin typeface="Arial" panose="020B0604020202020204" pitchFamily="34" charset="0"/>
              <a:cs typeface="Arial" panose="020B0604020202020204" pitchFamily="34" charset="0"/>
            </a:endParaRPr>
          </a:p>
        </p:txBody>
      </p:sp>
      <p:sp>
        <p:nvSpPr>
          <p:cNvPr id="35" name="Rechteck: abgerundete Ecken 34">
            <a:extLst>
              <a:ext uri="{FF2B5EF4-FFF2-40B4-BE49-F238E27FC236}">
                <a16:creationId xmlns:a16="http://schemas.microsoft.com/office/drawing/2014/main" id="{2F00C498-6C91-4802-B79A-B21A351086B1}"/>
              </a:ext>
            </a:extLst>
          </p:cNvPr>
          <p:cNvSpPr/>
          <p:nvPr/>
        </p:nvSpPr>
        <p:spPr>
          <a:xfrm>
            <a:off x="421263" y="1789832"/>
            <a:ext cx="1620000" cy="776776"/>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Arial" panose="020B0604020202020204" pitchFamily="34" charset="0"/>
                <a:cs typeface="Arial" panose="020B0604020202020204" pitchFamily="34" charset="0"/>
              </a:rPr>
              <a:t>Product creation in the Add-On</a:t>
            </a:r>
          </a:p>
        </p:txBody>
      </p:sp>
      <p:sp>
        <p:nvSpPr>
          <p:cNvPr id="36" name="Rechteck: abgerundete Ecken 35">
            <a:extLst>
              <a:ext uri="{FF2B5EF4-FFF2-40B4-BE49-F238E27FC236}">
                <a16:creationId xmlns:a16="http://schemas.microsoft.com/office/drawing/2014/main" id="{D66D3841-4BE4-4211-9A3B-E6FBAB054984}"/>
              </a:ext>
            </a:extLst>
          </p:cNvPr>
          <p:cNvSpPr/>
          <p:nvPr/>
        </p:nvSpPr>
        <p:spPr>
          <a:xfrm>
            <a:off x="2099620" y="1798247"/>
            <a:ext cx="1620000" cy="776776"/>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err="1">
                <a:solidFill>
                  <a:schemeClr val="bg1"/>
                </a:solidFill>
                <a:latin typeface="Arial" panose="020B0604020202020204" pitchFamily="34" charset="0"/>
                <a:cs typeface="Arial" panose="020B0604020202020204" pitchFamily="34" charset="0"/>
              </a:rPr>
              <a:t>Product</a:t>
            </a:r>
            <a:r>
              <a:rPr lang="de-CH" sz="1200">
                <a:solidFill>
                  <a:schemeClr val="bg1"/>
                </a:solidFill>
                <a:latin typeface="Arial" panose="020B0604020202020204" pitchFamily="34" charset="0"/>
                <a:cs typeface="Arial" panose="020B0604020202020204" pitchFamily="34" charset="0"/>
              </a:rPr>
              <a:t> </a:t>
            </a:r>
            <a:r>
              <a:rPr lang="de-CH" sz="1200" err="1">
                <a:solidFill>
                  <a:schemeClr val="bg1"/>
                </a:solidFill>
                <a:latin typeface="Arial" panose="020B0604020202020204" pitchFamily="34" charset="0"/>
                <a:cs typeface="Arial" panose="020B0604020202020204" pitchFamily="34" charset="0"/>
              </a:rPr>
              <a:t>creation</a:t>
            </a:r>
            <a:r>
              <a:rPr lang="de-CH" sz="1200">
                <a:solidFill>
                  <a:schemeClr val="bg1"/>
                </a:solidFill>
                <a:latin typeface="Arial" panose="020B0604020202020204" pitchFamily="34" charset="0"/>
                <a:cs typeface="Arial" panose="020B0604020202020204" pitchFamily="34" charset="0"/>
              </a:rPr>
              <a:t> </a:t>
            </a:r>
            <a:r>
              <a:rPr lang="de-CH" sz="1200" err="1">
                <a:solidFill>
                  <a:schemeClr val="bg1"/>
                </a:solidFill>
                <a:latin typeface="Arial" panose="020B0604020202020204" pitchFamily="34" charset="0"/>
                <a:cs typeface="Arial" panose="020B0604020202020204" pitchFamily="34" charset="0"/>
              </a:rPr>
              <a:t>with</a:t>
            </a:r>
            <a:r>
              <a:rPr lang="de-CH" sz="1200">
                <a:solidFill>
                  <a:schemeClr val="bg1"/>
                </a:solidFill>
                <a:latin typeface="Arial" panose="020B0604020202020204" pitchFamily="34" charset="0"/>
                <a:cs typeface="Arial" panose="020B0604020202020204" pitchFamily="34" charset="0"/>
              </a:rPr>
              <a:t> Excel</a:t>
            </a:r>
          </a:p>
        </p:txBody>
      </p:sp>
      <p:sp>
        <p:nvSpPr>
          <p:cNvPr id="37" name="Rechteck: abgerundete Ecken 36">
            <a:extLst>
              <a:ext uri="{FF2B5EF4-FFF2-40B4-BE49-F238E27FC236}">
                <a16:creationId xmlns:a16="http://schemas.microsoft.com/office/drawing/2014/main" id="{C4BE9CCD-C203-414F-B252-20F9929F8E62}"/>
              </a:ext>
            </a:extLst>
          </p:cNvPr>
          <p:cNvSpPr/>
          <p:nvPr/>
        </p:nvSpPr>
        <p:spPr>
          <a:xfrm>
            <a:off x="1264593" y="2841147"/>
            <a:ext cx="1620000" cy="875128"/>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a:latin typeface="Arial" panose="020B0604020202020204" pitchFamily="34" charset="0"/>
                <a:cs typeface="Arial" panose="020B0604020202020204" pitchFamily="34" charset="0"/>
              </a:rPr>
              <a:t>Mass </a:t>
            </a:r>
            <a:r>
              <a:rPr lang="de-CH" sz="1200" err="1">
                <a:latin typeface="Arial" panose="020B0604020202020204" pitchFamily="34" charset="0"/>
                <a:cs typeface="Arial" panose="020B0604020202020204" pitchFamily="34" charset="0"/>
              </a:rPr>
              <a:t>change</a:t>
            </a:r>
            <a:r>
              <a:rPr lang="de-CH" sz="1200">
                <a:latin typeface="Arial" panose="020B0604020202020204" pitchFamily="34" charset="0"/>
                <a:cs typeface="Arial" panose="020B0604020202020204" pitchFamily="34" charset="0"/>
              </a:rPr>
              <a:t> </a:t>
            </a:r>
          </a:p>
          <a:p>
            <a:pPr marL="171450" indent="-171450">
              <a:buFont typeface="Arial" panose="020B0604020202020204" pitchFamily="34" charset="0"/>
              <a:buChar char="•"/>
            </a:pPr>
            <a:r>
              <a:rPr lang="de-CH" sz="1200" err="1">
                <a:latin typeface="Arial" panose="020B0604020202020204" pitchFamily="34" charset="0"/>
                <a:cs typeface="Arial" panose="020B0604020202020204" pitchFamily="34" charset="0"/>
              </a:rPr>
              <a:t>with</a:t>
            </a:r>
            <a:r>
              <a:rPr lang="de-CH" sz="1200">
                <a:latin typeface="Arial" panose="020B0604020202020204" pitchFamily="34" charset="0"/>
                <a:cs typeface="Arial" panose="020B0604020202020204" pitchFamily="34" charset="0"/>
              </a:rPr>
              <a:t> Excel</a:t>
            </a:r>
          </a:p>
          <a:p>
            <a:pPr marL="171450" indent="-171450">
              <a:buFont typeface="Arial" panose="020B0604020202020204" pitchFamily="34" charset="0"/>
              <a:buChar char="•"/>
            </a:pPr>
            <a:r>
              <a:rPr lang="de-CH" sz="1200">
                <a:latin typeface="Arial" panose="020B0604020202020204" pitchFamily="34" charset="0"/>
                <a:cs typeface="Arial" panose="020B0604020202020204" pitchFamily="34" charset="0"/>
              </a:rPr>
              <a:t>in </a:t>
            </a:r>
            <a:r>
              <a:rPr lang="de-CH" sz="1200" err="1">
                <a:latin typeface="Arial" panose="020B0604020202020204" pitchFamily="34" charset="0"/>
                <a:cs typeface="Arial" panose="020B0604020202020204" pitchFamily="34" charset="0"/>
              </a:rPr>
              <a:t>the</a:t>
            </a:r>
            <a:r>
              <a:rPr lang="de-CH" sz="1200">
                <a:latin typeface="Arial" panose="020B0604020202020204" pitchFamily="34" charset="0"/>
                <a:cs typeface="Arial" panose="020B0604020202020204" pitchFamily="34" charset="0"/>
              </a:rPr>
              <a:t> Add-On</a:t>
            </a:r>
          </a:p>
        </p:txBody>
      </p:sp>
      <p:sp>
        <p:nvSpPr>
          <p:cNvPr id="38" name="Rechteck: abgerundete Ecken 37">
            <a:extLst>
              <a:ext uri="{FF2B5EF4-FFF2-40B4-BE49-F238E27FC236}">
                <a16:creationId xmlns:a16="http://schemas.microsoft.com/office/drawing/2014/main" id="{ED09656B-C0AC-4936-AD21-246475444A6A}"/>
              </a:ext>
            </a:extLst>
          </p:cNvPr>
          <p:cNvSpPr/>
          <p:nvPr/>
        </p:nvSpPr>
        <p:spPr>
          <a:xfrm>
            <a:off x="3256212" y="2841147"/>
            <a:ext cx="1620000" cy="875128"/>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a:latin typeface="Arial" panose="020B0604020202020204" pitchFamily="34" charset="0"/>
                <a:cs typeface="Arial" panose="020B0604020202020204" pitchFamily="34" charset="0"/>
              </a:rPr>
              <a:t>Data </a:t>
            </a:r>
            <a:r>
              <a:rPr lang="de-CH" sz="1200" err="1">
                <a:latin typeface="Arial" panose="020B0604020202020204" pitchFamily="34" charset="0"/>
                <a:cs typeface="Arial" panose="020B0604020202020204" pitchFamily="34" charset="0"/>
              </a:rPr>
              <a:t>overview</a:t>
            </a:r>
            <a:r>
              <a:rPr lang="de-CH" sz="1200">
                <a:latin typeface="Arial" panose="020B0604020202020204" pitchFamily="34" charset="0"/>
                <a:cs typeface="Arial" panose="020B0604020202020204" pitchFamily="34" charset="0"/>
              </a:rPr>
              <a:t>,</a:t>
            </a:r>
          </a:p>
          <a:p>
            <a:pPr algn="ctr"/>
            <a:r>
              <a:rPr lang="de-CH" sz="1200" err="1">
                <a:latin typeface="Arial" panose="020B0604020202020204" pitchFamily="34" charset="0"/>
                <a:cs typeface="Arial" panose="020B0604020202020204" pitchFamily="34" charset="0"/>
              </a:rPr>
              <a:t>visual</a:t>
            </a:r>
            <a:r>
              <a:rPr lang="de-CH" sz="1200">
                <a:latin typeface="Arial" panose="020B0604020202020204" pitchFamily="34" charset="0"/>
                <a:cs typeface="Arial" panose="020B0604020202020204" pitchFamily="34" charset="0"/>
              </a:rPr>
              <a:t> </a:t>
            </a:r>
            <a:r>
              <a:rPr lang="de-CH" sz="1200" err="1">
                <a:latin typeface="Arial" panose="020B0604020202020204" pitchFamily="34" charset="0"/>
                <a:cs typeface="Arial" panose="020B0604020202020204" pitchFamily="34" charset="0"/>
              </a:rPr>
              <a:t>data</a:t>
            </a:r>
            <a:r>
              <a:rPr lang="de-CH" sz="1200">
                <a:latin typeface="Arial" panose="020B0604020202020204" pitchFamily="34" charset="0"/>
                <a:cs typeface="Arial" panose="020B0604020202020204" pitchFamily="34" charset="0"/>
              </a:rPr>
              <a:t> check</a:t>
            </a:r>
          </a:p>
          <a:p>
            <a:pPr algn="ctr"/>
            <a:r>
              <a:rPr lang="de-CH" sz="1200">
                <a:latin typeface="Arial" panose="020B0604020202020204" pitchFamily="34" charset="0"/>
                <a:cs typeface="Arial" panose="020B0604020202020204" pitchFamily="34" charset="0"/>
              </a:rPr>
              <a:t>/UDI/Attributes</a:t>
            </a:r>
          </a:p>
        </p:txBody>
      </p:sp>
      <p:sp>
        <p:nvSpPr>
          <p:cNvPr id="39" name="Rechteck: abgerundete Ecken 38">
            <a:extLst>
              <a:ext uri="{FF2B5EF4-FFF2-40B4-BE49-F238E27FC236}">
                <a16:creationId xmlns:a16="http://schemas.microsoft.com/office/drawing/2014/main" id="{9A5867D7-3747-4F74-80A8-1B5AF417EA49}"/>
              </a:ext>
            </a:extLst>
          </p:cNvPr>
          <p:cNvSpPr/>
          <p:nvPr/>
        </p:nvSpPr>
        <p:spPr>
          <a:xfrm>
            <a:off x="5269118" y="4075222"/>
            <a:ext cx="1620000" cy="702778"/>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latin typeface="Arial" panose="020B0604020202020204" pitchFamily="34" charset="0"/>
                <a:cs typeface="Arial" panose="020B0604020202020204" pitchFamily="34" charset="0"/>
              </a:rPr>
              <a:t>Data release /</a:t>
            </a:r>
          </a:p>
          <a:p>
            <a:pPr algn="ctr"/>
            <a:r>
              <a:rPr lang="en-US" sz="1200">
                <a:latin typeface="Arial" panose="020B0604020202020204" pitchFamily="34" charset="0"/>
                <a:cs typeface="Arial" panose="020B0604020202020204" pitchFamily="34" charset="0"/>
              </a:rPr>
              <a:t>Lock trigger fields</a:t>
            </a:r>
          </a:p>
        </p:txBody>
      </p:sp>
      <p:sp>
        <p:nvSpPr>
          <p:cNvPr id="40" name="Rechteck: abgerundete Ecken 39">
            <a:extLst>
              <a:ext uri="{FF2B5EF4-FFF2-40B4-BE49-F238E27FC236}">
                <a16:creationId xmlns:a16="http://schemas.microsoft.com/office/drawing/2014/main" id="{1F9F01A8-FA07-42C7-AF3A-103F301FB65B}"/>
              </a:ext>
            </a:extLst>
          </p:cNvPr>
          <p:cNvSpPr/>
          <p:nvPr/>
        </p:nvSpPr>
        <p:spPr>
          <a:xfrm>
            <a:off x="5269118" y="2647523"/>
            <a:ext cx="1620000" cy="314633"/>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a:latin typeface="Arial" panose="020B0604020202020204" pitchFamily="34" charset="0"/>
                <a:cs typeface="Arial" panose="020B0604020202020204" pitchFamily="34" charset="0"/>
              </a:rPr>
              <a:t>XML </a:t>
            </a:r>
            <a:r>
              <a:rPr lang="de-CH" sz="1200" err="1">
                <a:latin typeface="Arial" panose="020B0604020202020204" pitchFamily="34" charset="0"/>
                <a:cs typeface="Arial" panose="020B0604020202020204" pitchFamily="34" charset="0"/>
              </a:rPr>
              <a:t>export</a:t>
            </a:r>
            <a:endParaRPr lang="de-CH" sz="1200">
              <a:latin typeface="Arial" panose="020B0604020202020204" pitchFamily="34" charset="0"/>
              <a:cs typeface="Arial" panose="020B0604020202020204" pitchFamily="34" charset="0"/>
            </a:endParaRPr>
          </a:p>
        </p:txBody>
      </p:sp>
      <p:sp>
        <p:nvSpPr>
          <p:cNvPr id="41" name="Rechteck: abgerundete Ecken 40">
            <a:extLst>
              <a:ext uri="{FF2B5EF4-FFF2-40B4-BE49-F238E27FC236}">
                <a16:creationId xmlns:a16="http://schemas.microsoft.com/office/drawing/2014/main" id="{8E2A35B4-08DC-4C68-80B1-B6FA91906473}"/>
              </a:ext>
            </a:extLst>
          </p:cNvPr>
          <p:cNvSpPr/>
          <p:nvPr/>
        </p:nvSpPr>
        <p:spPr>
          <a:xfrm>
            <a:off x="3256211" y="4075222"/>
            <a:ext cx="1620000" cy="702778"/>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a:latin typeface="Arial" panose="020B0604020202020204" pitchFamily="34" charset="0"/>
                <a:cs typeface="Arial" panose="020B0604020202020204" pitchFamily="34" charset="0"/>
              </a:rPr>
              <a:t>Integrity check</a:t>
            </a:r>
          </a:p>
          <a:p>
            <a:pPr algn="ctr"/>
            <a:r>
              <a:rPr lang="de-CH" sz="1200">
                <a:latin typeface="Arial" panose="020B0604020202020204" pitchFamily="34" charset="0"/>
                <a:cs typeface="Arial" panose="020B0604020202020204" pitchFamily="34" charset="0"/>
              </a:rPr>
              <a:t>Validation check</a:t>
            </a:r>
          </a:p>
        </p:txBody>
      </p:sp>
      <p:sp>
        <p:nvSpPr>
          <p:cNvPr id="43" name="Rechteck: abgerundete Ecken 42">
            <a:extLst>
              <a:ext uri="{FF2B5EF4-FFF2-40B4-BE49-F238E27FC236}">
                <a16:creationId xmlns:a16="http://schemas.microsoft.com/office/drawing/2014/main" id="{5B9B524D-B2AF-4C3A-9818-2DA5A726A8D0}"/>
              </a:ext>
            </a:extLst>
          </p:cNvPr>
          <p:cNvSpPr/>
          <p:nvPr/>
        </p:nvSpPr>
        <p:spPr>
          <a:xfrm>
            <a:off x="8578319" y="1909896"/>
            <a:ext cx="322128" cy="1761413"/>
          </a:xfrm>
          <a:prstGeom prst="round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CH" sz="1350" b="1"/>
              <a:t>E</a:t>
            </a:r>
          </a:p>
          <a:p>
            <a:r>
              <a:rPr lang="de-CH" sz="1350" b="1"/>
              <a:t>U</a:t>
            </a:r>
          </a:p>
          <a:p>
            <a:r>
              <a:rPr lang="de-CH" sz="1350" b="1"/>
              <a:t>D</a:t>
            </a:r>
          </a:p>
          <a:p>
            <a:r>
              <a:rPr lang="de-CH" sz="1350" b="1"/>
              <a:t>A</a:t>
            </a:r>
          </a:p>
          <a:p>
            <a:r>
              <a:rPr lang="de-CH" sz="1350" b="1"/>
              <a:t>M</a:t>
            </a:r>
          </a:p>
          <a:p>
            <a:r>
              <a:rPr lang="de-CH" sz="1350" b="1"/>
              <a:t>E</a:t>
            </a:r>
          </a:p>
          <a:p>
            <a:r>
              <a:rPr lang="de-CH" sz="1350" b="1"/>
              <a:t>D</a:t>
            </a:r>
          </a:p>
        </p:txBody>
      </p:sp>
      <p:sp>
        <p:nvSpPr>
          <p:cNvPr id="44" name="Rechteck: abgerundete Ecken 43">
            <a:extLst>
              <a:ext uri="{FF2B5EF4-FFF2-40B4-BE49-F238E27FC236}">
                <a16:creationId xmlns:a16="http://schemas.microsoft.com/office/drawing/2014/main" id="{87B16B71-40C1-4B47-96E8-5F15754C1997}"/>
              </a:ext>
            </a:extLst>
          </p:cNvPr>
          <p:cNvSpPr/>
          <p:nvPr/>
        </p:nvSpPr>
        <p:spPr>
          <a:xfrm>
            <a:off x="5268217" y="2209285"/>
            <a:ext cx="1620000" cy="314633"/>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a:latin typeface="Arial" panose="020B0604020202020204" pitchFamily="34" charset="0"/>
                <a:cs typeface="Arial" panose="020B0604020202020204" pitchFamily="34" charset="0"/>
              </a:rPr>
              <a:t>Excel </a:t>
            </a:r>
            <a:r>
              <a:rPr lang="de-CH" sz="1200" err="1">
                <a:latin typeface="Arial" panose="020B0604020202020204" pitchFamily="34" charset="0"/>
                <a:cs typeface="Arial" panose="020B0604020202020204" pitchFamily="34" charset="0"/>
              </a:rPr>
              <a:t>export</a:t>
            </a:r>
            <a:endParaRPr lang="de-CH" sz="1200">
              <a:latin typeface="Arial" panose="020B0604020202020204" pitchFamily="34" charset="0"/>
              <a:cs typeface="Arial" panose="020B0604020202020204" pitchFamily="34" charset="0"/>
            </a:endParaRPr>
          </a:p>
        </p:txBody>
      </p:sp>
      <p:sp>
        <p:nvSpPr>
          <p:cNvPr id="45" name="Rechteck: abgerundete Ecken 44">
            <a:extLst>
              <a:ext uri="{FF2B5EF4-FFF2-40B4-BE49-F238E27FC236}">
                <a16:creationId xmlns:a16="http://schemas.microsoft.com/office/drawing/2014/main" id="{646486A8-D8A3-4FA5-875E-0F3F80A7D1A8}"/>
              </a:ext>
            </a:extLst>
          </p:cNvPr>
          <p:cNvSpPr/>
          <p:nvPr/>
        </p:nvSpPr>
        <p:spPr>
          <a:xfrm>
            <a:off x="5269118" y="3083171"/>
            <a:ext cx="1620000" cy="408087"/>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200">
              <a:latin typeface="Arial" panose="020B0604020202020204" pitchFamily="34" charset="0"/>
              <a:cs typeface="Arial" panose="020B0604020202020204" pitchFamily="34" charset="0"/>
            </a:endParaRPr>
          </a:p>
        </p:txBody>
      </p:sp>
      <p:sp>
        <p:nvSpPr>
          <p:cNvPr id="54" name="Rechteck: abgerundete Ecken 53">
            <a:extLst>
              <a:ext uri="{FF2B5EF4-FFF2-40B4-BE49-F238E27FC236}">
                <a16:creationId xmlns:a16="http://schemas.microsoft.com/office/drawing/2014/main" id="{C90BCC80-CC53-4FAB-90F5-99AED375928F}"/>
              </a:ext>
            </a:extLst>
          </p:cNvPr>
          <p:cNvSpPr/>
          <p:nvPr/>
        </p:nvSpPr>
        <p:spPr>
          <a:xfrm>
            <a:off x="421263" y="1095192"/>
            <a:ext cx="3298357" cy="415894"/>
          </a:xfrm>
          <a:prstGeom prst="roundRect">
            <a:avLst/>
          </a:prstGeom>
          <a:solidFill>
            <a:srgbClr val="ED7D3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de-DE" sz="1200" b="1">
                <a:solidFill>
                  <a:schemeClr val="bg1"/>
                </a:solidFill>
                <a:latin typeface="Arial" panose="020B0604020202020204" pitchFamily="34" charset="0"/>
                <a:cs typeface="Arial" panose="020B0604020202020204" pitchFamily="34" charset="0"/>
              </a:rPr>
              <a:t>UDI relevant </a:t>
            </a:r>
            <a:r>
              <a:rPr lang="de-DE" sz="1200" b="1" err="1">
                <a:solidFill>
                  <a:schemeClr val="bg1"/>
                </a:solidFill>
                <a:latin typeface="Arial" panose="020B0604020202020204" pitchFamily="34" charset="0"/>
                <a:cs typeface="Arial" panose="020B0604020202020204" pitchFamily="34" charset="0"/>
              </a:rPr>
              <a:t>marking</a:t>
            </a:r>
            <a:endParaRPr lang="de-DE" sz="1200" b="1">
              <a:solidFill>
                <a:schemeClr val="bg1"/>
              </a:solidFill>
              <a:latin typeface="Arial" panose="020B0604020202020204" pitchFamily="34" charset="0"/>
              <a:cs typeface="Arial" panose="020B0604020202020204" pitchFamily="34" charset="0"/>
            </a:endParaRPr>
          </a:p>
        </p:txBody>
      </p:sp>
      <p:cxnSp>
        <p:nvCxnSpPr>
          <p:cNvPr id="8" name="Gerade Verbindung mit Pfeil 7">
            <a:extLst>
              <a:ext uri="{FF2B5EF4-FFF2-40B4-BE49-F238E27FC236}">
                <a16:creationId xmlns:a16="http://schemas.microsoft.com/office/drawing/2014/main" id="{7F8FBB42-5E6F-494A-9FA9-D776E43B375D}"/>
              </a:ext>
            </a:extLst>
          </p:cNvPr>
          <p:cNvCxnSpPr>
            <a:cxnSpLocks/>
            <a:endCxn id="35" idx="0"/>
          </p:cNvCxnSpPr>
          <p:nvPr/>
        </p:nvCxnSpPr>
        <p:spPr>
          <a:xfrm>
            <a:off x="1231263" y="1515293"/>
            <a:ext cx="0" cy="274539"/>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0" name="Gerade Verbindung mit Pfeil 9">
            <a:extLst>
              <a:ext uri="{FF2B5EF4-FFF2-40B4-BE49-F238E27FC236}">
                <a16:creationId xmlns:a16="http://schemas.microsoft.com/office/drawing/2014/main" id="{3079ADE2-81AA-4647-AA7F-C4E7527E5280}"/>
              </a:ext>
            </a:extLst>
          </p:cNvPr>
          <p:cNvCxnSpPr>
            <a:cxnSpLocks/>
            <a:endCxn id="36" idx="0"/>
          </p:cNvCxnSpPr>
          <p:nvPr/>
        </p:nvCxnSpPr>
        <p:spPr>
          <a:xfrm>
            <a:off x="2909620" y="1511086"/>
            <a:ext cx="0" cy="28716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69" name="Gerade Verbindung mit Pfeil 68">
            <a:extLst>
              <a:ext uri="{FF2B5EF4-FFF2-40B4-BE49-F238E27FC236}">
                <a16:creationId xmlns:a16="http://schemas.microsoft.com/office/drawing/2014/main" id="{1B16878B-8423-441F-856F-52AE4DCDB29D}"/>
              </a:ext>
            </a:extLst>
          </p:cNvPr>
          <p:cNvCxnSpPr>
            <a:cxnSpLocks/>
          </p:cNvCxnSpPr>
          <p:nvPr/>
        </p:nvCxnSpPr>
        <p:spPr>
          <a:xfrm>
            <a:off x="1594531" y="2566608"/>
            <a:ext cx="0" cy="266124"/>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1" name="Gerade Verbindung mit Pfeil 70">
            <a:extLst>
              <a:ext uri="{FF2B5EF4-FFF2-40B4-BE49-F238E27FC236}">
                <a16:creationId xmlns:a16="http://schemas.microsoft.com/office/drawing/2014/main" id="{EB808EBE-B377-40AD-94B2-C1CD1E859C23}"/>
              </a:ext>
            </a:extLst>
          </p:cNvPr>
          <p:cNvCxnSpPr/>
          <p:nvPr/>
        </p:nvCxnSpPr>
        <p:spPr>
          <a:xfrm>
            <a:off x="2581358" y="2596163"/>
            <a:ext cx="0" cy="244984"/>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5" name="Gerade Verbindung mit Pfeil 74">
            <a:extLst>
              <a:ext uri="{FF2B5EF4-FFF2-40B4-BE49-F238E27FC236}">
                <a16:creationId xmlns:a16="http://schemas.microsoft.com/office/drawing/2014/main" id="{71D0F3A7-5FF8-4078-9F7D-F8BB0FEDE112}"/>
              </a:ext>
            </a:extLst>
          </p:cNvPr>
          <p:cNvCxnSpPr>
            <a:cxnSpLocks/>
            <a:stCxn id="37" idx="3"/>
            <a:endCxn id="38" idx="1"/>
          </p:cNvCxnSpPr>
          <p:nvPr/>
        </p:nvCxnSpPr>
        <p:spPr>
          <a:xfrm>
            <a:off x="2884593" y="3278711"/>
            <a:ext cx="371619"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7" name="Gerade Verbindung mit Pfeil 76">
            <a:extLst>
              <a:ext uri="{FF2B5EF4-FFF2-40B4-BE49-F238E27FC236}">
                <a16:creationId xmlns:a16="http://schemas.microsoft.com/office/drawing/2014/main" id="{3EA88A85-494A-4551-8527-12C496D561A3}"/>
              </a:ext>
            </a:extLst>
          </p:cNvPr>
          <p:cNvCxnSpPr>
            <a:cxnSpLocks/>
            <a:stCxn id="38" idx="2"/>
            <a:endCxn id="41" idx="0"/>
          </p:cNvCxnSpPr>
          <p:nvPr/>
        </p:nvCxnSpPr>
        <p:spPr>
          <a:xfrm flipH="1">
            <a:off x="4066211" y="3716275"/>
            <a:ext cx="1" cy="35894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9" name="Gerade Verbindung mit Pfeil 78">
            <a:extLst>
              <a:ext uri="{FF2B5EF4-FFF2-40B4-BE49-F238E27FC236}">
                <a16:creationId xmlns:a16="http://schemas.microsoft.com/office/drawing/2014/main" id="{EE89B85E-1B80-4056-9B33-499490C7AC53}"/>
              </a:ext>
            </a:extLst>
          </p:cNvPr>
          <p:cNvCxnSpPr>
            <a:cxnSpLocks/>
            <a:stCxn id="41" idx="3"/>
            <a:endCxn id="39" idx="1"/>
          </p:cNvCxnSpPr>
          <p:nvPr/>
        </p:nvCxnSpPr>
        <p:spPr>
          <a:xfrm>
            <a:off x="4876211" y="4426611"/>
            <a:ext cx="392907"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81" name="Gerade Verbindung mit Pfeil 80">
            <a:extLst>
              <a:ext uri="{FF2B5EF4-FFF2-40B4-BE49-F238E27FC236}">
                <a16:creationId xmlns:a16="http://schemas.microsoft.com/office/drawing/2014/main" id="{BD62FE4F-238A-4316-8DF4-8E2F26C7E1ED}"/>
              </a:ext>
            </a:extLst>
          </p:cNvPr>
          <p:cNvCxnSpPr>
            <a:cxnSpLocks/>
            <a:stCxn id="39" idx="0"/>
          </p:cNvCxnSpPr>
          <p:nvPr/>
        </p:nvCxnSpPr>
        <p:spPr>
          <a:xfrm flipH="1" flipV="1">
            <a:off x="6071356" y="3723835"/>
            <a:ext cx="7762" cy="35138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86" name="Textfeld 85">
            <a:extLst>
              <a:ext uri="{FF2B5EF4-FFF2-40B4-BE49-F238E27FC236}">
                <a16:creationId xmlns:a16="http://schemas.microsoft.com/office/drawing/2014/main" id="{BE02670F-8114-4463-936A-9D2672146D41}"/>
              </a:ext>
            </a:extLst>
          </p:cNvPr>
          <p:cNvSpPr txBox="1"/>
          <p:nvPr/>
        </p:nvSpPr>
        <p:spPr>
          <a:xfrm>
            <a:off x="5269118" y="3077503"/>
            <a:ext cx="1634256" cy="646331"/>
          </a:xfrm>
          <a:prstGeom prst="rect">
            <a:avLst/>
          </a:prstGeom>
          <a:noFill/>
        </p:spPr>
        <p:txBody>
          <a:bodyPr wrap="square" rtlCol="0">
            <a:spAutoFit/>
          </a:bodyPr>
          <a:lstStyle/>
          <a:p>
            <a:pPr algn="ctr"/>
            <a:r>
              <a:rPr lang="en-US" sz="1200">
                <a:solidFill>
                  <a:schemeClr val="bg1"/>
                </a:solidFill>
                <a:latin typeface="Arial" panose="020B0604020202020204" pitchFamily="34" charset="0"/>
                <a:cs typeface="Arial" panose="020B0604020202020204" pitchFamily="34" charset="0"/>
              </a:rPr>
              <a:t>Europe IT Consulting Web Service</a:t>
            </a:r>
          </a:p>
          <a:p>
            <a:pPr algn="ctr"/>
            <a:endParaRPr lang="en-US" sz="1200">
              <a:solidFill>
                <a:schemeClr val="bg1"/>
              </a:solidFill>
              <a:latin typeface="Arial" panose="020B0604020202020204" pitchFamily="34" charset="0"/>
              <a:cs typeface="Arial" panose="020B0604020202020204" pitchFamily="34" charset="0"/>
            </a:endParaRPr>
          </a:p>
        </p:txBody>
      </p:sp>
      <p:cxnSp>
        <p:nvCxnSpPr>
          <p:cNvPr id="104" name="Gerade Verbindung mit Pfeil 103">
            <a:extLst>
              <a:ext uri="{FF2B5EF4-FFF2-40B4-BE49-F238E27FC236}">
                <a16:creationId xmlns:a16="http://schemas.microsoft.com/office/drawing/2014/main" id="{98A2D59C-096A-46B5-8EBF-CAAECD1A9BCB}"/>
              </a:ext>
            </a:extLst>
          </p:cNvPr>
          <p:cNvCxnSpPr>
            <a:cxnSpLocks/>
            <a:stCxn id="40" idx="3"/>
            <a:endCxn id="43" idx="1"/>
          </p:cNvCxnSpPr>
          <p:nvPr/>
        </p:nvCxnSpPr>
        <p:spPr>
          <a:xfrm flipV="1">
            <a:off x="6889118" y="2790603"/>
            <a:ext cx="1689201" cy="1423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06" name="Verbinder: gewinkelt 105">
            <a:extLst>
              <a:ext uri="{FF2B5EF4-FFF2-40B4-BE49-F238E27FC236}">
                <a16:creationId xmlns:a16="http://schemas.microsoft.com/office/drawing/2014/main" id="{7F8C2BBE-4ED8-4524-9F9D-68F561918F36}"/>
              </a:ext>
            </a:extLst>
          </p:cNvPr>
          <p:cNvCxnSpPr>
            <a:cxnSpLocks/>
            <a:stCxn id="44" idx="3"/>
          </p:cNvCxnSpPr>
          <p:nvPr/>
        </p:nvCxnSpPr>
        <p:spPr>
          <a:xfrm flipV="1">
            <a:off x="6888217" y="2093938"/>
            <a:ext cx="1690102" cy="272664"/>
          </a:xfrm>
          <a:prstGeom prst="bentConnector3">
            <a:avLst>
              <a:gd name="adj1" fmla="val 19466"/>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08" name="Verbinder: gewinkelt 107">
            <a:extLst>
              <a:ext uri="{FF2B5EF4-FFF2-40B4-BE49-F238E27FC236}">
                <a16:creationId xmlns:a16="http://schemas.microsoft.com/office/drawing/2014/main" id="{ADDCFB2A-B92B-402C-8E9F-2C24F61DFD77}"/>
              </a:ext>
            </a:extLst>
          </p:cNvPr>
          <p:cNvCxnSpPr>
            <a:cxnSpLocks/>
          </p:cNvCxnSpPr>
          <p:nvPr/>
        </p:nvCxnSpPr>
        <p:spPr>
          <a:xfrm>
            <a:off x="6888217" y="3278711"/>
            <a:ext cx="1660625" cy="177230"/>
          </a:xfrm>
          <a:prstGeom prst="bentConnector3">
            <a:avLst>
              <a:gd name="adj1" fmla="val 21105"/>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53" name="Rechteck: abgerundete Ecken 52">
            <a:extLst>
              <a:ext uri="{FF2B5EF4-FFF2-40B4-BE49-F238E27FC236}">
                <a16:creationId xmlns:a16="http://schemas.microsoft.com/office/drawing/2014/main" id="{DC1BB485-83A3-4556-8949-E18D80FCAA63}"/>
              </a:ext>
            </a:extLst>
          </p:cNvPr>
          <p:cNvSpPr/>
          <p:nvPr/>
        </p:nvSpPr>
        <p:spPr>
          <a:xfrm>
            <a:off x="7431607" y="1901035"/>
            <a:ext cx="784325" cy="484748"/>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a:t>3rd Party</a:t>
            </a:r>
          </a:p>
        </p:txBody>
      </p:sp>
      <p:sp>
        <p:nvSpPr>
          <p:cNvPr id="46" name="Rechteck: abgerundete Ecken 45">
            <a:extLst>
              <a:ext uri="{FF2B5EF4-FFF2-40B4-BE49-F238E27FC236}">
                <a16:creationId xmlns:a16="http://schemas.microsoft.com/office/drawing/2014/main" id="{55F6C6E1-DD30-43DE-BD84-8F53864D115C}"/>
              </a:ext>
            </a:extLst>
          </p:cNvPr>
          <p:cNvSpPr/>
          <p:nvPr/>
        </p:nvSpPr>
        <p:spPr>
          <a:xfrm>
            <a:off x="7438644" y="3214484"/>
            <a:ext cx="784325" cy="484748"/>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err="1"/>
              <a:t>WebService</a:t>
            </a:r>
            <a:endParaRPr lang="de-DE" sz="800"/>
          </a:p>
          <a:p>
            <a:pPr algn="ctr"/>
            <a:r>
              <a:rPr lang="de-DE" sz="800"/>
              <a:t>(SSL</a:t>
            </a:r>
            <a:r>
              <a:rPr lang="de-DE" sz="900"/>
              <a:t>)</a:t>
            </a:r>
          </a:p>
        </p:txBody>
      </p:sp>
      <p:sp>
        <p:nvSpPr>
          <p:cNvPr id="48" name="Rechteck: abgerundete Ecken 47">
            <a:extLst>
              <a:ext uri="{FF2B5EF4-FFF2-40B4-BE49-F238E27FC236}">
                <a16:creationId xmlns:a16="http://schemas.microsoft.com/office/drawing/2014/main" id="{E166C7F1-E948-4DCE-95F4-24D33AEBBFBE}"/>
              </a:ext>
            </a:extLst>
          </p:cNvPr>
          <p:cNvSpPr/>
          <p:nvPr/>
        </p:nvSpPr>
        <p:spPr>
          <a:xfrm>
            <a:off x="7435364" y="2557301"/>
            <a:ext cx="784325" cy="484748"/>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err="1"/>
              <a:t>WebTrader</a:t>
            </a:r>
            <a:endParaRPr lang="de-DE" sz="800"/>
          </a:p>
        </p:txBody>
      </p:sp>
    </p:spTree>
    <p:extLst>
      <p:ext uri="{BB962C8B-B14F-4D97-AF65-F5344CB8AC3E}">
        <p14:creationId xmlns:p14="http://schemas.microsoft.com/office/powerpoint/2010/main" val="32702807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nhaltsplatzhalter 6">
            <a:extLst>
              <a:ext uri="{FF2B5EF4-FFF2-40B4-BE49-F238E27FC236}">
                <a16:creationId xmlns:a16="http://schemas.microsoft.com/office/drawing/2014/main" id="{22974B99-5E58-480B-92F2-3B8832468EBD}"/>
              </a:ext>
            </a:extLst>
          </p:cNvPr>
          <p:cNvSpPr>
            <a:spLocks noGrp="1"/>
          </p:cNvSpPr>
          <p:nvPr>
            <p:ph sz="quarter" idx="19"/>
          </p:nvPr>
        </p:nvSpPr>
        <p:spPr>
          <a:xfrm>
            <a:off x="219267" y="1318009"/>
            <a:ext cx="4963001" cy="3455988"/>
          </a:xfrm>
        </p:spPr>
        <p:txBody>
          <a:bodyPr/>
          <a:lstStyle/>
          <a:p>
            <a:pPr>
              <a:buFont typeface="Arial" panose="020B0604020202020204" pitchFamily="34" charset="0"/>
              <a:buChar char="•"/>
            </a:pPr>
            <a:r>
              <a:rPr lang="en-US"/>
              <a:t>One of the biggest differences between the FDA and EC requirements is that in the EU database the data must have a Basic UDI-DI and a UDI-DI.</a:t>
            </a:r>
          </a:p>
          <a:p>
            <a:pPr marL="0" indent="0">
              <a:buNone/>
            </a:pPr>
            <a:endParaRPr lang="en-US"/>
          </a:p>
          <a:p>
            <a:pPr>
              <a:buFont typeface="Arial" panose="020B0604020202020204" pitchFamily="34" charset="0"/>
              <a:buChar char="•"/>
            </a:pPr>
            <a:r>
              <a:rPr lang="en-US"/>
              <a:t>For this reason, a product must first be assigned to a Basic UDI-DI before it is possible to jump directly from here via the "EU UDI Master Data" button.</a:t>
            </a:r>
          </a:p>
          <a:p>
            <a:pPr>
              <a:buFont typeface="Arial" panose="020B0604020202020204" pitchFamily="34" charset="0"/>
              <a:buChar char="•"/>
            </a:pPr>
            <a:endParaRPr lang="en-US"/>
          </a:p>
          <a:p>
            <a:pPr>
              <a:buFont typeface="Arial" panose="020B0604020202020204" pitchFamily="34" charset="0"/>
              <a:buChar char="•"/>
            </a:pPr>
            <a:r>
              <a:rPr lang="en-US"/>
              <a:t>The next step is to create a Basic UDI-DI and assign a product to it.</a:t>
            </a:r>
            <a:endParaRPr lang="de-CH"/>
          </a:p>
        </p:txBody>
      </p:sp>
      <p:sp>
        <p:nvSpPr>
          <p:cNvPr id="13" name="Textplatzhalter 5">
            <a:extLst>
              <a:ext uri="{FF2B5EF4-FFF2-40B4-BE49-F238E27FC236}">
                <a16:creationId xmlns:a16="http://schemas.microsoft.com/office/drawing/2014/main" id="{0118195D-4A68-4D2E-972F-DCDFE1929E51}"/>
              </a:ext>
            </a:extLst>
          </p:cNvPr>
          <p:cNvSpPr>
            <a:spLocks noGrp="1"/>
          </p:cNvSpPr>
          <p:nvPr>
            <p:ph type="body" sz="quarter" idx="18"/>
          </p:nvPr>
        </p:nvSpPr>
        <p:spPr>
          <a:xfrm>
            <a:off x="219267" y="698390"/>
            <a:ext cx="8600883" cy="330544"/>
          </a:xfrm>
        </p:spPr>
        <p:txBody>
          <a:bodyPr>
            <a:normAutofit/>
          </a:bodyPr>
          <a:lstStyle/>
          <a:p>
            <a:r>
              <a:rPr lang="de-DE"/>
              <a:t>2.1 UDI relevant </a:t>
            </a:r>
            <a:r>
              <a:rPr lang="de-DE" err="1"/>
              <a:t>marking</a:t>
            </a:r>
            <a:endParaRPr lang="de-DE"/>
          </a:p>
        </p:txBody>
      </p:sp>
      <p:sp>
        <p:nvSpPr>
          <p:cNvPr id="14" name="Titel 2">
            <a:extLst>
              <a:ext uri="{FF2B5EF4-FFF2-40B4-BE49-F238E27FC236}">
                <a16:creationId xmlns:a16="http://schemas.microsoft.com/office/drawing/2014/main" id="{2BDDBDCA-C98A-4D0F-A079-997DD5F66E9F}"/>
              </a:ext>
            </a:extLst>
          </p:cNvPr>
          <p:cNvSpPr>
            <a:spLocks noGrp="1"/>
          </p:cNvSpPr>
          <p:nvPr>
            <p:ph type="title"/>
          </p:nvPr>
        </p:nvSpPr>
        <p:spPr>
          <a:xfrm>
            <a:off x="269393" y="78770"/>
            <a:ext cx="7907189" cy="330545"/>
          </a:xfrm>
        </p:spPr>
        <p:txBody>
          <a:bodyPr>
            <a:normAutofit fontScale="90000"/>
          </a:bodyPr>
          <a:lstStyle/>
          <a:p>
            <a:r>
              <a:rPr lang="de-DE"/>
              <a:t>2. </a:t>
            </a:r>
            <a:r>
              <a:rPr lang="en-US"/>
              <a:t>W</a:t>
            </a:r>
            <a:r>
              <a:rPr lang="en-US" sz="1800" b="1"/>
              <a:t>ork processes from the database to data transmission </a:t>
            </a:r>
            <a:endParaRPr lang="de-DE"/>
          </a:p>
        </p:txBody>
      </p:sp>
      <p:pic>
        <p:nvPicPr>
          <p:cNvPr id="3" name="Grafik 2">
            <a:extLst>
              <a:ext uri="{FF2B5EF4-FFF2-40B4-BE49-F238E27FC236}">
                <a16:creationId xmlns:a16="http://schemas.microsoft.com/office/drawing/2014/main" id="{5A95DD6B-4790-45E0-9933-3C883BB913F8}"/>
              </a:ext>
            </a:extLst>
          </p:cNvPr>
          <p:cNvPicPr>
            <a:picLocks noChangeAspect="1"/>
          </p:cNvPicPr>
          <p:nvPr/>
        </p:nvPicPr>
        <p:blipFill>
          <a:blip r:embed="rId2"/>
          <a:stretch>
            <a:fillRect/>
          </a:stretch>
        </p:blipFill>
        <p:spPr>
          <a:xfrm>
            <a:off x="5468868" y="680125"/>
            <a:ext cx="3219899" cy="4093872"/>
          </a:xfrm>
          <a:prstGeom prst="rect">
            <a:avLst/>
          </a:prstGeom>
          <a:ln w="12700">
            <a:solidFill>
              <a:srgbClr val="2F5597"/>
            </a:solidFill>
          </a:ln>
          <a:effectLst/>
        </p:spPr>
      </p:pic>
      <p:sp>
        <p:nvSpPr>
          <p:cNvPr id="11" name="Rechteck 10">
            <a:extLst>
              <a:ext uri="{FF2B5EF4-FFF2-40B4-BE49-F238E27FC236}">
                <a16:creationId xmlns:a16="http://schemas.microsoft.com/office/drawing/2014/main" id="{FBEDA0A3-89EE-4694-B73A-8DA13E164161}"/>
              </a:ext>
            </a:extLst>
          </p:cNvPr>
          <p:cNvSpPr/>
          <p:nvPr/>
        </p:nvSpPr>
        <p:spPr>
          <a:xfrm>
            <a:off x="5510688" y="4417621"/>
            <a:ext cx="2992583" cy="290945"/>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7182248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nhaltsplatzhalter 6">
            <a:extLst>
              <a:ext uri="{FF2B5EF4-FFF2-40B4-BE49-F238E27FC236}">
                <a16:creationId xmlns:a16="http://schemas.microsoft.com/office/drawing/2014/main" id="{22974B99-5E58-480B-92F2-3B8832468EBD}"/>
              </a:ext>
            </a:extLst>
          </p:cNvPr>
          <p:cNvSpPr>
            <a:spLocks noGrp="1"/>
          </p:cNvSpPr>
          <p:nvPr>
            <p:ph sz="quarter" idx="19"/>
          </p:nvPr>
        </p:nvSpPr>
        <p:spPr>
          <a:xfrm>
            <a:off x="219267" y="1313715"/>
            <a:ext cx="6018523" cy="3455988"/>
          </a:xfrm>
        </p:spPr>
        <p:txBody>
          <a:bodyPr/>
          <a:lstStyle/>
          <a:p>
            <a:pPr>
              <a:buFont typeface="Arial" panose="020B0604020202020204" pitchFamily="34" charset="0"/>
              <a:buChar char="•"/>
            </a:pPr>
            <a:r>
              <a:rPr lang="en-US"/>
              <a:t>Access via transactions MM02/MM03</a:t>
            </a:r>
          </a:p>
          <a:p>
            <a:pPr>
              <a:buFont typeface="Arial" panose="020B0604020202020204" pitchFamily="34" charset="0"/>
              <a:buChar char="•"/>
            </a:pPr>
            <a:r>
              <a:rPr lang="en-US"/>
              <a:t>Enter a material number</a:t>
            </a:r>
          </a:p>
          <a:p>
            <a:pPr>
              <a:buFont typeface="Arial" panose="020B0604020202020204" pitchFamily="34" charset="0"/>
              <a:buChar char="•"/>
            </a:pPr>
            <a:r>
              <a:rPr lang="en-US"/>
              <a:t>Set the EU UDI relevance to “1 Yes”</a:t>
            </a:r>
          </a:p>
          <a:p>
            <a:pPr>
              <a:buFont typeface="Arial" panose="020B0604020202020204" pitchFamily="34" charset="0"/>
              <a:buChar char="•"/>
            </a:pPr>
            <a:r>
              <a:rPr lang="en-US"/>
              <a:t>Do not forget to save!</a:t>
            </a:r>
            <a:endParaRPr lang="de-CH"/>
          </a:p>
        </p:txBody>
      </p:sp>
      <p:sp>
        <p:nvSpPr>
          <p:cNvPr id="11" name="Textplatzhalter 5">
            <a:extLst>
              <a:ext uri="{FF2B5EF4-FFF2-40B4-BE49-F238E27FC236}">
                <a16:creationId xmlns:a16="http://schemas.microsoft.com/office/drawing/2014/main" id="{D7C10731-B06F-4E23-80BE-7C7A9B99874A}"/>
              </a:ext>
            </a:extLst>
          </p:cNvPr>
          <p:cNvSpPr>
            <a:spLocks noGrp="1"/>
          </p:cNvSpPr>
          <p:nvPr>
            <p:ph type="body" sz="quarter" idx="18"/>
          </p:nvPr>
        </p:nvSpPr>
        <p:spPr>
          <a:xfrm>
            <a:off x="219267" y="801344"/>
            <a:ext cx="8600883" cy="330544"/>
          </a:xfrm>
        </p:spPr>
        <p:txBody>
          <a:bodyPr>
            <a:normAutofit/>
          </a:bodyPr>
          <a:lstStyle/>
          <a:p>
            <a:r>
              <a:rPr lang="de-DE"/>
              <a:t>2.1 UDI relevant </a:t>
            </a:r>
            <a:r>
              <a:rPr lang="de-DE" err="1"/>
              <a:t>marking</a:t>
            </a:r>
            <a:endParaRPr lang="de-DE"/>
          </a:p>
        </p:txBody>
      </p:sp>
      <p:sp>
        <p:nvSpPr>
          <p:cNvPr id="13" name="Titel 2">
            <a:extLst>
              <a:ext uri="{FF2B5EF4-FFF2-40B4-BE49-F238E27FC236}">
                <a16:creationId xmlns:a16="http://schemas.microsoft.com/office/drawing/2014/main" id="{31CC3F49-BBCB-48D7-AC8D-932F04871AFD}"/>
              </a:ext>
            </a:extLst>
          </p:cNvPr>
          <p:cNvSpPr>
            <a:spLocks noGrp="1"/>
          </p:cNvSpPr>
          <p:nvPr>
            <p:ph type="title"/>
          </p:nvPr>
        </p:nvSpPr>
        <p:spPr>
          <a:xfrm>
            <a:off x="269393" y="78770"/>
            <a:ext cx="7907189" cy="330545"/>
          </a:xfrm>
        </p:spPr>
        <p:txBody>
          <a:bodyPr>
            <a:normAutofit fontScale="90000"/>
          </a:bodyPr>
          <a:lstStyle/>
          <a:p>
            <a:r>
              <a:rPr lang="de-DE"/>
              <a:t>2. </a:t>
            </a:r>
            <a:r>
              <a:rPr lang="en-US"/>
              <a:t>W</a:t>
            </a:r>
            <a:r>
              <a:rPr lang="en-US" sz="1800" b="1"/>
              <a:t>ork processes from the database to data transmission </a:t>
            </a:r>
            <a:endParaRPr lang="de-DE"/>
          </a:p>
        </p:txBody>
      </p:sp>
      <p:pic>
        <p:nvPicPr>
          <p:cNvPr id="3" name="Grafik 2">
            <a:extLst>
              <a:ext uri="{FF2B5EF4-FFF2-40B4-BE49-F238E27FC236}">
                <a16:creationId xmlns:a16="http://schemas.microsoft.com/office/drawing/2014/main" id="{F8C13348-F571-4644-9112-2B4DBA5F2706}"/>
              </a:ext>
            </a:extLst>
          </p:cNvPr>
          <p:cNvPicPr>
            <a:picLocks noChangeAspect="1"/>
          </p:cNvPicPr>
          <p:nvPr/>
        </p:nvPicPr>
        <p:blipFill>
          <a:blip r:embed="rId2"/>
          <a:stretch>
            <a:fillRect/>
          </a:stretch>
        </p:blipFill>
        <p:spPr>
          <a:xfrm>
            <a:off x="5261428" y="710444"/>
            <a:ext cx="3133769" cy="3984364"/>
          </a:xfrm>
          <a:prstGeom prst="rect">
            <a:avLst/>
          </a:prstGeom>
          <a:ln w="12700">
            <a:solidFill>
              <a:srgbClr val="2F5597"/>
            </a:solidFill>
          </a:ln>
          <a:effectLst/>
        </p:spPr>
      </p:pic>
      <p:sp>
        <p:nvSpPr>
          <p:cNvPr id="18" name="Rechteck 17">
            <a:extLst>
              <a:ext uri="{FF2B5EF4-FFF2-40B4-BE49-F238E27FC236}">
                <a16:creationId xmlns:a16="http://schemas.microsoft.com/office/drawing/2014/main" id="{5F4DD23D-E46E-4F69-B2E6-02003EE12204}"/>
              </a:ext>
            </a:extLst>
          </p:cNvPr>
          <p:cNvSpPr/>
          <p:nvPr/>
        </p:nvSpPr>
        <p:spPr>
          <a:xfrm>
            <a:off x="5289133" y="4350968"/>
            <a:ext cx="2976759" cy="304154"/>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65213662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A19744FE-0122-4458-A703-1ED9355A7C5F}"/>
              </a:ext>
            </a:extLst>
          </p:cNvPr>
          <p:cNvSpPr>
            <a:spLocks noGrp="1"/>
          </p:cNvSpPr>
          <p:nvPr>
            <p:ph type="body" sz="quarter" idx="18"/>
          </p:nvPr>
        </p:nvSpPr>
        <p:spPr/>
        <p:txBody>
          <a:bodyPr>
            <a:normAutofit/>
          </a:bodyPr>
          <a:lstStyle/>
          <a:p>
            <a:r>
              <a:rPr lang="de-DE"/>
              <a:t>2.2 </a:t>
            </a:r>
            <a:r>
              <a:rPr lang="en-US"/>
              <a:t>Product creation in the Add-On</a:t>
            </a:r>
          </a:p>
          <a:p>
            <a:endParaRPr lang="de-DE"/>
          </a:p>
          <a:p>
            <a:endParaRPr lang="de-DE"/>
          </a:p>
        </p:txBody>
      </p:sp>
      <p:sp>
        <p:nvSpPr>
          <p:cNvPr id="3" name="Titel 2">
            <a:extLst>
              <a:ext uri="{FF2B5EF4-FFF2-40B4-BE49-F238E27FC236}">
                <a16:creationId xmlns:a16="http://schemas.microsoft.com/office/drawing/2014/main" id="{17403686-94D3-4A24-BDEB-07854049E7FA}"/>
              </a:ext>
            </a:extLst>
          </p:cNvPr>
          <p:cNvSpPr>
            <a:spLocks noGrp="1"/>
          </p:cNvSpPr>
          <p:nvPr>
            <p:ph type="title"/>
          </p:nvPr>
        </p:nvSpPr>
        <p:spPr/>
        <p:txBody>
          <a:bodyPr>
            <a:normAutofit fontScale="90000"/>
          </a:bodyPr>
          <a:lstStyle/>
          <a:p>
            <a:r>
              <a:rPr lang="de-DE"/>
              <a:t>2. </a:t>
            </a:r>
            <a:r>
              <a:rPr lang="en-US"/>
              <a:t>W</a:t>
            </a:r>
            <a:r>
              <a:rPr lang="en-US" sz="1800" b="1"/>
              <a:t>ork processes from the database to data transmission </a:t>
            </a:r>
            <a:endParaRPr lang="de-DE"/>
          </a:p>
        </p:txBody>
      </p:sp>
      <p:sp>
        <p:nvSpPr>
          <p:cNvPr id="31" name="Rechteck: abgerundete Ecken 30">
            <a:extLst>
              <a:ext uri="{FF2B5EF4-FFF2-40B4-BE49-F238E27FC236}">
                <a16:creationId xmlns:a16="http://schemas.microsoft.com/office/drawing/2014/main" id="{C2E356A7-F0C9-4E37-8904-4CFAE1F864A1}"/>
              </a:ext>
            </a:extLst>
          </p:cNvPr>
          <p:cNvSpPr/>
          <p:nvPr/>
        </p:nvSpPr>
        <p:spPr>
          <a:xfrm>
            <a:off x="5124177" y="1827482"/>
            <a:ext cx="1797627" cy="1936246"/>
          </a:xfrm>
          <a:prstGeom prst="round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sz="1200" b="1">
                <a:solidFill>
                  <a:schemeClr val="tx1"/>
                </a:solidFill>
                <a:latin typeface="Arial" panose="020B0604020202020204" pitchFamily="34" charset="0"/>
                <a:cs typeface="Arial" panose="020B0604020202020204" pitchFamily="34" charset="0"/>
              </a:rPr>
              <a:t>Data </a:t>
            </a:r>
            <a:r>
              <a:rPr lang="de-DE" sz="1200" b="1" err="1">
                <a:solidFill>
                  <a:schemeClr val="tx1"/>
                </a:solidFill>
                <a:latin typeface="Arial" panose="020B0604020202020204" pitchFamily="34" charset="0"/>
                <a:cs typeface="Arial" panose="020B0604020202020204" pitchFamily="34" charset="0"/>
              </a:rPr>
              <a:t>transmission</a:t>
            </a:r>
            <a:endParaRPr lang="de-DE" sz="1200" b="1">
              <a:solidFill>
                <a:schemeClr val="tx1"/>
              </a:solidFill>
              <a:latin typeface="Arial" panose="020B0604020202020204" pitchFamily="34" charset="0"/>
              <a:cs typeface="Arial" panose="020B0604020202020204" pitchFamily="34" charset="0"/>
            </a:endParaRPr>
          </a:p>
          <a:p>
            <a:pPr algn="ctr"/>
            <a:endParaRPr lang="de-DE" sz="1200">
              <a:latin typeface="Arial" panose="020B0604020202020204" pitchFamily="34" charset="0"/>
              <a:cs typeface="Arial" panose="020B0604020202020204" pitchFamily="34" charset="0"/>
            </a:endParaRPr>
          </a:p>
          <a:p>
            <a:pPr algn="ctr"/>
            <a:endParaRPr lang="de-DE" sz="1200">
              <a:latin typeface="Arial" panose="020B0604020202020204" pitchFamily="34" charset="0"/>
              <a:cs typeface="Arial" panose="020B0604020202020204" pitchFamily="34" charset="0"/>
            </a:endParaRPr>
          </a:p>
          <a:p>
            <a:pPr algn="ctr"/>
            <a:endParaRPr lang="de-DE" sz="1200">
              <a:latin typeface="Arial" panose="020B0604020202020204" pitchFamily="34" charset="0"/>
              <a:cs typeface="Arial" panose="020B0604020202020204" pitchFamily="34" charset="0"/>
            </a:endParaRPr>
          </a:p>
          <a:p>
            <a:pPr algn="ctr"/>
            <a:endParaRPr lang="de-DE" sz="1200">
              <a:latin typeface="Arial" panose="020B0604020202020204" pitchFamily="34" charset="0"/>
              <a:cs typeface="Arial" panose="020B0604020202020204" pitchFamily="34" charset="0"/>
            </a:endParaRPr>
          </a:p>
          <a:p>
            <a:pPr algn="ctr"/>
            <a:endParaRPr lang="de-CH" sz="1200">
              <a:latin typeface="Arial" panose="020B0604020202020204" pitchFamily="34" charset="0"/>
              <a:cs typeface="Arial" panose="020B0604020202020204" pitchFamily="34" charset="0"/>
            </a:endParaRPr>
          </a:p>
        </p:txBody>
      </p:sp>
      <p:sp>
        <p:nvSpPr>
          <p:cNvPr id="35" name="Rechteck: abgerundete Ecken 34">
            <a:extLst>
              <a:ext uri="{FF2B5EF4-FFF2-40B4-BE49-F238E27FC236}">
                <a16:creationId xmlns:a16="http://schemas.microsoft.com/office/drawing/2014/main" id="{2F00C498-6C91-4802-B79A-B21A351086B1}"/>
              </a:ext>
            </a:extLst>
          </p:cNvPr>
          <p:cNvSpPr/>
          <p:nvPr/>
        </p:nvSpPr>
        <p:spPr>
          <a:xfrm>
            <a:off x="374876" y="1829725"/>
            <a:ext cx="1620000" cy="776776"/>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bg1"/>
                </a:solidFill>
                <a:latin typeface="Arial" panose="020B0604020202020204" pitchFamily="34" charset="0"/>
                <a:cs typeface="Arial" panose="020B0604020202020204" pitchFamily="34" charset="0"/>
              </a:rPr>
              <a:t>Product creation in the Add-On</a:t>
            </a:r>
          </a:p>
        </p:txBody>
      </p:sp>
      <p:sp>
        <p:nvSpPr>
          <p:cNvPr id="36" name="Rechteck: abgerundete Ecken 35">
            <a:extLst>
              <a:ext uri="{FF2B5EF4-FFF2-40B4-BE49-F238E27FC236}">
                <a16:creationId xmlns:a16="http://schemas.microsoft.com/office/drawing/2014/main" id="{D66D3841-4BE4-4211-9A3B-E6FBAB054984}"/>
              </a:ext>
            </a:extLst>
          </p:cNvPr>
          <p:cNvSpPr/>
          <p:nvPr/>
        </p:nvSpPr>
        <p:spPr>
          <a:xfrm>
            <a:off x="2053233" y="1838140"/>
            <a:ext cx="1620000" cy="776776"/>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err="1">
                <a:solidFill>
                  <a:schemeClr val="bg1"/>
                </a:solidFill>
                <a:latin typeface="Arial" panose="020B0604020202020204" pitchFamily="34" charset="0"/>
                <a:cs typeface="Arial" panose="020B0604020202020204" pitchFamily="34" charset="0"/>
              </a:rPr>
              <a:t>Product</a:t>
            </a:r>
            <a:r>
              <a:rPr lang="de-CH" sz="1200">
                <a:solidFill>
                  <a:schemeClr val="bg1"/>
                </a:solidFill>
                <a:latin typeface="Arial" panose="020B0604020202020204" pitchFamily="34" charset="0"/>
                <a:cs typeface="Arial" panose="020B0604020202020204" pitchFamily="34" charset="0"/>
              </a:rPr>
              <a:t> </a:t>
            </a:r>
            <a:r>
              <a:rPr lang="de-CH" sz="1200" err="1">
                <a:solidFill>
                  <a:schemeClr val="bg1"/>
                </a:solidFill>
                <a:latin typeface="Arial" panose="020B0604020202020204" pitchFamily="34" charset="0"/>
                <a:cs typeface="Arial" panose="020B0604020202020204" pitchFamily="34" charset="0"/>
              </a:rPr>
              <a:t>creation</a:t>
            </a:r>
            <a:r>
              <a:rPr lang="de-CH" sz="1200">
                <a:solidFill>
                  <a:schemeClr val="bg1"/>
                </a:solidFill>
                <a:latin typeface="Arial" panose="020B0604020202020204" pitchFamily="34" charset="0"/>
                <a:cs typeface="Arial" panose="020B0604020202020204" pitchFamily="34" charset="0"/>
              </a:rPr>
              <a:t> </a:t>
            </a:r>
            <a:r>
              <a:rPr lang="de-CH" sz="1200" err="1">
                <a:solidFill>
                  <a:schemeClr val="bg1"/>
                </a:solidFill>
                <a:latin typeface="Arial" panose="020B0604020202020204" pitchFamily="34" charset="0"/>
                <a:cs typeface="Arial" panose="020B0604020202020204" pitchFamily="34" charset="0"/>
              </a:rPr>
              <a:t>with</a:t>
            </a:r>
            <a:r>
              <a:rPr lang="de-CH" sz="1200">
                <a:solidFill>
                  <a:schemeClr val="bg1"/>
                </a:solidFill>
                <a:latin typeface="Arial" panose="020B0604020202020204" pitchFamily="34" charset="0"/>
                <a:cs typeface="Arial" panose="020B0604020202020204" pitchFamily="34" charset="0"/>
              </a:rPr>
              <a:t> Excel</a:t>
            </a:r>
          </a:p>
        </p:txBody>
      </p:sp>
      <p:sp>
        <p:nvSpPr>
          <p:cNvPr id="37" name="Rechteck: abgerundete Ecken 36">
            <a:extLst>
              <a:ext uri="{FF2B5EF4-FFF2-40B4-BE49-F238E27FC236}">
                <a16:creationId xmlns:a16="http://schemas.microsoft.com/office/drawing/2014/main" id="{C4BE9CCD-C203-414F-B252-20F9929F8E62}"/>
              </a:ext>
            </a:extLst>
          </p:cNvPr>
          <p:cNvSpPr/>
          <p:nvPr/>
        </p:nvSpPr>
        <p:spPr>
          <a:xfrm>
            <a:off x="1218206" y="2881040"/>
            <a:ext cx="1620000" cy="875128"/>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a:latin typeface="Arial" panose="020B0604020202020204" pitchFamily="34" charset="0"/>
                <a:cs typeface="Arial" panose="020B0604020202020204" pitchFamily="34" charset="0"/>
              </a:rPr>
              <a:t>Mass </a:t>
            </a:r>
            <a:r>
              <a:rPr lang="de-CH" sz="1200" err="1">
                <a:latin typeface="Arial" panose="020B0604020202020204" pitchFamily="34" charset="0"/>
                <a:cs typeface="Arial" panose="020B0604020202020204" pitchFamily="34" charset="0"/>
              </a:rPr>
              <a:t>change</a:t>
            </a:r>
            <a:r>
              <a:rPr lang="de-CH" sz="1200">
                <a:latin typeface="Arial" panose="020B0604020202020204" pitchFamily="34" charset="0"/>
                <a:cs typeface="Arial" panose="020B0604020202020204" pitchFamily="34" charset="0"/>
              </a:rPr>
              <a:t> </a:t>
            </a:r>
          </a:p>
          <a:p>
            <a:pPr marL="171450" indent="-171450">
              <a:buFont typeface="Arial" panose="020B0604020202020204" pitchFamily="34" charset="0"/>
              <a:buChar char="•"/>
            </a:pPr>
            <a:r>
              <a:rPr lang="de-CH" sz="1200" err="1">
                <a:latin typeface="Arial" panose="020B0604020202020204" pitchFamily="34" charset="0"/>
                <a:cs typeface="Arial" panose="020B0604020202020204" pitchFamily="34" charset="0"/>
              </a:rPr>
              <a:t>with</a:t>
            </a:r>
            <a:r>
              <a:rPr lang="de-CH" sz="1200">
                <a:latin typeface="Arial" panose="020B0604020202020204" pitchFamily="34" charset="0"/>
                <a:cs typeface="Arial" panose="020B0604020202020204" pitchFamily="34" charset="0"/>
              </a:rPr>
              <a:t> Excel</a:t>
            </a:r>
          </a:p>
          <a:p>
            <a:pPr marL="171450" indent="-171450">
              <a:buFont typeface="Arial" panose="020B0604020202020204" pitchFamily="34" charset="0"/>
              <a:buChar char="•"/>
            </a:pPr>
            <a:r>
              <a:rPr lang="de-CH" sz="1200">
                <a:latin typeface="Arial" panose="020B0604020202020204" pitchFamily="34" charset="0"/>
                <a:cs typeface="Arial" panose="020B0604020202020204" pitchFamily="34" charset="0"/>
              </a:rPr>
              <a:t>in </a:t>
            </a:r>
            <a:r>
              <a:rPr lang="de-CH" sz="1200" err="1">
                <a:latin typeface="Arial" panose="020B0604020202020204" pitchFamily="34" charset="0"/>
                <a:cs typeface="Arial" panose="020B0604020202020204" pitchFamily="34" charset="0"/>
              </a:rPr>
              <a:t>the</a:t>
            </a:r>
            <a:r>
              <a:rPr lang="de-CH" sz="1200">
                <a:latin typeface="Arial" panose="020B0604020202020204" pitchFamily="34" charset="0"/>
                <a:cs typeface="Arial" panose="020B0604020202020204" pitchFamily="34" charset="0"/>
              </a:rPr>
              <a:t> Add-On</a:t>
            </a:r>
          </a:p>
        </p:txBody>
      </p:sp>
      <p:sp>
        <p:nvSpPr>
          <p:cNvPr id="38" name="Rechteck: abgerundete Ecken 37">
            <a:extLst>
              <a:ext uri="{FF2B5EF4-FFF2-40B4-BE49-F238E27FC236}">
                <a16:creationId xmlns:a16="http://schemas.microsoft.com/office/drawing/2014/main" id="{ED09656B-C0AC-4936-AD21-246475444A6A}"/>
              </a:ext>
            </a:extLst>
          </p:cNvPr>
          <p:cNvSpPr/>
          <p:nvPr/>
        </p:nvSpPr>
        <p:spPr>
          <a:xfrm>
            <a:off x="3209825" y="2881040"/>
            <a:ext cx="1620000" cy="875128"/>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a:latin typeface="Arial" panose="020B0604020202020204" pitchFamily="34" charset="0"/>
                <a:cs typeface="Arial" panose="020B0604020202020204" pitchFamily="34" charset="0"/>
              </a:rPr>
              <a:t>Data </a:t>
            </a:r>
            <a:r>
              <a:rPr lang="de-CH" sz="1200" err="1">
                <a:latin typeface="Arial" panose="020B0604020202020204" pitchFamily="34" charset="0"/>
                <a:cs typeface="Arial" panose="020B0604020202020204" pitchFamily="34" charset="0"/>
              </a:rPr>
              <a:t>overview</a:t>
            </a:r>
            <a:r>
              <a:rPr lang="de-CH" sz="1200">
                <a:latin typeface="Arial" panose="020B0604020202020204" pitchFamily="34" charset="0"/>
                <a:cs typeface="Arial" panose="020B0604020202020204" pitchFamily="34" charset="0"/>
              </a:rPr>
              <a:t>,</a:t>
            </a:r>
          </a:p>
          <a:p>
            <a:pPr algn="ctr"/>
            <a:r>
              <a:rPr lang="de-CH" sz="1200" err="1">
                <a:latin typeface="Arial" panose="020B0604020202020204" pitchFamily="34" charset="0"/>
                <a:cs typeface="Arial" panose="020B0604020202020204" pitchFamily="34" charset="0"/>
              </a:rPr>
              <a:t>visual</a:t>
            </a:r>
            <a:r>
              <a:rPr lang="de-CH" sz="1200">
                <a:latin typeface="Arial" panose="020B0604020202020204" pitchFamily="34" charset="0"/>
                <a:cs typeface="Arial" panose="020B0604020202020204" pitchFamily="34" charset="0"/>
              </a:rPr>
              <a:t> </a:t>
            </a:r>
            <a:r>
              <a:rPr lang="de-CH" sz="1200" err="1">
                <a:latin typeface="Arial" panose="020B0604020202020204" pitchFamily="34" charset="0"/>
                <a:cs typeface="Arial" panose="020B0604020202020204" pitchFamily="34" charset="0"/>
              </a:rPr>
              <a:t>data</a:t>
            </a:r>
            <a:r>
              <a:rPr lang="de-CH" sz="1200">
                <a:latin typeface="Arial" panose="020B0604020202020204" pitchFamily="34" charset="0"/>
                <a:cs typeface="Arial" panose="020B0604020202020204" pitchFamily="34" charset="0"/>
              </a:rPr>
              <a:t> check</a:t>
            </a:r>
          </a:p>
          <a:p>
            <a:pPr algn="ctr"/>
            <a:r>
              <a:rPr lang="de-CH" sz="1200">
                <a:latin typeface="Arial" panose="020B0604020202020204" pitchFamily="34" charset="0"/>
                <a:cs typeface="Arial" panose="020B0604020202020204" pitchFamily="34" charset="0"/>
              </a:rPr>
              <a:t>/UDI/Attributes</a:t>
            </a:r>
          </a:p>
        </p:txBody>
      </p:sp>
      <p:sp>
        <p:nvSpPr>
          <p:cNvPr id="39" name="Rechteck: abgerundete Ecken 38">
            <a:extLst>
              <a:ext uri="{FF2B5EF4-FFF2-40B4-BE49-F238E27FC236}">
                <a16:creationId xmlns:a16="http://schemas.microsoft.com/office/drawing/2014/main" id="{9A5867D7-3747-4F74-80A8-1B5AF417EA49}"/>
              </a:ext>
            </a:extLst>
          </p:cNvPr>
          <p:cNvSpPr/>
          <p:nvPr/>
        </p:nvSpPr>
        <p:spPr>
          <a:xfrm>
            <a:off x="5222731" y="4115115"/>
            <a:ext cx="1620000" cy="702778"/>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latin typeface="Arial" panose="020B0604020202020204" pitchFamily="34" charset="0"/>
                <a:cs typeface="Arial" panose="020B0604020202020204" pitchFamily="34" charset="0"/>
              </a:rPr>
              <a:t>Data release /</a:t>
            </a:r>
          </a:p>
          <a:p>
            <a:pPr algn="ctr"/>
            <a:r>
              <a:rPr lang="en-US" sz="1200">
                <a:latin typeface="Arial" panose="020B0604020202020204" pitchFamily="34" charset="0"/>
                <a:cs typeface="Arial" panose="020B0604020202020204" pitchFamily="34" charset="0"/>
              </a:rPr>
              <a:t>Lock trigger fields</a:t>
            </a:r>
          </a:p>
        </p:txBody>
      </p:sp>
      <p:sp>
        <p:nvSpPr>
          <p:cNvPr id="40" name="Rechteck: abgerundete Ecken 39">
            <a:extLst>
              <a:ext uri="{FF2B5EF4-FFF2-40B4-BE49-F238E27FC236}">
                <a16:creationId xmlns:a16="http://schemas.microsoft.com/office/drawing/2014/main" id="{1F9F01A8-FA07-42C7-AF3A-103F301FB65B}"/>
              </a:ext>
            </a:extLst>
          </p:cNvPr>
          <p:cNvSpPr/>
          <p:nvPr/>
        </p:nvSpPr>
        <p:spPr>
          <a:xfrm>
            <a:off x="5222731" y="2687416"/>
            <a:ext cx="1620000" cy="314633"/>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a:latin typeface="Arial" panose="020B0604020202020204" pitchFamily="34" charset="0"/>
                <a:cs typeface="Arial" panose="020B0604020202020204" pitchFamily="34" charset="0"/>
              </a:rPr>
              <a:t>XML </a:t>
            </a:r>
            <a:r>
              <a:rPr lang="de-CH" sz="1200" err="1">
                <a:latin typeface="Arial" panose="020B0604020202020204" pitchFamily="34" charset="0"/>
                <a:cs typeface="Arial" panose="020B0604020202020204" pitchFamily="34" charset="0"/>
              </a:rPr>
              <a:t>export</a:t>
            </a:r>
            <a:endParaRPr lang="de-CH" sz="1200">
              <a:latin typeface="Arial" panose="020B0604020202020204" pitchFamily="34" charset="0"/>
              <a:cs typeface="Arial" panose="020B0604020202020204" pitchFamily="34" charset="0"/>
            </a:endParaRPr>
          </a:p>
        </p:txBody>
      </p:sp>
      <p:sp>
        <p:nvSpPr>
          <p:cNvPr id="41" name="Rechteck: abgerundete Ecken 40">
            <a:extLst>
              <a:ext uri="{FF2B5EF4-FFF2-40B4-BE49-F238E27FC236}">
                <a16:creationId xmlns:a16="http://schemas.microsoft.com/office/drawing/2014/main" id="{8E2A35B4-08DC-4C68-80B1-B6FA91906473}"/>
              </a:ext>
            </a:extLst>
          </p:cNvPr>
          <p:cNvSpPr/>
          <p:nvPr/>
        </p:nvSpPr>
        <p:spPr>
          <a:xfrm>
            <a:off x="3209824" y="4115115"/>
            <a:ext cx="1620000" cy="702778"/>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a:latin typeface="Arial" panose="020B0604020202020204" pitchFamily="34" charset="0"/>
                <a:cs typeface="Arial" panose="020B0604020202020204" pitchFamily="34" charset="0"/>
              </a:rPr>
              <a:t>Integrity check</a:t>
            </a:r>
          </a:p>
          <a:p>
            <a:pPr algn="ctr"/>
            <a:r>
              <a:rPr lang="de-CH" sz="1200">
                <a:latin typeface="Arial" panose="020B0604020202020204" pitchFamily="34" charset="0"/>
                <a:cs typeface="Arial" panose="020B0604020202020204" pitchFamily="34" charset="0"/>
              </a:rPr>
              <a:t>Validation check</a:t>
            </a:r>
          </a:p>
        </p:txBody>
      </p:sp>
      <p:sp>
        <p:nvSpPr>
          <p:cNvPr id="43" name="Rechteck: abgerundete Ecken 42">
            <a:extLst>
              <a:ext uri="{FF2B5EF4-FFF2-40B4-BE49-F238E27FC236}">
                <a16:creationId xmlns:a16="http://schemas.microsoft.com/office/drawing/2014/main" id="{5B9B524D-B2AF-4C3A-9818-2DA5A726A8D0}"/>
              </a:ext>
            </a:extLst>
          </p:cNvPr>
          <p:cNvSpPr/>
          <p:nvPr/>
        </p:nvSpPr>
        <p:spPr>
          <a:xfrm>
            <a:off x="8531932" y="1949789"/>
            <a:ext cx="322128" cy="1761413"/>
          </a:xfrm>
          <a:prstGeom prst="round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CH" sz="1350" b="1"/>
              <a:t>E</a:t>
            </a:r>
          </a:p>
          <a:p>
            <a:r>
              <a:rPr lang="de-CH" sz="1350" b="1"/>
              <a:t>U</a:t>
            </a:r>
          </a:p>
          <a:p>
            <a:r>
              <a:rPr lang="de-CH" sz="1350" b="1"/>
              <a:t>D</a:t>
            </a:r>
          </a:p>
          <a:p>
            <a:r>
              <a:rPr lang="de-CH" sz="1350" b="1"/>
              <a:t>A</a:t>
            </a:r>
          </a:p>
          <a:p>
            <a:r>
              <a:rPr lang="de-CH" sz="1350" b="1"/>
              <a:t>M</a:t>
            </a:r>
          </a:p>
          <a:p>
            <a:r>
              <a:rPr lang="de-CH" sz="1350" b="1"/>
              <a:t>E</a:t>
            </a:r>
          </a:p>
          <a:p>
            <a:r>
              <a:rPr lang="de-CH" sz="1350" b="1"/>
              <a:t>D</a:t>
            </a:r>
          </a:p>
        </p:txBody>
      </p:sp>
      <p:sp>
        <p:nvSpPr>
          <p:cNvPr id="44" name="Rechteck: abgerundete Ecken 43">
            <a:extLst>
              <a:ext uri="{FF2B5EF4-FFF2-40B4-BE49-F238E27FC236}">
                <a16:creationId xmlns:a16="http://schemas.microsoft.com/office/drawing/2014/main" id="{87B16B71-40C1-4B47-96E8-5F15754C1997}"/>
              </a:ext>
            </a:extLst>
          </p:cNvPr>
          <p:cNvSpPr/>
          <p:nvPr/>
        </p:nvSpPr>
        <p:spPr>
          <a:xfrm>
            <a:off x="5221830" y="2249178"/>
            <a:ext cx="1620000" cy="314633"/>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a:latin typeface="Arial" panose="020B0604020202020204" pitchFamily="34" charset="0"/>
                <a:cs typeface="Arial" panose="020B0604020202020204" pitchFamily="34" charset="0"/>
              </a:rPr>
              <a:t>Excel </a:t>
            </a:r>
            <a:r>
              <a:rPr lang="de-CH" sz="1200" err="1">
                <a:latin typeface="Arial" panose="020B0604020202020204" pitchFamily="34" charset="0"/>
                <a:cs typeface="Arial" panose="020B0604020202020204" pitchFamily="34" charset="0"/>
              </a:rPr>
              <a:t>export</a:t>
            </a:r>
            <a:endParaRPr lang="de-CH" sz="1200">
              <a:latin typeface="Arial" panose="020B0604020202020204" pitchFamily="34" charset="0"/>
              <a:cs typeface="Arial" panose="020B0604020202020204" pitchFamily="34" charset="0"/>
            </a:endParaRPr>
          </a:p>
        </p:txBody>
      </p:sp>
      <p:sp>
        <p:nvSpPr>
          <p:cNvPr id="45" name="Rechteck: abgerundete Ecken 44">
            <a:extLst>
              <a:ext uri="{FF2B5EF4-FFF2-40B4-BE49-F238E27FC236}">
                <a16:creationId xmlns:a16="http://schemas.microsoft.com/office/drawing/2014/main" id="{646486A8-D8A3-4FA5-875E-0F3F80A7D1A8}"/>
              </a:ext>
            </a:extLst>
          </p:cNvPr>
          <p:cNvSpPr/>
          <p:nvPr/>
        </p:nvSpPr>
        <p:spPr>
          <a:xfrm>
            <a:off x="5222731" y="3123064"/>
            <a:ext cx="1620000" cy="408087"/>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200">
              <a:latin typeface="Arial" panose="020B0604020202020204" pitchFamily="34" charset="0"/>
              <a:cs typeface="Arial" panose="020B0604020202020204" pitchFamily="34" charset="0"/>
            </a:endParaRPr>
          </a:p>
        </p:txBody>
      </p:sp>
      <p:sp>
        <p:nvSpPr>
          <p:cNvPr id="54" name="Rechteck: abgerundete Ecken 53">
            <a:extLst>
              <a:ext uri="{FF2B5EF4-FFF2-40B4-BE49-F238E27FC236}">
                <a16:creationId xmlns:a16="http://schemas.microsoft.com/office/drawing/2014/main" id="{C90BCC80-CC53-4FAB-90F5-99AED375928F}"/>
              </a:ext>
            </a:extLst>
          </p:cNvPr>
          <p:cNvSpPr/>
          <p:nvPr/>
        </p:nvSpPr>
        <p:spPr>
          <a:xfrm>
            <a:off x="374876" y="1139292"/>
            <a:ext cx="3298357" cy="415894"/>
          </a:xfrm>
          <a:prstGeom prst="roundRect">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solidFill>
                  <a:schemeClr val="bg1"/>
                </a:solidFill>
                <a:latin typeface="Arial" panose="020B0604020202020204" pitchFamily="34" charset="0"/>
                <a:cs typeface="Arial" panose="020B0604020202020204" pitchFamily="34" charset="0"/>
              </a:rPr>
              <a:t>UDI relevant </a:t>
            </a:r>
            <a:r>
              <a:rPr lang="de-DE" sz="1200" err="1">
                <a:solidFill>
                  <a:schemeClr val="bg1"/>
                </a:solidFill>
                <a:latin typeface="Arial" panose="020B0604020202020204" pitchFamily="34" charset="0"/>
                <a:cs typeface="Arial" panose="020B0604020202020204" pitchFamily="34" charset="0"/>
              </a:rPr>
              <a:t>marking</a:t>
            </a:r>
            <a:endParaRPr lang="de-DE" sz="1200">
              <a:solidFill>
                <a:schemeClr val="bg1"/>
              </a:solidFill>
              <a:latin typeface="Arial" panose="020B0604020202020204" pitchFamily="34" charset="0"/>
              <a:cs typeface="Arial" panose="020B0604020202020204" pitchFamily="34" charset="0"/>
            </a:endParaRPr>
          </a:p>
        </p:txBody>
      </p:sp>
      <p:cxnSp>
        <p:nvCxnSpPr>
          <p:cNvPr id="8" name="Gerade Verbindung mit Pfeil 7">
            <a:extLst>
              <a:ext uri="{FF2B5EF4-FFF2-40B4-BE49-F238E27FC236}">
                <a16:creationId xmlns:a16="http://schemas.microsoft.com/office/drawing/2014/main" id="{7F8FBB42-5E6F-494A-9FA9-D776E43B375D}"/>
              </a:ext>
            </a:extLst>
          </p:cNvPr>
          <p:cNvCxnSpPr>
            <a:cxnSpLocks/>
            <a:endCxn id="35" idx="0"/>
          </p:cNvCxnSpPr>
          <p:nvPr/>
        </p:nvCxnSpPr>
        <p:spPr>
          <a:xfrm>
            <a:off x="1184876" y="1555186"/>
            <a:ext cx="0" cy="274539"/>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0" name="Gerade Verbindung mit Pfeil 9">
            <a:extLst>
              <a:ext uri="{FF2B5EF4-FFF2-40B4-BE49-F238E27FC236}">
                <a16:creationId xmlns:a16="http://schemas.microsoft.com/office/drawing/2014/main" id="{3079ADE2-81AA-4647-AA7F-C4E7527E5280}"/>
              </a:ext>
            </a:extLst>
          </p:cNvPr>
          <p:cNvCxnSpPr>
            <a:cxnSpLocks/>
            <a:endCxn id="36" idx="0"/>
          </p:cNvCxnSpPr>
          <p:nvPr/>
        </p:nvCxnSpPr>
        <p:spPr>
          <a:xfrm>
            <a:off x="2863233" y="1550979"/>
            <a:ext cx="0" cy="28716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69" name="Gerade Verbindung mit Pfeil 68">
            <a:extLst>
              <a:ext uri="{FF2B5EF4-FFF2-40B4-BE49-F238E27FC236}">
                <a16:creationId xmlns:a16="http://schemas.microsoft.com/office/drawing/2014/main" id="{1B16878B-8423-441F-856F-52AE4DCDB29D}"/>
              </a:ext>
            </a:extLst>
          </p:cNvPr>
          <p:cNvCxnSpPr>
            <a:cxnSpLocks/>
          </p:cNvCxnSpPr>
          <p:nvPr/>
        </p:nvCxnSpPr>
        <p:spPr>
          <a:xfrm>
            <a:off x="1548144" y="2606501"/>
            <a:ext cx="0" cy="266124"/>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1" name="Gerade Verbindung mit Pfeil 70">
            <a:extLst>
              <a:ext uri="{FF2B5EF4-FFF2-40B4-BE49-F238E27FC236}">
                <a16:creationId xmlns:a16="http://schemas.microsoft.com/office/drawing/2014/main" id="{EB808EBE-B377-40AD-94B2-C1CD1E859C23}"/>
              </a:ext>
            </a:extLst>
          </p:cNvPr>
          <p:cNvCxnSpPr/>
          <p:nvPr/>
        </p:nvCxnSpPr>
        <p:spPr>
          <a:xfrm>
            <a:off x="2534971" y="2636056"/>
            <a:ext cx="0" cy="244984"/>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5" name="Gerade Verbindung mit Pfeil 74">
            <a:extLst>
              <a:ext uri="{FF2B5EF4-FFF2-40B4-BE49-F238E27FC236}">
                <a16:creationId xmlns:a16="http://schemas.microsoft.com/office/drawing/2014/main" id="{71D0F3A7-5FF8-4078-9F7D-F8BB0FEDE112}"/>
              </a:ext>
            </a:extLst>
          </p:cNvPr>
          <p:cNvCxnSpPr>
            <a:cxnSpLocks/>
            <a:stCxn id="37" idx="3"/>
            <a:endCxn id="38" idx="1"/>
          </p:cNvCxnSpPr>
          <p:nvPr/>
        </p:nvCxnSpPr>
        <p:spPr>
          <a:xfrm>
            <a:off x="2838206" y="3318604"/>
            <a:ext cx="371619"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7" name="Gerade Verbindung mit Pfeil 76">
            <a:extLst>
              <a:ext uri="{FF2B5EF4-FFF2-40B4-BE49-F238E27FC236}">
                <a16:creationId xmlns:a16="http://schemas.microsoft.com/office/drawing/2014/main" id="{3EA88A85-494A-4551-8527-12C496D561A3}"/>
              </a:ext>
            </a:extLst>
          </p:cNvPr>
          <p:cNvCxnSpPr>
            <a:cxnSpLocks/>
            <a:stCxn id="38" idx="2"/>
            <a:endCxn id="41" idx="0"/>
          </p:cNvCxnSpPr>
          <p:nvPr/>
        </p:nvCxnSpPr>
        <p:spPr>
          <a:xfrm flipH="1">
            <a:off x="4019824" y="3756168"/>
            <a:ext cx="1" cy="35894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9" name="Gerade Verbindung mit Pfeil 78">
            <a:extLst>
              <a:ext uri="{FF2B5EF4-FFF2-40B4-BE49-F238E27FC236}">
                <a16:creationId xmlns:a16="http://schemas.microsoft.com/office/drawing/2014/main" id="{EE89B85E-1B80-4056-9B33-499490C7AC53}"/>
              </a:ext>
            </a:extLst>
          </p:cNvPr>
          <p:cNvCxnSpPr>
            <a:cxnSpLocks/>
            <a:stCxn id="41" idx="3"/>
            <a:endCxn id="39" idx="1"/>
          </p:cNvCxnSpPr>
          <p:nvPr/>
        </p:nvCxnSpPr>
        <p:spPr>
          <a:xfrm>
            <a:off x="4829824" y="4466504"/>
            <a:ext cx="392907"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81" name="Gerade Verbindung mit Pfeil 80">
            <a:extLst>
              <a:ext uri="{FF2B5EF4-FFF2-40B4-BE49-F238E27FC236}">
                <a16:creationId xmlns:a16="http://schemas.microsoft.com/office/drawing/2014/main" id="{BD62FE4F-238A-4316-8DF4-8E2F26C7E1ED}"/>
              </a:ext>
            </a:extLst>
          </p:cNvPr>
          <p:cNvCxnSpPr>
            <a:cxnSpLocks/>
            <a:stCxn id="39" idx="0"/>
          </p:cNvCxnSpPr>
          <p:nvPr/>
        </p:nvCxnSpPr>
        <p:spPr>
          <a:xfrm flipH="1" flipV="1">
            <a:off x="6024969" y="3763728"/>
            <a:ext cx="7762" cy="35138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86" name="Textfeld 85">
            <a:extLst>
              <a:ext uri="{FF2B5EF4-FFF2-40B4-BE49-F238E27FC236}">
                <a16:creationId xmlns:a16="http://schemas.microsoft.com/office/drawing/2014/main" id="{BE02670F-8114-4463-936A-9D2672146D41}"/>
              </a:ext>
            </a:extLst>
          </p:cNvPr>
          <p:cNvSpPr txBox="1"/>
          <p:nvPr/>
        </p:nvSpPr>
        <p:spPr>
          <a:xfrm>
            <a:off x="5222731" y="3117396"/>
            <a:ext cx="1634256" cy="646331"/>
          </a:xfrm>
          <a:prstGeom prst="rect">
            <a:avLst/>
          </a:prstGeom>
          <a:noFill/>
        </p:spPr>
        <p:txBody>
          <a:bodyPr wrap="square" rtlCol="0">
            <a:spAutoFit/>
          </a:bodyPr>
          <a:lstStyle/>
          <a:p>
            <a:pPr algn="ctr"/>
            <a:r>
              <a:rPr lang="en-US" sz="1200">
                <a:solidFill>
                  <a:schemeClr val="bg1"/>
                </a:solidFill>
                <a:latin typeface="Arial" panose="020B0604020202020204" pitchFamily="34" charset="0"/>
                <a:cs typeface="Arial" panose="020B0604020202020204" pitchFamily="34" charset="0"/>
              </a:rPr>
              <a:t>Europe IT Consulting Web Service</a:t>
            </a:r>
          </a:p>
          <a:p>
            <a:pPr algn="ctr"/>
            <a:endParaRPr lang="en-US" sz="1200">
              <a:solidFill>
                <a:schemeClr val="bg1"/>
              </a:solidFill>
              <a:latin typeface="Arial" panose="020B0604020202020204" pitchFamily="34" charset="0"/>
              <a:cs typeface="Arial" panose="020B0604020202020204" pitchFamily="34" charset="0"/>
            </a:endParaRPr>
          </a:p>
        </p:txBody>
      </p:sp>
      <p:cxnSp>
        <p:nvCxnSpPr>
          <p:cNvPr id="104" name="Gerade Verbindung mit Pfeil 103">
            <a:extLst>
              <a:ext uri="{FF2B5EF4-FFF2-40B4-BE49-F238E27FC236}">
                <a16:creationId xmlns:a16="http://schemas.microsoft.com/office/drawing/2014/main" id="{98A2D59C-096A-46B5-8EBF-CAAECD1A9BCB}"/>
              </a:ext>
            </a:extLst>
          </p:cNvPr>
          <p:cNvCxnSpPr>
            <a:cxnSpLocks/>
            <a:stCxn id="40" idx="3"/>
            <a:endCxn id="43" idx="1"/>
          </p:cNvCxnSpPr>
          <p:nvPr/>
        </p:nvCxnSpPr>
        <p:spPr>
          <a:xfrm flipV="1">
            <a:off x="6842731" y="2830496"/>
            <a:ext cx="1689201" cy="1423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06" name="Verbinder: gewinkelt 105">
            <a:extLst>
              <a:ext uri="{FF2B5EF4-FFF2-40B4-BE49-F238E27FC236}">
                <a16:creationId xmlns:a16="http://schemas.microsoft.com/office/drawing/2014/main" id="{7F8C2BBE-4ED8-4524-9F9D-68F561918F36}"/>
              </a:ext>
            </a:extLst>
          </p:cNvPr>
          <p:cNvCxnSpPr>
            <a:cxnSpLocks/>
            <a:stCxn id="44" idx="3"/>
          </p:cNvCxnSpPr>
          <p:nvPr/>
        </p:nvCxnSpPr>
        <p:spPr>
          <a:xfrm flipV="1">
            <a:off x="6841830" y="2133831"/>
            <a:ext cx="1690102" cy="272664"/>
          </a:xfrm>
          <a:prstGeom prst="bentConnector3">
            <a:avLst>
              <a:gd name="adj1" fmla="val 19466"/>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08" name="Verbinder: gewinkelt 107">
            <a:extLst>
              <a:ext uri="{FF2B5EF4-FFF2-40B4-BE49-F238E27FC236}">
                <a16:creationId xmlns:a16="http://schemas.microsoft.com/office/drawing/2014/main" id="{ADDCFB2A-B92B-402C-8E9F-2C24F61DFD77}"/>
              </a:ext>
            </a:extLst>
          </p:cNvPr>
          <p:cNvCxnSpPr>
            <a:cxnSpLocks/>
          </p:cNvCxnSpPr>
          <p:nvPr/>
        </p:nvCxnSpPr>
        <p:spPr>
          <a:xfrm>
            <a:off x="6841830" y="3318604"/>
            <a:ext cx="1660625" cy="177230"/>
          </a:xfrm>
          <a:prstGeom prst="bentConnector3">
            <a:avLst>
              <a:gd name="adj1" fmla="val 21105"/>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53" name="Rechteck: abgerundete Ecken 52">
            <a:extLst>
              <a:ext uri="{FF2B5EF4-FFF2-40B4-BE49-F238E27FC236}">
                <a16:creationId xmlns:a16="http://schemas.microsoft.com/office/drawing/2014/main" id="{DC1BB485-83A3-4556-8949-E18D80FCAA63}"/>
              </a:ext>
            </a:extLst>
          </p:cNvPr>
          <p:cNvSpPr/>
          <p:nvPr/>
        </p:nvSpPr>
        <p:spPr>
          <a:xfrm>
            <a:off x="7385220" y="1940928"/>
            <a:ext cx="784325" cy="484748"/>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a:t>3rd Party</a:t>
            </a:r>
          </a:p>
        </p:txBody>
      </p:sp>
      <p:sp>
        <p:nvSpPr>
          <p:cNvPr id="46" name="Rechteck: abgerundete Ecken 45">
            <a:extLst>
              <a:ext uri="{FF2B5EF4-FFF2-40B4-BE49-F238E27FC236}">
                <a16:creationId xmlns:a16="http://schemas.microsoft.com/office/drawing/2014/main" id="{55F6C6E1-DD30-43DE-BD84-8F53864D115C}"/>
              </a:ext>
            </a:extLst>
          </p:cNvPr>
          <p:cNvSpPr/>
          <p:nvPr/>
        </p:nvSpPr>
        <p:spPr>
          <a:xfrm>
            <a:off x="7392257" y="3254377"/>
            <a:ext cx="784325" cy="484748"/>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err="1"/>
              <a:t>WebService</a:t>
            </a:r>
            <a:endParaRPr lang="de-DE" sz="800"/>
          </a:p>
          <a:p>
            <a:pPr algn="ctr"/>
            <a:r>
              <a:rPr lang="de-DE" sz="800"/>
              <a:t>(SSL</a:t>
            </a:r>
            <a:r>
              <a:rPr lang="de-DE" sz="900"/>
              <a:t>)</a:t>
            </a:r>
          </a:p>
        </p:txBody>
      </p:sp>
      <p:sp>
        <p:nvSpPr>
          <p:cNvPr id="48" name="Rechteck: abgerundete Ecken 47">
            <a:extLst>
              <a:ext uri="{FF2B5EF4-FFF2-40B4-BE49-F238E27FC236}">
                <a16:creationId xmlns:a16="http://schemas.microsoft.com/office/drawing/2014/main" id="{E166C7F1-E948-4DCE-95F4-24D33AEBBFBE}"/>
              </a:ext>
            </a:extLst>
          </p:cNvPr>
          <p:cNvSpPr/>
          <p:nvPr/>
        </p:nvSpPr>
        <p:spPr>
          <a:xfrm>
            <a:off x="7388977" y="2597194"/>
            <a:ext cx="784325" cy="484748"/>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err="1"/>
              <a:t>WebTrader</a:t>
            </a:r>
            <a:endParaRPr lang="de-DE" sz="800"/>
          </a:p>
        </p:txBody>
      </p:sp>
    </p:spTree>
    <p:extLst>
      <p:ext uri="{BB962C8B-B14F-4D97-AF65-F5344CB8AC3E}">
        <p14:creationId xmlns:p14="http://schemas.microsoft.com/office/powerpoint/2010/main" val="6491538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5A7D2794-877D-4AB2-B01E-8924AD3D38C7}"/>
              </a:ext>
            </a:extLst>
          </p:cNvPr>
          <p:cNvPicPr>
            <a:picLocks noChangeAspect="1"/>
          </p:cNvPicPr>
          <p:nvPr/>
        </p:nvPicPr>
        <p:blipFill>
          <a:blip r:embed="rId2"/>
          <a:stretch>
            <a:fillRect/>
          </a:stretch>
        </p:blipFill>
        <p:spPr>
          <a:xfrm>
            <a:off x="3611682" y="2142312"/>
            <a:ext cx="4941334" cy="2625632"/>
          </a:xfrm>
          <a:prstGeom prst="rect">
            <a:avLst/>
          </a:prstGeom>
          <a:ln w="12700">
            <a:solidFill>
              <a:srgbClr val="2F5597"/>
            </a:solidFill>
          </a:ln>
          <a:effectLst/>
        </p:spPr>
      </p:pic>
      <p:sp>
        <p:nvSpPr>
          <p:cNvPr id="16" name="Textplatzhalter 5">
            <a:extLst>
              <a:ext uri="{FF2B5EF4-FFF2-40B4-BE49-F238E27FC236}">
                <a16:creationId xmlns:a16="http://schemas.microsoft.com/office/drawing/2014/main" id="{F0E71A77-9C0C-47B8-9CB7-038DB3AD17C3}"/>
              </a:ext>
            </a:extLst>
          </p:cNvPr>
          <p:cNvSpPr>
            <a:spLocks noGrp="1"/>
          </p:cNvSpPr>
          <p:nvPr>
            <p:ph type="body" sz="quarter" idx="18"/>
          </p:nvPr>
        </p:nvSpPr>
        <p:spPr>
          <a:xfrm>
            <a:off x="219267" y="794161"/>
            <a:ext cx="8600883" cy="330544"/>
          </a:xfrm>
        </p:spPr>
        <p:txBody>
          <a:bodyPr>
            <a:normAutofit/>
          </a:bodyPr>
          <a:lstStyle/>
          <a:p>
            <a:r>
              <a:rPr lang="de-DE"/>
              <a:t>2.2 </a:t>
            </a:r>
            <a:r>
              <a:rPr lang="en-US"/>
              <a:t>Product creation in the Add-On</a:t>
            </a:r>
          </a:p>
          <a:p>
            <a:endParaRPr lang="de-DE"/>
          </a:p>
          <a:p>
            <a:endParaRPr lang="de-DE"/>
          </a:p>
        </p:txBody>
      </p:sp>
      <p:sp>
        <p:nvSpPr>
          <p:cNvPr id="17" name="Titel 2">
            <a:extLst>
              <a:ext uri="{FF2B5EF4-FFF2-40B4-BE49-F238E27FC236}">
                <a16:creationId xmlns:a16="http://schemas.microsoft.com/office/drawing/2014/main" id="{5DB48E71-BDCB-4B34-882A-B0AF627D7E48}"/>
              </a:ext>
            </a:extLst>
          </p:cNvPr>
          <p:cNvSpPr>
            <a:spLocks noGrp="1"/>
          </p:cNvSpPr>
          <p:nvPr>
            <p:ph type="title"/>
          </p:nvPr>
        </p:nvSpPr>
        <p:spPr>
          <a:xfrm>
            <a:off x="269393" y="78770"/>
            <a:ext cx="7907189" cy="330545"/>
          </a:xfrm>
        </p:spPr>
        <p:txBody>
          <a:bodyPr>
            <a:normAutofit fontScale="90000"/>
          </a:bodyPr>
          <a:lstStyle/>
          <a:p>
            <a:r>
              <a:rPr lang="de-DE"/>
              <a:t>2. </a:t>
            </a:r>
            <a:r>
              <a:rPr lang="en-US"/>
              <a:t>W</a:t>
            </a:r>
            <a:r>
              <a:rPr lang="en-US" sz="1800" b="1"/>
              <a:t>ork processes from the database to data transmission </a:t>
            </a:r>
            <a:endParaRPr lang="de-DE"/>
          </a:p>
        </p:txBody>
      </p:sp>
      <p:sp>
        <p:nvSpPr>
          <p:cNvPr id="11" name="Inhaltsplatzhalter 6">
            <a:extLst>
              <a:ext uri="{FF2B5EF4-FFF2-40B4-BE49-F238E27FC236}">
                <a16:creationId xmlns:a16="http://schemas.microsoft.com/office/drawing/2014/main" id="{842666D5-F9FD-45B9-B0DA-684D69D9C6C0}"/>
              </a:ext>
            </a:extLst>
          </p:cNvPr>
          <p:cNvSpPr>
            <a:spLocks noGrp="1"/>
          </p:cNvSpPr>
          <p:nvPr>
            <p:ph sz="quarter" idx="19"/>
          </p:nvPr>
        </p:nvSpPr>
        <p:spPr>
          <a:xfrm>
            <a:off x="219267" y="1311956"/>
            <a:ext cx="3187321" cy="3455988"/>
          </a:xfrm>
        </p:spPr>
        <p:txBody>
          <a:bodyPr/>
          <a:lstStyle/>
          <a:p>
            <a:pPr>
              <a:buFont typeface="Arial" panose="020B0604020202020204" pitchFamily="34" charset="0"/>
              <a:buChar char="•"/>
            </a:pPr>
            <a:r>
              <a:rPr lang="en-US"/>
              <a:t>Enter /n/UDI/EU to access the UDI transactions or directly enter the UDI data maintenance transaction /UDI/MAINTAIN </a:t>
            </a:r>
          </a:p>
          <a:p>
            <a:pPr>
              <a:buFont typeface="Arial" panose="020B0604020202020204" pitchFamily="34" charset="0"/>
              <a:buChar char="•"/>
            </a:pPr>
            <a:r>
              <a:rPr lang="en-US"/>
              <a:t>To maintain a new UDI data record, click on “Create Basic UDI-DI” </a:t>
            </a:r>
          </a:p>
          <a:p>
            <a:endParaRPr lang="de-CH"/>
          </a:p>
        </p:txBody>
      </p:sp>
      <p:sp>
        <p:nvSpPr>
          <p:cNvPr id="18" name="Rechteck 17">
            <a:extLst>
              <a:ext uri="{FF2B5EF4-FFF2-40B4-BE49-F238E27FC236}">
                <a16:creationId xmlns:a16="http://schemas.microsoft.com/office/drawing/2014/main" id="{52A66CA6-756A-4387-9A39-786E8CE04ADD}"/>
              </a:ext>
            </a:extLst>
          </p:cNvPr>
          <p:cNvSpPr/>
          <p:nvPr/>
        </p:nvSpPr>
        <p:spPr>
          <a:xfrm>
            <a:off x="5142776" y="2348894"/>
            <a:ext cx="875071" cy="149312"/>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9" name="Ellipse 18">
            <a:extLst>
              <a:ext uri="{FF2B5EF4-FFF2-40B4-BE49-F238E27FC236}">
                <a16:creationId xmlns:a16="http://schemas.microsoft.com/office/drawing/2014/main" id="{BF83BB1A-1DB6-407D-98A5-C4E43B96FB8B}"/>
              </a:ext>
            </a:extLst>
          </p:cNvPr>
          <p:cNvSpPr/>
          <p:nvPr/>
        </p:nvSpPr>
        <p:spPr>
          <a:xfrm>
            <a:off x="6106399" y="2345214"/>
            <a:ext cx="185239" cy="181959"/>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a:t>1</a:t>
            </a:r>
            <a:endParaRPr lang="en-US" sz="1000"/>
          </a:p>
        </p:txBody>
      </p:sp>
      <p:pic>
        <p:nvPicPr>
          <p:cNvPr id="6" name="Grafik 5">
            <a:extLst>
              <a:ext uri="{FF2B5EF4-FFF2-40B4-BE49-F238E27FC236}">
                <a16:creationId xmlns:a16="http://schemas.microsoft.com/office/drawing/2014/main" id="{A1767D25-BF5B-4CDB-99C1-74A0D24D1DDF}"/>
              </a:ext>
            </a:extLst>
          </p:cNvPr>
          <p:cNvPicPr>
            <a:picLocks noChangeAspect="1"/>
          </p:cNvPicPr>
          <p:nvPr/>
        </p:nvPicPr>
        <p:blipFill>
          <a:blip r:embed="rId3"/>
          <a:stretch>
            <a:fillRect/>
          </a:stretch>
        </p:blipFill>
        <p:spPr>
          <a:xfrm>
            <a:off x="5874847" y="572563"/>
            <a:ext cx="2678169" cy="1478785"/>
          </a:xfrm>
          <a:prstGeom prst="rect">
            <a:avLst/>
          </a:prstGeom>
          <a:ln w="12700">
            <a:solidFill>
              <a:srgbClr val="2F5597"/>
            </a:solidFill>
          </a:ln>
          <a:effectLst/>
        </p:spPr>
      </p:pic>
    </p:spTree>
    <p:extLst>
      <p:ext uri="{BB962C8B-B14F-4D97-AF65-F5344CB8AC3E}">
        <p14:creationId xmlns:p14="http://schemas.microsoft.com/office/powerpoint/2010/main" val="29907329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E9588F80-C5EA-4F9E-8999-6FDB3E3A3A73}"/>
              </a:ext>
            </a:extLst>
          </p:cNvPr>
          <p:cNvPicPr>
            <a:picLocks noChangeAspect="1"/>
          </p:cNvPicPr>
          <p:nvPr/>
        </p:nvPicPr>
        <p:blipFill>
          <a:blip r:embed="rId2"/>
          <a:stretch>
            <a:fillRect/>
          </a:stretch>
        </p:blipFill>
        <p:spPr>
          <a:xfrm>
            <a:off x="3281543" y="959433"/>
            <a:ext cx="5643190" cy="3756356"/>
          </a:xfrm>
          <a:prstGeom prst="rect">
            <a:avLst/>
          </a:prstGeom>
          <a:ln w="12700">
            <a:solidFill>
              <a:srgbClr val="2F5597"/>
            </a:solidFill>
          </a:ln>
          <a:effectLst/>
        </p:spPr>
      </p:pic>
      <p:sp>
        <p:nvSpPr>
          <p:cNvPr id="13" name="Textplatzhalter 5">
            <a:extLst>
              <a:ext uri="{FF2B5EF4-FFF2-40B4-BE49-F238E27FC236}">
                <a16:creationId xmlns:a16="http://schemas.microsoft.com/office/drawing/2014/main" id="{440DAF75-3676-460F-B2AE-4FE1A52515F5}"/>
              </a:ext>
            </a:extLst>
          </p:cNvPr>
          <p:cNvSpPr>
            <a:spLocks noGrp="1"/>
          </p:cNvSpPr>
          <p:nvPr>
            <p:ph type="body" sz="quarter" idx="18"/>
          </p:nvPr>
        </p:nvSpPr>
        <p:spPr>
          <a:xfrm>
            <a:off x="219267" y="794161"/>
            <a:ext cx="8600883" cy="330544"/>
          </a:xfrm>
        </p:spPr>
        <p:txBody>
          <a:bodyPr>
            <a:normAutofit/>
          </a:bodyPr>
          <a:lstStyle/>
          <a:p>
            <a:r>
              <a:rPr lang="de-DE"/>
              <a:t>2.2 </a:t>
            </a:r>
            <a:r>
              <a:rPr lang="en-US"/>
              <a:t>Product creation in the Add-On</a:t>
            </a:r>
          </a:p>
          <a:p>
            <a:endParaRPr lang="de-DE"/>
          </a:p>
          <a:p>
            <a:endParaRPr lang="de-DE"/>
          </a:p>
        </p:txBody>
      </p:sp>
      <p:sp>
        <p:nvSpPr>
          <p:cNvPr id="14" name="Titel 2">
            <a:extLst>
              <a:ext uri="{FF2B5EF4-FFF2-40B4-BE49-F238E27FC236}">
                <a16:creationId xmlns:a16="http://schemas.microsoft.com/office/drawing/2014/main" id="{4FCB5403-2B24-4A5F-9FF1-FFB6C6CB4810}"/>
              </a:ext>
            </a:extLst>
          </p:cNvPr>
          <p:cNvSpPr>
            <a:spLocks noGrp="1"/>
          </p:cNvSpPr>
          <p:nvPr>
            <p:ph type="title"/>
          </p:nvPr>
        </p:nvSpPr>
        <p:spPr>
          <a:xfrm>
            <a:off x="269393" y="78770"/>
            <a:ext cx="7907189" cy="330545"/>
          </a:xfrm>
        </p:spPr>
        <p:txBody>
          <a:bodyPr>
            <a:normAutofit fontScale="90000"/>
          </a:bodyPr>
          <a:lstStyle/>
          <a:p>
            <a:r>
              <a:rPr lang="de-DE"/>
              <a:t>2. </a:t>
            </a:r>
            <a:r>
              <a:rPr lang="en-US"/>
              <a:t>W</a:t>
            </a:r>
            <a:r>
              <a:rPr lang="en-US" sz="1800" b="1"/>
              <a:t>ork processes from the database to data transmission </a:t>
            </a:r>
            <a:endParaRPr lang="de-DE"/>
          </a:p>
        </p:txBody>
      </p:sp>
      <p:sp>
        <p:nvSpPr>
          <p:cNvPr id="12" name="Inhaltsplatzhalter 6">
            <a:extLst>
              <a:ext uri="{FF2B5EF4-FFF2-40B4-BE49-F238E27FC236}">
                <a16:creationId xmlns:a16="http://schemas.microsoft.com/office/drawing/2014/main" id="{5B063766-6EC3-49F0-8AFE-9D7B7C9BD5F9}"/>
              </a:ext>
            </a:extLst>
          </p:cNvPr>
          <p:cNvSpPr>
            <a:spLocks noGrp="1"/>
          </p:cNvSpPr>
          <p:nvPr>
            <p:ph sz="quarter" idx="19"/>
          </p:nvPr>
        </p:nvSpPr>
        <p:spPr>
          <a:xfrm>
            <a:off x="219267" y="1124705"/>
            <a:ext cx="2222617" cy="3455988"/>
          </a:xfrm>
        </p:spPr>
        <p:txBody>
          <a:bodyPr/>
          <a:lstStyle/>
          <a:p>
            <a:pPr marL="0" indent="0">
              <a:buNone/>
            </a:pPr>
            <a:r>
              <a:rPr lang="en-US"/>
              <a:t>Maintain the UDI information for the Basic UDI-DI </a:t>
            </a:r>
          </a:p>
          <a:p>
            <a:pPr>
              <a:buFont typeface="Arial" panose="020B0604020202020204" pitchFamily="34" charset="0"/>
              <a:buChar char="•"/>
            </a:pPr>
            <a:endParaRPr lang="de-CH"/>
          </a:p>
        </p:txBody>
      </p:sp>
      <p:sp>
        <p:nvSpPr>
          <p:cNvPr id="11" name="Rechteck 10">
            <a:extLst>
              <a:ext uri="{FF2B5EF4-FFF2-40B4-BE49-F238E27FC236}">
                <a16:creationId xmlns:a16="http://schemas.microsoft.com/office/drawing/2014/main" id="{587046E3-2615-46D6-998D-A9CDDC336A07}"/>
              </a:ext>
            </a:extLst>
          </p:cNvPr>
          <p:cNvSpPr/>
          <p:nvPr/>
        </p:nvSpPr>
        <p:spPr>
          <a:xfrm>
            <a:off x="3363326" y="1834776"/>
            <a:ext cx="449757" cy="122141"/>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5" name="Ellipse 14">
            <a:extLst>
              <a:ext uri="{FF2B5EF4-FFF2-40B4-BE49-F238E27FC236}">
                <a16:creationId xmlns:a16="http://schemas.microsoft.com/office/drawing/2014/main" id="{08B0618B-6DCF-41F9-B3EA-22F6DB3C8FA2}"/>
              </a:ext>
            </a:extLst>
          </p:cNvPr>
          <p:cNvSpPr/>
          <p:nvPr/>
        </p:nvSpPr>
        <p:spPr>
          <a:xfrm>
            <a:off x="3044576" y="1804866"/>
            <a:ext cx="185239" cy="181959"/>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a:t>2</a:t>
            </a:r>
            <a:endParaRPr lang="en-US" sz="1000"/>
          </a:p>
        </p:txBody>
      </p:sp>
    </p:spTree>
    <p:extLst>
      <p:ext uri="{BB962C8B-B14F-4D97-AF65-F5344CB8AC3E}">
        <p14:creationId xmlns:p14="http://schemas.microsoft.com/office/powerpoint/2010/main" val="25244877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5033B0F3-8C97-4828-ACED-8AAEC616986A}"/>
              </a:ext>
            </a:extLst>
          </p:cNvPr>
          <p:cNvPicPr>
            <a:picLocks noChangeAspect="1"/>
          </p:cNvPicPr>
          <p:nvPr/>
        </p:nvPicPr>
        <p:blipFill>
          <a:blip r:embed="rId2"/>
          <a:stretch>
            <a:fillRect/>
          </a:stretch>
        </p:blipFill>
        <p:spPr>
          <a:xfrm>
            <a:off x="3309845" y="794161"/>
            <a:ext cx="5768958" cy="3825592"/>
          </a:xfrm>
          <a:prstGeom prst="rect">
            <a:avLst/>
          </a:prstGeom>
          <a:ln w="12700">
            <a:solidFill>
              <a:srgbClr val="2F5597"/>
            </a:solidFill>
          </a:ln>
          <a:effectLst/>
        </p:spPr>
      </p:pic>
      <p:sp>
        <p:nvSpPr>
          <p:cNvPr id="17" name="Textplatzhalter 5">
            <a:extLst>
              <a:ext uri="{FF2B5EF4-FFF2-40B4-BE49-F238E27FC236}">
                <a16:creationId xmlns:a16="http://schemas.microsoft.com/office/drawing/2014/main" id="{443D7FE0-F18F-4418-AF5A-0E4E4953DF76}"/>
              </a:ext>
            </a:extLst>
          </p:cNvPr>
          <p:cNvSpPr>
            <a:spLocks noGrp="1"/>
          </p:cNvSpPr>
          <p:nvPr>
            <p:ph type="body" sz="quarter" idx="18"/>
          </p:nvPr>
        </p:nvSpPr>
        <p:spPr>
          <a:xfrm>
            <a:off x="219267" y="794161"/>
            <a:ext cx="8600883" cy="330544"/>
          </a:xfrm>
        </p:spPr>
        <p:txBody>
          <a:bodyPr>
            <a:normAutofit/>
          </a:bodyPr>
          <a:lstStyle/>
          <a:p>
            <a:r>
              <a:rPr lang="de-DE"/>
              <a:t>2.2 </a:t>
            </a:r>
            <a:r>
              <a:rPr lang="en-US"/>
              <a:t>Product creation in the Add-On</a:t>
            </a:r>
          </a:p>
          <a:p>
            <a:endParaRPr lang="de-DE"/>
          </a:p>
          <a:p>
            <a:endParaRPr lang="de-DE"/>
          </a:p>
        </p:txBody>
      </p:sp>
      <p:sp>
        <p:nvSpPr>
          <p:cNvPr id="18" name="Titel 2">
            <a:extLst>
              <a:ext uri="{FF2B5EF4-FFF2-40B4-BE49-F238E27FC236}">
                <a16:creationId xmlns:a16="http://schemas.microsoft.com/office/drawing/2014/main" id="{72A0AA37-C408-4DF8-836E-C87E2401EF9C}"/>
              </a:ext>
            </a:extLst>
          </p:cNvPr>
          <p:cNvSpPr>
            <a:spLocks noGrp="1"/>
          </p:cNvSpPr>
          <p:nvPr>
            <p:ph type="title"/>
          </p:nvPr>
        </p:nvSpPr>
        <p:spPr>
          <a:xfrm>
            <a:off x="269393" y="78770"/>
            <a:ext cx="7907189" cy="330545"/>
          </a:xfrm>
        </p:spPr>
        <p:txBody>
          <a:bodyPr>
            <a:normAutofit fontScale="90000"/>
          </a:bodyPr>
          <a:lstStyle/>
          <a:p>
            <a:r>
              <a:rPr lang="de-DE"/>
              <a:t>2. </a:t>
            </a:r>
            <a:r>
              <a:rPr lang="en-US"/>
              <a:t>W</a:t>
            </a:r>
            <a:r>
              <a:rPr lang="en-US" sz="1800" b="1"/>
              <a:t>ork processes from the database to data transmission </a:t>
            </a:r>
            <a:endParaRPr lang="de-DE"/>
          </a:p>
        </p:txBody>
      </p:sp>
      <p:sp>
        <p:nvSpPr>
          <p:cNvPr id="9" name="Inhaltsplatzhalter 6">
            <a:extLst>
              <a:ext uri="{FF2B5EF4-FFF2-40B4-BE49-F238E27FC236}">
                <a16:creationId xmlns:a16="http://schemas.microsoft.com/office/drawing/2014/main" id="{0C2B2AB8-6896-40D7-929E-45176AC0F18E}"/>
              </a:ext>
            </a:extLst>
          </p:cNvPr>
          <p:cNvSpPr>
            <a:spLocks noGrp="1"/>
          </p:cNvSpPr>
          <p:nvPr>
            <p:ph sz="quarter" idx="19"/>
          </p:nvPr>
        </p:nvSpPr>
        <p:spPr>
          <a:xfrm>
            <a:off x="269394" y="1203598"/>
            <a:ext cx="2680284" cy="3455988"/>
          </a:xfrm>
        </p:spPr>
        <p:txBody>
          <a:bodyPr/>
          <a:lstStyle/>
          <a:p>
            <a:pPr marL="0" indent="0">
              <a:buNone/>
            </a:pPr>
            <a:r>
              <a:rPr lang="en-US"/>
              <a:t>On the UDI-DI level: add the UD EU relevant material to the Basic UDI-DI </a:t>
            </a:r>
          </a:p>
          <a:p>
            <a:pPr>
              <a:buFont typeface="Arial" panose="020B0604020202020204" pitchFamily="34" charset="0"/>
              <a:buChar char="•"/>
            </a:pPr>
            <a:endParaRPr lang="de-CH"/>
          </a:p>
        </p:txBody>
      </p:sp>
      <p:sp>
        <p:nvSpPr>
          <p:cNvPr id="12" name="Rechteck 11">
            <a:extLst>
              <a:ext uri="{FF2B5EF4-FFF2-40B4-BE49-F238E27FC236}">
                <a16:creationId xmlns:a16="http://schemas.microsoft.com/office/drawing/2014/main" id="{3AFEC6CB-22D2-4444-B11D-EE4FC8E98AF2}"/>
              </a:ext>
            </a:extLst>
          </p:cNvPr>
          <p:cNvSpPr/>
          <p:nvPr/>
        </p:nvSpPr>
        <p:spPr>
          <a:xfrm>
            <a:off x="3596522" y="1875627"/>
            <a:ext cx="437596" cy="117038"/>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6" name="Ellipse 15">
            <a:extLst>
              <a:ext uri="{FF2B5EF4-FFF2-40B4-BE49-F238E27FC236}">
                <a16:creationId xmlns:a16="http://schemas.microsoft.com/office/drawing/2014/main" id="{47AB997C-2DE3-47CC-B9C5-93CF03F6C1F0}"/>
              </a:ext>
            </a:extLst>
          </p:cNvPr>
          <p:cNvSpPr/>
          <p:nvPr/>
        </p:nvSpPr>
        <p:spPr>
          <a:xfrm>
            <a:off x="4572000" y="1848840"/>
            <a:ext cx="170371" cy="143825"/>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a:t>3</a:t>
            </a:r>
            <a:endParaRPr lang="en-US" sz="1000"/>
          </a:p>
        </p:txBody>
      </p:sp>
      <p:sp>
        <p:nvSpPr>
          <p:cNvPr id="8" name="Rechteck 7">
            <a:extLst>
              <a:ext uri="{FF2B5EF4-FFF2-40B4-BE49-F238E27FC236}">
                <a16:creationId xmlns:a16="http://schemas.microsoft.com/office/drawing/2014/main" id="{8752188B-B466-46D4-A968-AA2F02C2C7E6}"/>
              </a:ext>
            </a:extLst>
          </p:cNvPr>
          <p:cNvSpPr/>
          <p:nvPr/>
        </p:nvSpPr>
        <p:spPr>
          <a:xfrm>
            <a:off x="3842871" y="1681879"/>
            <a:ext cx="298823" cy="117038"/>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Tree>
    <p:extLst>
      <p:ext uri="{BB962C8B-B14F-4D97-AF65-F5344CB8AC3E}">
        <p14:creationId xmlns:p14="http://schemas.microsoft.com/office/powerpoint/2010/main" val="1210066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0E649F1D-214D-49C3-8847-249EF378B3C0}"/>
              </a:ext>
            </a:extLst>
          </p:cNvPr>
          <p:cNvPicPr>
            <a:picLocks noChangeAspect="1"/>
          </p:cNvPicPr>
          <p:nvPr/>
        </p:nvPicPr>
        <p:blipFill>
          <a:blip r:embed="rId2"/>
          <a:stretch>
            <a:fillRect/>
          </a:stretch>
        </p:blipFill>
        <p:spPr>
          <a:xfrm>
            <a:off x="3730762" y="1585909"/>
            <a:ext cx="5092780" cy="2524025"/>
          </a:xfrm>
          <a:prstGeom prst="rect">
            <a:avLst/>
          </a:prstGeom>
          <a:ln w="12700">
            <a:solidFill>
              <a:srgbClr val="2F5597"/>
            </a:solidFill>
          </a:ln>
          <a:effectLst/>
        </p:spPr>
      </p:pic>
      <p:sp>
        <p:nvSpPr>
          <p:cNvPr id="17" name="Textplatzhalter 5">
            <a:extLst>
              <a:ext uri="{FF2B5EF4-FFF2-40B4-BE49-F238E27FC236}">
                <a16:creationId xmlns:a16="http://schemas.microsoft.com/office/drawing/2014/main" id="{443D7FE0-F18F-4418-AF5A-0E4E4953DF76}"/>
              </a:ext>
            </a:extLst>
          </p:cNvPr>
          <p:cNvSpPr>
            <a:spLocks noGrp="1"/>
          </p:cNvSpPr>
          <p:nvPr>
            <p:ph type="body" sz="quarter" idx="18"/>
          </p:nvPr>
        </p:nvSpPr>
        <p:spPr>
          <a:xfrm>
            <a:off x="222659" y="794160"/>
            <a:ext cx="8600883" cy="330544"/>
          </a:xfrm>
        </p:spPr>
        <p:txBody>
          <a:bodyPr>
            <a:normAutofit/>
          </a:bodyPr>
          <a:lstStyle/>
          <a:p>
            <a:r>
              <a:rPr lang="de-DE"/>
              <a:t>2.2 </a:t>
            </a:r>
            <a:r>
              <a:rPr lang="en-US"/>
              <a:t>Product creation in the Add-On</a:t>
            </a:r>
          </a:p>
          <a:p>
            <a:endParaRPr lang="de-DE"/>
          </a:p>
          <a:p>
            <a:endParaRPr lang="de-DE"/>
          </a:p>
        </p:txBody>
      </p:sp>
      <p:sp>
        <p:nvSpPr>
          <p:cNvPr id="18" name="Titel 2">
            <a:extLst>
              <a:ext uri="{FF2B5EF4-FFF2-40B4-BE49-F238E27FC236}">
                <a16:creationId xmlns:a16="http://schemas.microsoft.com/office/drawing/2014/main" id="{72A0AA37-C408-4DF8-836E-C87E2401EF9C}"/>
              </a:ext>
            </a:extLst>
          </p:cNvPr>
          <p:cNvSpPr>
            <a:spLocks noGrp="1"/>
          </p:cNvSpPr>
          <p:nvPr>
            <p:ph type="title"/>
          </p:nvPr>
        </p:nvSpPr>
        <p:spPr>
          <a:xfrm>
            <a:off x="269393" y="78770"/>
            <a:ext cx="7907189" cy="330545"/>
          </a:xfrm>
        </p:spPr>
        <p:txBody>
          <a:bodyPr>
            <a:normAutofit fontScale="90000"/>
          </a:bodyPr>
          <a:lstStyle/>
          <a:p>
            <a:r>
              <a:rPr lang="de-DE"/>
              <a:t>2. </a:t>
            </a:r>
            <a:r>
              <a:rPr lang="en-US"/>
              <a:t>W</a:t>
            </a:r>
            <a:r>
              <a:rPr lang="en-US" sz="1800" b="1"/>
              <a:t>ork processes from the database to data transmission </a:t>
            </a:r>
            <a:endParaRPr lang="de-DE"/>
          </a:p>
        </p:txBody>
      </p:sp>
      <p:sp>
        <p:nvSpPr>
          <p:cNvPr id="9" name="Inhaltsplatzhalter 6">
            <a:extLst>
              <a:ext uri="{FF2B5EF4-FFF2-40B4-BE49-F238E27FC236}">
                <a16:creationId xmlns:a16="http://schemas.microsoft.com/office/drawing/2014/main" id="{0C2B2AB8-6896-40D7-929E-45176AC0F18E}"/>
              </a:ext>
            </a:extLst>
          </p:cNvPr>
          <p:cNvSpPr>
            <a:spLocks noGrp="1"/>
          </p:cNvSpPr>
          <p:nvPr>
            <p:ph sz="quarter" idx="19"/>
          </p:nvPr>
        </p:nvSpPr>
        <p:spPr>
          <a:xfrm>
            <a:off x="222659" y="1203598"/>
            <a:ext cx="3693508" cy="3455988"/>
          </a:xfrm>
        </p:spPr>
        <p:txBody>
          <a:bodyPr/>
          <a:lstStyle/>
          <a:p>
            <a:pPr>
              <a:buFont typeface="Arial" panose="020B0604020202020204" pitchFamily="34" charset="0"/>
              <a:buChar char="•"/>
            </a:pPr>
            <a:r>
              <a:rPr lang="en-US"/>
              <a:t>Finish the UDI data maintenance with the UDI data check.</a:t>
            </a:r>
            <a:endParaRPr lang="en-US" b="1" strike="sngStrike">
              <a:solidFill>
                <a:srgbClr val="FF0000"/>
              </a:solidFill>
            </a:endParaRPr>
          </a:p>
          <a:p>
            <a:pPr>
              <a:buFont typeface="Arial" panose="020B0604020202020204" pitchFamily="34" charset="0"/>
              <a:buChar char="•"/>
            </a:pPr>
            <a:r>
              <a:rPr lang="en-US"/>
              <a:t>Don’t forget to save! </a:t>
            </a:r>
          </a:p>
          <a:p>
            <a:pPr>
              <a:buFont typeface="Arial" panose="020B0604020202020204" pitchFamily="34" charset="0"/>
              <a:buChar char="•"/>
            </a:pPr>
            <a:endParaRPr lang="de-CH"/>
          </a:p>
        </p:txBody>
      </p:sp>
      <p:sp>
        <p:nvSpPr>
          <p:cNvPr id="12" name="Rechteck 11">
            <a:extLst>
              <a:ext uri="{FF2B5EF4-FFF2-40B4-BE49-F238E27FC236}">
                <a16:creationId xmlns:a16="http://schemas.microsoft.com/office/drawing/2014/main" id="{C2D546A4-89C7-47B5-B100-D237EB6009CC}"/>
              </a:ext>
            </a:extLst>
          </p:cNvPr>
          <p:cNvSpPr/>
          <p:nvPr/>
        </p:nvSpPr>
        <p:spPr>
          <a:xfrm>
            <a:off x="4361329" y="1780290"/>
            <a:ext cx="741704" cy="15472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0" name="Ellipse 9">
            <a:extLst>
              <a:ext uri="{FF2B5EF4-FFF2-40B4-BE49-F238E27FC236}">
                <a16:creationId xmlns:a16="http://schemas.microsoft.com/office/drawing/2014/main" id="{4ABA9E16-29FF-4F2C-A65A-AE9FF5E0F948}"/>
              </a:ext>
            </a:extLst>
          </p:cNvPr>
          <p:cNvSpPr/>
          <p:nvPr/>
        </p:nvSpPr>
        <p:spPr>
          <a:xfrm>
            <a:off x="5227835" y="1766842"/>
            <a:ext cx="196616" cy="154720"/>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a:t>4</a:t>
            </a:r>
            <a:endParaRPr lang="en-US" sz="1000"/>
          </a:p>
        </p:txBody>
      </p:sp>
    </p:spTree>
    <p:extLst>
      <p:ext uri="{BB962C8B-B14F-4D97-AF65-F5344CB8AC3E}">
        <p14:creationId xmlns:p14="http://schemas.microsoft.com/office/powerpoint/2010/main" val="41850547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A19744FE-0122-4458-A703-1ED9355A7C5F}"/>
              </a:ext>
            </a:extLst>
          </p:cNvPr>
          <p:cNvSpPr>
            <a:spLocks noGrp="1"/>
          </p:cNvSpPr>
          <p:nvPr>
            <p:ph type="body" sz="quarter" idx="18"/>
          </p:nvPr>
        </p:nvSpPr>
        <p:spPr/>
        <p:txBody>
          <a:bodyPr>
            <a:normAutofit/>
          </a:bodyPr>
          <a:lstStyle/>
          <a:p>
            <a:r>
              <a:rPr lang="de-DE"/>
              <a:t>2.3 </a:t>
            </a:r>
            <a:r>
              <a:rPr lang="en-US"/>
              <a:t>Product creation with Excel</a:t>
            </a:r>
          </a:p>
          <a:p>
            <a:endParaRPr lang="en-US"/>
          </a:p>
          <a:p>
            <a:endParaRPr lang="de-DE"/>
          </a:p>
          <a:p>
            <a:endParaRPr lang="de-DE"/>
          </a:p>
        </p:txBody>
      </p:sp>
      <p:sp>
        <p:nvSpPr>
          <p:cNvPr id="3" name="Titel 2">
            <a:extLst>
              <a:ext uri="{FF2B5EF4-FFF2-40B4-BE49-F238E27FC236}">
                <a16:creationId xmlns:a16="http://schemas.microsoft.com/office/drawing/2014/main" id="{17403686-94D3-4A24-BDEB-07854049E7FA}"/>
              </a:ext>
            </a:extLst>
          </p:cNvPr>
          <p:cNvSpPr>
            <a:spLocks noGrp="1"/>
          </p:cNvSpPr>
          <p:nvPr>
            <p:ph type="title"/>
          </p:nvPr>
        </p:nvSpPr>
        <p:spPr/>
        <p:txBody>
          <a:bodyPr>
            <a:normAutofit fontScale="90000"/>
          </a:bodyPr>
          <a:lstStyle/>
          <a:p>
            <a:r>
              <a:rPr lang="de-DE"/>
              <a:t>2. </a:t>
            </a:r>
            <a:r>
              <a:rPr lang="en-US"/>
              <a:t>W</a:t>
            </a:r>
            <a:r>
              <a:rPr lang="en-US" sz="1800" b="1"/>
              <a:t>ork processes from the database to data transmission </a:t>
            </a:r>
            <a:endParaRPr lang="de-DE"/>
          </a:p>
        </p:txBody>
      </p:sp>
      <p:sp>
        <p:nvSpPr>
          <p:cNvPr id="31" name="Rechteck: abgerundete Ecken 30">
            <a:extLst>
              <a:ext uri="{FF2B5EF4-FFF2-40B4-BE49-F238E27FC236}">
                <a16:creationId xmlns:a16="http://schemas.microsoft.com/office/drawing/2014/main" id="{C2E356A7-F0C9-4E37-8904-4CFAE1F864A1}"/>
              </a:ext>
            </a:extLst>
          </p:cNvPr>
          <p:cNvSpPr/>
          <p:nvPr/>
        </p:nvSpPr>
        <p:spPr>
          <a:xfrm>
            <a:off x="5124177" y="1827482"/>
            <a:ext cx="1797627" cy="1936246"/>
          </a:xfrm>
          <a:prstGeom prst="round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sz="1200" b="1">
                <a:solidFill>
                  <a:schemeClr val="tx1"/>
                </a:solidFill>
                <a:latin typeface="Arial" panose="020B0604020202020204" pitchFamily="34" charset="0"/>
                <a:cs typeface="Arial" panose="020B0604020202020204" pitchFamily="34" charset="0"/>
              </a:rPr>
              <a:t>Data </a:t>
            </a:r>
            <a:r>
              <a:rPr lang="de-DE" sz="1200" b="1" err="1">
                <a:solidFill>
                  <a:schemeClr val="tx1"/>
                </a:solidFill>
                <a:latin typeface="Arial" panose="020B0604020202020204" pitchFamily="34" charset="0"/>
                <a:cs typeface="Arial" panose="020B0604020202020204" pitchFamily="34" charset="0"/>
              </a:rPr>
              <a:t>transmission</a:t>
            </a:r>
            <a:endParaRPr lang="de-DE" sz="1200" b="1">
              <a:solidFill>
                <a:schemeClr val="tx1"/>
              </a:solidFill>
              <a:latin typeface="Arial" panose="020B0604020202020204" pitchFamily="34" charset="0"/>
              <a:cs typeface="Arial" panose="020B0604020202020204" pitchFamily="34" charset="0"/>
            </a:endParaRPr>
          </a:p>
          <a:p>
            <a:pPr algn="ctr"/>
            <a:endParaRPr lang="de-DE" sz="1200">
              <a:latin typeface="Arial" panose="020B0604020202020204" pitchFamily="34" charset="0"/>
              <a:cs typeface="Arial" panose="020B0604020202020204" pitchFamily="34" charset="0"/>
            </a:endParaRPr>
          </a:p>
          <a:p>
            <a:pPr algn="ctr"/>
            <a:endParaRPr lang="de-DE" sz="1200">
              <a:latin typeface="Arial" panose="020B0604020202020204" pitchFamily="34" charset="0"/>
              <a:cs typeface="Arial" panose="020B0604020202020204" pitchFamily="34" charset="0"/>
            </a:endParaRPr>
          </a:p>
          <a:p>
            <a:pPr algn="ctr"/>
            <a:endParaRPr lang="de-DE" sz="1200">
              <a:latin typeface="Arial" panose="020B0604020202020204" pitchFamily="34" charset="0"/>
              <a:cs typeface="Arial" panose="020B0604020202020204" pitchFamily="34" charset="0"/>
            </a:endParaRPr>
          </a:p>
          <a:p>
            <a:pPr algn="ctr"/>
            <a:endParaRPr lang="de-DE" sz="1200">
              <a:latin typeface="Arial" panose="020B0604020202020204" pitchFamily="34" charset="0"/>
              <a:cs typeface="Arial" panose="020B0604020202020204" pitchFamily="34" charset="0"/>
            </a:endParaRPr>
          </a:p>
          <a:p>
            <a:pPr algn="ctr"/>
            <a:endParaRPr lang="de-CH" sz="1200">
              <a:latin typeface="Arial" panose="020B0604020202020204" pitchFamily="34" charset="0"/>
              <a:cs typeface="Arial" panose="020B0604020202020204" pitchFamily="34" charset="0"/>
            </a:endParaRPr>
          </a:p>
        </p:txBody>
      </p:sp>
      <p:sp>
        <p:nvSpPr>
          <p:cNvPr id="35" name="Rechteck: abgerundete Ecken 34">
            <a:extLst>
              <a:ext uri="{FF2B5EF4-FFF2-40B4-BE49-F238E27FC236}">
                <a16:creationId xmlns:a16="http://schemas.microsoft.com/office/drawing/2014/main" id="{2F00C498-6C91-4802-B79A-B21A351086B1}"/>
              </a:ext>
            </a:extLst>
          </p:cNvPr>
          <p:cNvSpPr/>
          <p:nvPr/>
        </p:nvSpPr>
        <p:spPr>
          <a:xfrm>
            <a:off x="374876" y="1829725"/>
            <a:ext cx="1620000" cy="776776"/>
          </a:xfrm>
          <a:prstGeom prst="roundRect">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Arial" panose="020B0604020202020204" pitchFamily="34" charset="0"/>
                <a:cs typeface="Arial" panose="020B0604020202020204" pitchFamily="34" charset="0"/>
              </a:rPr>
              <a:t>Product creation in the Add-On</a:t>
            </a:r>
          </a:p>
        </p:txBody>
      </p:sp>
      <p:sp>
        <p:nvSpPr>
          <p:cNvPr id="36" name="Rechteck: abgerundete Ecken 35">
            <a:extLst>
              <a:ext uri="{FF2B5EF4-FFF2-40B4-BE49-F238E27FC236}">
                <a16:creationId xmlns:a16="http://schemas.microsoft.com/office/drawing/2014/main" id="{D66D3841-4BE4-4211-9A3B-E6FBAB054984}"/>
              </a:ext>
            </a:extLst>
          </p:cNvPr>
          <p:cNvSpPr/>
          <p:nvPr/>
        </p:nvSpPr>
        <p:spPr>
          <a:xfrm>
            <a:off x="2053233" y="1838140"/>
            <a:ext cx="1620000" cy="776776"/>
          </a:xfrm>
          <a:prstGeom prst="roundRect">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b="1" err="1">
                <a:solidFill>
                  <a:schemeClr val="bg1"/>
                </a:solidFill>
                <a:latin typeface="Arial" panose="020B0604020202020204" pitchFamily="34" charset="0"/>
                <a:cs typeface="Arial" panose="020B0604020202020204" pitchFamily="34" charset="0"/>
              </a:rPr>
              <a:t>Product</a:t>
            </a:r>
            <a:r>
              <a:rPr lang="de-CH" sz="1200" b="1">
                <a:solidFill>
                  <a:schemeClr val="bg1"/>
                </a:solidFill>
                <a:latin typeface="Arial" panose="020B0604020202020204" pitchFamily="34" charset="0"/>
                <a:cs typeface="Arial" panose="020B0604020202020204" pitchFamily="34" charset="0"/>
              </a:rPr>
              <a:t> </a:t>
            </a:r>
            <a:r>
              <a:rPr lang="de-CH" sz="1200" b="1" err="1">
                <a:solidFill>
                  <a:schemeClr val="bg1"/>
                </a:solidFill>
                <a:latin typeface="Arial" panose="020B0604020202020204" pitchFamily="34" charset="0"/>
                <a:cs typeface="Arial" panose="020B0604020202020204" pitchFamily="34" charset="0"/>
              </a:rPr>
              <a:t>creation</a:t>
            </a:r>
            <a:r>
              <a:rPr lang="de-CH" sz="1200" b="1">
                <a:solidFill>
                  <a:schemeClr val="bg1"/>
                </a:solidFill>
                <a:latin typeface="Arial" panose="020B0604020202020204" pitchFamily="34" charset="0"/>
                <a:cs typeface="Arial" panose="020B0604020202020204" pitchFamily="34" charset="0"/>
              </a:rPr>
              <a:t> </a:t>
            </a:r>
            <a:r>
              <a:rPr lang="de-CH" sz="1200" b="1" err="1">
                <a:solidFill>
                  <a:schemeClr val="bg1"/>
                </a:solidFill>
                <a:latin typeface="Arial" panose="020B0604020202020204" pitchFamily="34" charset="0"/>
                <a:cs typeface="Arial" panose="020B0604020202020204" pitchFamily="34" charset="0"/>
              </a:rPr>
              <a:t>with</a:t>
            </a:r>
            <a:r>
              <a:rPr lang="de-CH" sz="1200" b="1">
                <a:solidFill>
                  <a:schemeClr val="bg1"/>
                </a:solidFill>
                <a:latin typeface="Arial" panose="020B0604020202020204" pitchFamily="34" charset="0"/>
                <a:cs typeface="Arial" panose="020B0604020202020204" pitchFamily="34" charset="0"/>
              </a:rPr>
              <a:t> Excel</a:t>
            </a:r>
          </a:p>
        </p:txBody>
      </p:sp>
      <p:sp>
        <p:nvSpPr>
          <p:cNvPr id="37" name="Rechteck: abgerundete Ecken 36">
            <a:extLst>
              <a:ext uri="{FF2B5EF4-FFF2-40B4-BE49-F238E27FC236}">
                <a16:creationId xmlns:a16="http://schemas.microsoft.com/office/drawing/2014/main" id="{C4BE9CCD-C203-414F-B252-20F9929F8E62}"/>
              </a:ext>
            </a:extLst>
          </p:cNvPr>
          <p:cNvSpPr/>
          <p:nvPr/>
        </p:nvSpPr>
        <p:spPr>
          <a:xfrm>
            <a:off x="1218206" y="2881040"/>
            <a:ext cx="1620000" cy="875128"/>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a:latin typeface="Arial" panose="020B0604020202020204" pitchFamily="34" charset="0"/>
                <a:cs typeface="Arial" panose="020B0604020202020204" pitchFamily="34" charset="0"/>
              </a:rPr>
              <a:t>Mass </a:t>
            </a:r>
            <a:r>
              <a:rPr lang="de-CH" sz="1200" err="1">
                <a:latin typeface="Arial" panose="020B0604020202020204" pitchFamily="34" charset="0"/>
                <a:cs typeface="Arial" panose="020B0604020202020204" pitchFamily="34" charset="0"/>
              </a:rPr>
              <a:t>change</a:t>
            </a:r>
            <a:r>
              <a:rPr lang="de-CH" sz="1200">
                <a:latin typeface="Arial" panose="020B0604020202020204" pitchFamily="34" charset="0"/>
                <a:cs typeface="Arial" panose="020B0604020202020204" pitchFamily="34" charset="0"/>
              </a:rPr>
              <a:t> </a:t>
            </a:r>
          </a:p>
          <a:p>
            <a:pPr marL="171450" indent="-171450">
              <a:buFont typeface="Arial" panose="020B0604020202020204" pitchFamily="34" charset="0"/>
              <a:buChar char="•"/>
            </a:pPr>
            <a:r>
              <a:rPr lang="de-CH" sz="1200" err="1">
                <a:latin typeface="Arial" panose="020B0604020202020204" pitchFamily="34" charset="0"/>
                <a:cs typeface="Arial" panose="020B0604020202020204" pitchFamily="34" charset="0"/>
              </a:rPr>
              <a:t>with</a:t>
            </a:r>
            <a:r>
              <a:rPr lang="de-CH" sz="1200">
                <a:latin typeface="Arial" panose="020B0604020202020204" pitchFamily="34" charset="0"/>
                <a:cs typeface="Arial" panose="020B0604020202020204" pitchFamily="34" charset="0"/>
              </a:rPr>
              <a:t> Excel</a:t>
            </a:r>
          </a:p>
          <a:p>
            <a:pPr marL="171450" indent="-171450">
              <a:buFont typeface="Arial" panose="020B0604020202020204" pitchFamily="34" charset="0"/>
              <a:buChar char="•"/>
            </a:pPr>
            <a:r>
              <a:rPr lang="de-CH" sz="1200">
                <a:latin typeface="Arial" panose="020B0604020202020204" pitchFamily="34" charset="0"/>
                <a:cs typeface="Arial" panose="020B0604020202020204" pitchFamily="34" charset="0"/>
              </a:rPr>
              <a:t>in </a:t>
            </a:r>
            <a:r>
              <a:rPr lang="de-CH" sz="1200" err="1">
                <a:latin typeface="Arial" panose="020B0604020202020204" pitchFamily="34" charset="0"/>
                <a:cs typeface="Arial" panose="020B0604020202020204" pitchFamily="34" charset="0"/>
              </a:rPr>
              <a:t>the</a:t>
            </a:r>
            <a:r>
              <a:rPr lang="de-CH" sz="1200">
                <a:latin typeface="Arial" panose="020B0604020202020204" pitchFamily="34" charset="0"/>
                <a:cs typeface="Arial" panose="020B0604020202020204" pitchFamily="34" charset="0"/>
              </a:rPr>
              <a:t> Add-On</a:t>
            </a:r>
          </a:p>
        </p:txBody>
      </p:sp>
      <p:sp>
        <p:nvSpPr>
          <p:cNvPr id="38" name="Rechteck: abgerundete Ecken 37">
            <a:extLst>
              <a:ext uri="{FF2B5EF4-FFF2-40B4-BE49-F238E27FC236}">
                <a16:creationId xmlns:a16="http://schemas.microsoft.com/office/drawing/2014/main" id="{ED09656B-C0AC-4936-AD21-246475444A6A}"/>
              </a:ext>
            </a:extLst>
          </p:cNvPr>
          <p:cNvSpPr/>
          <p:nvPr/>
        </p:nvSpPr>
        <p:spPr>
          <a:xfrm>
            <a:off x="3209825" y="2881040"/>
            <a:ext cx="1620000" cy="875128"/>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a:latin typeface="Arial" panose="020B0604020202020204" pitchFamily="34" charset="0"/>
                <a:cs typeface="Arial" panose="020B0604020202020204" pitchFamily="34" charset="0"/>
              </a:rPr>
              <a:t>Data </a:t>
            </a:r>
            <a:r>
              <a:rPr lang="de-CH" sz="1200" err="1">
                <a:latin typeface="Arial" panose="020B0604020202020204" pitchFamily="34" charset="0"/>
                <a:cs typeface="Arial" panose="020B0604020202020204" pitchFamily="34" charset="0"/>
              </a:rPr>
              <a:t>overview</a:t>
            </a:r>
            <a:r>
              <a:rPr lang="de-CH" sz="1200">
                <a:latin typeface="Arial" panose="020B0604020202020204" pitchFamily="34" charset="0"/>
                <a:cs typeface="Arial" panose="020B0604020202020204" pitchFamily="34" charset="0"/>
              </a:rPr>
              <a:t>,</a:t>
            </a:r>
          </a:p>
          <a:p>
            <a:pPr algn="ctr"/>
            <a:r>
              <a:rPr lang="de-CH" sz="1200" err="1">
                <a:latin typeface="Arial" panose="020B0604020202020204" pitchFamily="34" charset="0"/>
                <a:cs typeface="Arial" panose="020B0604020202020204" pitchFamily="34" charset="0"/>
              </a:rPr>
              <a:t>visual</a:t>
            </a:r>
            <a:r>
              <a:rPr lang="de-CH" sz="1200">
                <a:latin typeface="Arial" panose="020B0604020202020204" pitchFamily="34" charset="0"/>
                <a:cs typeface="Arial" panose="020B0604020202020204" pitchFamily="34" charset="0"/>
              </a:rPr>
              <a:t> </a:t>
            </a:r>
            <a:r>
              <a:rPr lang="de-CH" sz="1200" err="1">
                <a:latin typeface="Arial" panose="020B0604020202020204" pitchFamily="34" charset="0"/>
                <a:cs typeface="Arial" panose="020B0604020202020204" pitchFamily="34" charset="0"/>
              </a:rPr>
              <a:t>data</a:t>
            </a:r>
            <a:r>
              <a:rPr lang="de-CH" sz="1200">
                <a:latin typeface="Arial" panose="020B0604020202020204" pitchFamily="34" charset="0"/>
                <a:cs typeface="Arial" panose="020B0604020202020204" pitchFamily="34" charset="0"/>
              </a:rPr>
              <a:t> check</a:t>
            </a:r>
          </a:p>
          <a:p>
            <a:pPr algn="ctr"/>
            <a:r>
              <a:rPr lang="de-CH" sz="1200">
                <a:latin typeface="Arial" panose="020B0604020202020204" pitchFamily="34" charset="0"/>
                <a:cs typeface="Arial" panose="020B0604020202020204" pitchFamily="34" charset="0"/>
              </a:rPr>
              <a:t>/UDI/Attributes</a:t>
            </a:r>
          </a:p>
        </p:txBody>
      </p:sp>
      <p:sp>
        <p:nvSpPr>
          <p:cNvPr id="39" name="Rechteck: abgerundete Ecken 38">
            <a:extLst>
              <a:ext uri="{FF2B5EF4-FFF2-40B4-BE49-F238E27FC236}">
                <a16:creationId xmlns:a16="http://schemas.microsoft.com/office/drawing/2014/main" id="{9A5867D7-3747-4F74-80A8-1B5AF417EA49}"/>
              </a:ext>
            </a:extLst>
          </p:cNvPr>
          <p:cNvSpPr/>
          <p:nvPr/>
        </p:nvSpPr>
        <p:spPr>
          <a:xfrm>
            <a:off x="5222731" y="4115115"/>
            <a:ext cx="1620000" cy="702778"/>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latin typeface="Arial" panose="020B0604020202020204" pitchFamily="34" charset="0"/>
                <a:cs typeface="Arial" panose="020B0604020202020204" pitchFamily="34" charset="0"/>
              </a:rPr>
              <a:t>Data release /</a:t>
            </a:r>
          </a:p>
          <a:p>
            <a:pPr algn="ctr"/>
            <a:r>
              <a:rPr lang="en-US" sz="1200">
                <a:latin typeface="Arial" panose="020B0604020202020204" pitchFamily="34" charset="0"/>
                <a:cs typeface="Arial" panose="020B0604020202020204" pitchFamily="34" charset="0"/>
              </a:rPr>
              <a:t>Lock trigger fields</a:t>
            </a:r>
          </a:p>
        </p:txBody>
      </p:sp>
      <p:sp>
        <p:nvSpPr>
          <p:cNvPr id="40" name="Rechteck: abgerundete Ecken 39">
            <a:extLst>
              <a:ext uri="{FF2B5EF4-FFF2-40B4-BE49-F238E27FC236}">
                <a16:creationId xmlns:a16="http://schemas.microsoft.com/office/drawing/2014/main" id="{1F9F01A8-FA07-42C7-AF3A-103F301FB65B}"/>
              </a:ext>
            </a:extLst>
          </p:cNvPr>
          <p:cNvSpPr/>
          <p:nvPr/>
        </p:nvSpPr>
        <p:spPr>
          <a:xfrm>
            <a:off x="5222731" y="2687416"/>
            <a:ext cx="1620000" cy="314633"/>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a:latin typeface="Arial" panose="020B0604020202020204" pitchFamily="34" charset="0"/>
                <a:cs typeface="Arial" panose="020B0604020202020204" pitchFamily="34" charset="0"/>
              </a:rPr>
              <a:t>XML </a:t>
            </a:r>
            <a:r>
              <a:rPr lang="de-CH" sz="1200" err="1">
                <a:latin typeface="Arial" panose="020B0604020202020204" pitchFamily="34" charset="0"/>
                <a:cs typeface="Arial" panose="020B0604020202020204" pitchFamily="34" charset="0"/>
              </a:rPr>
              <a:t>export</a:t>
            </a:r>
            <a:endParaRPr lang="de-CH" sz="1200">
              <a:latin typeface="Arial" panose="020B0604020202020204" pitchFamily="34" charset="0"/>
              <a:cs typeface="Arial" panose="020B0604020202020204" pitchFamily="34" charset="0"/>
            </a:endParaRPr>
          </a:p>
        </p:txBody>
      </p:sp>
      <p:sp>
        <p:nvSpPr>
          <p:cNvPr id="41" name="Rechteck: abgerundete Ecken 40">
            <a:extLst>
              <a:ext uri="{FF2B5EF4-FFF2-40B4-BE49-F238E27FC236}">
                <a16:creationId xmlns:a16="http://schemas.microsoft.com/office/drawing/2014/main" id="{8E2A35B4-08DC-4C68-80B1-B6FA91906473}"/>
              </a:ext>
            </a:extLst>
          </p:cNvPr>
          <p:cNvSpPr/>
          <p:nvPr/>
        </p:nvSpPr>
        <p:spPr>
          <a:xfrm>
            <a:off x="3209824" y="4115115"/>
            <a:ext cx="1620000" cy="702778"/>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a:latin typeface="Arial" panose="020B0604020202020204" pitchFamily="34" charset="0"/>
                <a:cs typeface="Arial" panose="020B0604020202020204" pitchFamily="34" charset="0"/>
              </a:rPr>
              <a:t>Integrity check</a:t>
            </a:r>
          </a:p>
          <a:p>
            <a:pPr algn="ctr"/>
            <a:r>
              <a:rPr lang="de-CH" sz="1200">
                <a:latin typeface="Arial" panose="020B0604020202020204" pitchFamily="34" charset="0"/>
                <a:cs typeface="Arial" panose="020B0604020202020204" pitchFamily="34" charset="0"/>
              </a:rPr>
              <a:t>Validation check</a:t>
            </a:r>
          </a:p>
        </p:txBody>
      </p:sp>
      <p:sp>
        <p:nvSpPr>
          <p:cNvPr id="43" name="Rechteck: abgerundete Ecken 42">
            <a:extLst>
              <a:ext uri="{FF2B5EF4-FFF2-40B4-BE49-F238E27FC236}">
                <a16:creationId xmlns:a16="http://schemas.microsoft.com/office/drawing/2014/main" id="{5B9B524D-B2AF-4C3A-9818-2DA5A726A8D0}"/>
              </a:ext>
            </a:extLst>
          </p:cNvPr>
          <p:cNvSpPr/>
          <p:nvPr/>
        </p:nvSpPr>
        <p:spPr>
          <a:xfrm>
            <a:off x="8531932" y="1949789"/>
            <a:ext cx="322128" cy="1761413"/>
          </a:xfrm>
          <a:prstGeom prst="round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CH" sz="1350" b="1"/>
              <a:t>E</a:t>
            </a:r>
          </a:p>
          <a:p>
            <a:r>
              <a:rPr lang="de-CH" sz="1350" b="1"/>
              <a:t>U</a:t>
            </a:r>
          </a:p>
          <a:p>
            <a:r>
              <a:rPr lang="de-CH" sz="1350" b="1"/>
              <a:t>D</a:t>
            </a:r>
          </a:p>
          <a:p>
            <a:r>
              <a:rPr lang="de-CH" sz="1350" b="1"/>
              <a:t>A</a:t>
            </a:r>
          </a:p>
          <a:p>
            <a:r>
              <a:rPr lang="de-CH" sz="1350" b="1"/>
              <a:t>M</a:t>
            </a:r>
          </a:p>
          <a:p>
            <a:r>
              <a:rPr lang="de-CH" sz="1350" b="1"/>
              <a:t>E</a:t>
            </a:r>
          </a:p>
          <a:p>
            <a:r>
              <a:rPr lang="de-CH" sz="1350" b="1"/>
              <a:t>D</a:t>
            </a:r>
          </a:p>
        </p:txBody>
      </p:sp>
      <p:sp>
        <p:nvSpPr>
          <p:cNvPr id="44" name="Rechteck: abgerundete Ecken 43">
            <a:extLst>
              <a:ext uri="{FF2B5EF4-FFF2-40B4-BE49-F238E27FC236}">
                <a16:creationId xmlns:a16="http://schemas.microsoft.com/office/drawing/2014/main" id="{87B16B71-40C1-4B47-96E8-5F15754C1997}"/>
              </a:ext>
            </a:extLst>
          </p:cNvPr>
          <p:cNvSpPr/>
          <p:nvPr/>
        </p:nvSpPr>
        <p:spPr>
          <a:xfrm>
            <a:off x="5221830" y="2249178"/>
            <a:ext cx="1620000" cy="314633"/>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a:latin typeface="Arial" panose="020B0604020202020204" pitchFamily="34" charset="0"/>
                <a:cs typeface="Arial" panose="020B0604020202020204" pitchFamily="34" charset="0"/>
              </a:rPr>
              <a:t>Excel </a:t>
            </a:r>
            <a:r>
              <a:rPr lang="de-CH" sz="1200" err="1">
                <a:latin typeface="Arial" panose="020B0604020202020204" pitchFamily="34" charset="0"/>
                <a:cs typeface="Arial" panose="020B0604020202020204" pitchFamily="34" charset="0"/>
              </a:rPr>
              <a:t>export</a:t>
            </a:r>
            <a:endParaRPr lang="de-CH" sz="1200">
              <a:latin typeface="Arial" panose="020B0604020202020204" pitchFamily="34" charset="0"/>
              <a:cs typeface="Arial" panose="020B0604020202020204" pitchFamily="34" charset="0"/>
            </a:endParaRPr>
          </a:p>
        </p:txBody>
      </p:sp>
      <p:sp>
        <p:nvSpPr>
          <p:cNvPr id="45" name="Rechteck: abgerundete Ecken 44">
            <a:extLst>
              <a:ext uri="{FF2B5EF4-FFF2-40B4-BE49-F238E27FC236}">
                <a16:creationId xmlns:a16="http://schemas.microsoft.com/office/drawing/2014/main" id="{646486A8-D8A3-4FA5-875E-0F3F80A7D1A8}"/>
              </a:ext>
            </a:extLst>
          </p:cNvPr>
          <p:cNvSpPr/>
          <p:nvPr/>
        </p:nvSpPr>
        <p:spPr>
          <a:xfrm>
            <a:off x="5222731" y="3123064"/>
            <a:ext cx="1620000" cy="408087"/>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200">
              <a:latin typeface="Arial" panose="020B0604020202020204" pitchFamily="34" charset="0"/>
              <a:cs typeface="Arial" panose="020B0604020202020204" pitchFamily="34" charset="0"/>
            </a:endParaRPr>
          </a:p>
        </p:txBody>
      </p:sp>
      <p:sp>
        <p:nvSpPr>
          <p:cNvPr id="54" name="Rechteck: abgerundete Ecken 53">
            <a:extLst>
              <a:ext uri="{FF2B5EF4-FFF2-40B4-BE49-F238E27FC236}">
                <a16:creationId xmlns:a16="http://schemas.microsoft.com/office/drawing/2014/main" id="{C90BCC80-CC53-4FAB-90F5-99AED375928F}"/>
              </a:ext>
            </a:extLst>
          </p:cNvPr>
          <p:cNvSpPr/>
          <p:nvPr/>
        </p:nvSpPr>
        <p:spPr>
          <a:xfrm>
            <a:off x="374876" y="1139292"/>
            <a:ext cx="3298357" cy="415894"/>
          </a:xfrm>
          <a:prstGeom prst="roundRect">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solidFill>
                  <a:schemeClr val="bg1"/>
                </a:solidFill>
                <a:latin typeface="Arial" panose="020B0604020202020204" pitchFamily="34" charset="0"/>
                <a:cs typeface="Arial" panose="020B0604020202020204" pitchFamily="34" charset="0"/>
              </a:rPr>
              <a:t>UDI relevant </a:t>
            </a:r>
            <a:r>
              <a:rPr lang="de-DE" sz="1200" err="1">
                <a:solidFill>
                  <a:schemeClr val="bg1"/>
                </a:solidFill>
                <a:latin typeface="Arial" panose="020B0604020202020204" pitchFamily="34" charset="0"/>
                <a:cs typeface="Arial" panose="020B0604020202020204" pitchFamily="34" charset="0"/>
              </a:rPr>
              <a:t>marking</a:t>
            </a:r>
            <a:endParaRPr lang="de-DE" sz="1200">
              <a:solidFill>
                <a:schemeClr val="bg1"/>
              </a:solidFill>
              <a:latin typeface="Arial" panose="020B0604020202020204" pitchFamily="34" charset="0"/>
              <a:cs typeface="Arial" panose="020B0604020202020204" pitchFamily="34" charset="0"/>
            </a:endParaRPr>
          </a:p>
        </p:txBody>
      </p:sp>
      <p:cxnSp>
        <p:nvCxnSpPr>
          <p:cNvPr id="8" name="Gerade Verbindung mit Pfeil 7">
            <a:extLst>
              <a:ext uri="{FF2B5EF4-FFF2-40B4-BE49-F238E27FC236}">
                <a16:creationId xmlns:a16="http://schemas.microsoft.com/office/drawing/2014/main" id="{7F8FBB42-5E6F-494A-9FA9-D776E43B375D}"/>
              </a:ext>
            </a:extLst>
          </p:cNvPr>
          <p:cNvCxnSpPr>
            <a:cxnSpLocks/>
            <a:endCxn id="35" idx="0"/>
          </p:cNvCxnSpPr>
          <p:nvPr/>
        </p:nvCxnSpPr>
        <p:spPr>
          <a:xfrm>
            <a:off x="1184876" y="1555186"/>
            <a:ext cx="0" cy="274539"/>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0" name="Gerade Verbindung mit Pfeil 9">
            <a:extLst>
              <a:ext uri="{FF2B5EF4-FFF2-40B4-BE49-F238E27FC236}">
                <a16:creationId xmlns:a16="http://schemas.microsoft.com/office/drawing/2014/main" id="{3079ADE2-81AA-4647-AA7F-C4E7527E5280}"/>
              </a:ext>
            </a:extLst>
          </p:cNvPr>
          <p:cNvCxnSpPr>
            <a:cxnSpLocks/>
            <a:endCxn id="36" idx="0"/>
          </p:cNvCxnSpPr>
          <p:nvPr/>
        </p:nvCxnSpPr>
        <p:spPr>
          <a:xfrm>
            <a:off x="2863233" y="1550979"/>
            <a:ext cx="0" cy="28716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69" name="Gerade Verbindung mit Pfeil 68">
            <a:extLst>
              <a:ext uri="{FF2B5EF4-FFF2-40B4-BE49-F238E27FC236}">
                <a16:creationId xmlns:a16="http://schemas.microsoft.com/office/drawing/2014/main" id="{1B16878B-8423-441F-856F-52AE4DCDB29D}"/>
              </a:ext>
            </a:extLst>
          </p:cNvPr>
          <p:cNvCxnSpPr>
            <a:cxnSpLocks/>
          </p:cNvCxnSpPr>
          <p:nvPr/>
        </p:nvCxnSpPr>
        <p:spPr>
          <a:xfrm>
            <a:off x="1548144" y="2606501"/>
            <a:ext cx="0" cy="266124"/>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1" name="Gerade Verbindung mit Pfeil 70">
            <a:extLst>
              <a:ext uri="{FF2B5EF4-FFF2-40B4-BE49-F238E27FC236}">
                <a16:creationId xmlns:a16="http://schemas.microsoft.com/office/drawing/2014/main" id="{EB808EBE-B377-40AD-94B2-C1CD1E859C23}"/>
              </a:ext>
            </a:extLst>
          </p:cNvPr>
          <p:cNvCxnSpPr/>
          <p:nvPr/>
        </p:nvCxnSpPr>
        <p:spPr>
          <a:xfrm>
            <a:off x="2534971" y="2636056"/>
            <a:ext cx="0" cy="244984"/>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5" name="Gerade Verbindung mit Pfeil 74">
            <a:extLst>
              <a:ext uri="{FF2B5EF4-FFF2-40B4-BE49-F238E27FC236}">
                <a16:creationId xmlns:a16="http://schemas.microsoft.com/office/drawing/2014/main" id="{71D0F3A7-5FF8-4078-9F7D-F8BB0FEDE112}"/>
              </a:ext>
            </a:extLst>
          </p:cNvPr>
          <p:cNvCxnSpPr>
            <a:cxnSpLocks/>
            <a:stCxn id="37" idx="3"/>
            <a:endCxn id="38" idx="1"/>
          </p:cNvCxnSpPr>
          <p:nvPr/>
        </p:nvCxnSpPr>
        <p:spPr>
          <a:xfrm>
            <a:off x="2838206" y="3318604"/>
            <a:ext cx="371619"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7" name="Gerade Verbindung mit Pfeil 76">
            <a:extLst>
              <a:ext uri="{FF2B5EF4-FFF2-40B4-BE49-F238E27FC236}">
                <a16:creationId xmlns:a16="http://schemas.microsoft.com/office/drawing/2014/main" id="{3EA88A85-494A-4551-8527-12C496D561A3}"/>
              </a:ext>
            </a:extLst>
          </p:cNvPr>
          <p:cNvCxnSpPr>
            <a:cxnSpLocks/>
            <a:stCxn id="38" idx="2"/>
            <a:endCxn id="41" idx="0"/>
          </p:cNvCxnSpPr>
          <p:nvPr/>
        </p:nvCxnSpPr>
        <p:spPr>
          <a:xfrm flipH="1">
            <a:off x="4019824" y="3756168"/>
            <a:ext cx="1" cy="35894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9" name="Gerade Verbindung mit Pfeil 78">
            <a:extLst>
              <a:ext uri="{FF2B5EF4-FFF2-40B4-BE49-F238E27FC236}">
                <a16:creationId xmlns:a16="http://schemas.microsoft.com/office/drawing/2014/main" id="{EE89B85E-1B80-4056-9B33-499490C7AC53}"/>
              </a:ext>
            </a:extLst>
          </p:cNvPr>
          <p:cNvCxnSpPr>
            <a:cxnSpLocks/>
            <a:stCxn id="41" idx="3"/>
            <a:endCxn id="39" idx="1"/>
          </p:cNvCxnSpPr>
          <p:nvPr/>
        </p:nvCxnSpPr>
        <p:spPr>
          <a:xfrm>
            <a:off x="4829824" y="4466504"/>
            <a:ext cx="392907"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81" name="Gerade Verbindung mit Pfeil 80">
            <a:extLst>
              <a:ext uri="{FF2B5EF4-FFF2-40B4-BE49-F238E27FC236}">
                <a16:creationId xmlns:a16="http://schemas.microsoft.com/office/drawing/2014/main" id="{BD62FE4F-238A-4316-8DF4-8E2F26C7E1ED}"/>
              </a:ext>
            </a:extLst>
          </p:cNvPr>
          <p:cNvCxnSpPr>
            <a:cxnSpLocks/>
            <a:stCxn id="39" idx="0"/>
          </p:cNvCxnSpPr>
          <p:nvPr/>
        </p:nvCxnSpPr>
        <p:spPr>
          <a:xfrm flipH="1" flipV="1">
            <a:off x="6024969" y="3763728"/>
            <a:ext cx="7762" cy="35138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86" name="Textfeld 85">
            <a:extLst>
              <a:ext uri="{FF2B5EF4-FFF2-40B4-BE49-F238E27FC236}">
                <a16:creationId xmlns:a16="http://schemas.microsoft.com/office/drawing/2014/main" id="{BE02670F-8114-4463-936A-9D2672146D41}"/>
              </a:ext>
            </a:extLst>
          </p:cNvPr>
          <p:cNvSpPr txBox="1"/>
          <p:nvPr/>
        </p:nvSpPr>
        <p:spPr>
          <a:xfrm>
            <a:off x="5222731" y="3117396"/>
            <a:ext cx="1634256" cy="646331"/>
          </a:xfrm>
          <a:prstGeom prst="rect">
            <a:avLst/>
          </a:prstGeom>
          <a:noFill/>
        </p:spPr>
        <p:txBody>
          <a:bodyPr wrap="square" rtlCol="0">
            <a:spAutoFit/>
          </a:bodyPr>
          <a:lstStyle/>
          <a:p>
            <a:pPr algn="ctr"/>
            <a:r>
              <a:rPr lang="en-US" sz="1200">
                <a:solidFill>
                  <a:schemeClr val="bg1"/>
                </a:solidFill>
                <a:latin typeface="Arial" panose="020B0604020202020204" pitchFamily="34" charset="0"/>
                <a:cs typeface="Arial" panose="020B0604020202020204" pitchFamily="34" charset="0"/>
              </a:rPr>
              <a:t>Europe IT Consulting Web Service</a:t>
            </a:r>
          </a:p>
          <a:p>
            <a:pPr algn="ctr"/>
            <a:endParaRPr lang="en-US" sz="1200">
              <a:solidFill>
                <a:schemeClr val="bg1"/>
              </a:solidFill>
              <a:latin typeface="Arial" panose="020B0604020202020204" pitchFamily="34" charset="0"/>
              <a:cs typeface="Arial" panose="020B0604020202020204" pitchFamily="34" charset="0"/>
            </a:endParaRPr>
          </a:p>
        </p:txBody>
      </p:sp>
      <p:cxnSp>
        <p:nvCxnSpPr>
          <p:cNvPr id="104" name="Gerade Verbindung mit Pfeil 103">
            <a:extLst>
              <a:ext uri="{FF2B5EF4-FFF2-40B4-BE49-F238E27FC236}">
                <a16:creationId xmlns:a16="http://schemas.microsoft.com/office/drawing/2014/main" id="{98A2D59C-096A-46B5-8EBF-CAAECD1A9BCB}"/>
              </a:ext>
            </a:extLst>
          </p:cNvPr>
          <p:cNvCxnSpPr>
            <a:cxnSpLocks/>
            <a:stCxn id="40" idx="3"/>
            <a:endCxn id="43" idx="1"/>
          </p:cNvCxnSpPr>
          <p:nvPr/>
        </p:nvCxnSpPr>
        <p:spPr>
          <a:xfrm flipV="1">
            <a:off x="6842731" y="2830496"/>
            <a:ext cx="1689201" cy="1423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06" name="Verbinder: gewinkelt 105">
            <a:extLst>
              <a:ext uri="{FF2B5EF4-FFF2-40B4-BE49-F238E27FC236}">
                <a16:creationId xmlns:a16="http://schemas.microsoft.com/office/drawing/2014/main" id="{7F8C2BBE-4ED8-4524-9F9D-68F561918F36}"/>
              </a:ext>
            </a:extLst>
          </p:cNvPr>
          <p:cNvCxnSpPr>
            <a:cxnSpLocks/>
            <a:stCxn id="44" idx="3"/>
          </p:cNvCxnSpPr>
          <p:nvPr/>
        </p:nvCxnSpPr>
        <p:spPr>
          <a:xfrm flipV="1">
            <a:off x="6841830" y="2133831"/>
            <a:ext cx="1690102" cy="272664"/>
          </a:xfrm>
          <a:prstGeom prst="bentConnector3">
            <a:avLst>
              <a:gd name="adj1" fmla="val 19466"/>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08" name="Verbinder: gewinkelt 107">
            <a:extLst>
              <a:ext uri="{FF2B5EF4-FFF2-40B4-BE49-F238E27FC236}">
                <a16:creationId xmlns:a16="http://schemas.microsoft.com/office/drawing/2014/main" id="{ADDCFB2A-B92B-402C-8E9F-2C24F61DFD77}"/>
              </a:ext>
            </a:extLst>
          </p:cNvPr>
          <p:cNvCxnSpPr>
            <a:cxnSpLocks/>
          </p:cNvCxnSpPr>
          <p:nvPr/>
        </p:nvCxnSpPr>
        <p:spPr>
          <a:xfrm>
            <a:off x="6841830" y="3318604"/>
            <a:ext cx="1660625" cy="177230"/>
          </a:xfrm>
          <a:prstGeom prst="bentConnector3">
            <a:avLst>
              <a:gd name="adj1" fmla="val 21105"/>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53" name="Rechteck: abgerundete Ecken 52">
            <a:extLst>
              <a:ext uri="{FF2B5EF4-FFF2-40B4-BE49-F238E27FC236}">
                <a16:creationId xmlns:a16="http://schemas.microsoft.com/office/drawing/2014/main" id="{DC1BB485-83A3-4556-8949-E18D80FCAA63}"/>
              </a:ext>
            </a:extLst>
          </p:cNvPr>
          <p:cNvSpPr/>
          <p:nvPr/>
        </p:nvSpPr>
        <p:spPr>
          <a:xfrm>
            <a:off x="7385220" y="1940928"/>
            <a:ext cx="784325" cy="484748"/>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a:t>3rd Party</a:t>
            </a:r>
          </a:p>
        </p:txBody>
      </p:sp>
      <p:sp>
        <p:nvSpPr>
          <p:cNvPr id="46" name="Rechteck: abgerundete Ecken 45">
            <a:extLst>
              <a:ext uri="{FF2B5EF4-FFF2-40B4-BE49-F238E27FC236}">
                <a16:creationId xmlns:a16="http://schemas.microsoft.com/office/drawing/2014/main" id="{55F6C6E1-DD30-43DE-BD84-8F53864D115C}"/>
              </a:ext>
            </a:extLst>
          </p:cNvPr>
          <p:cNvSpPr/>
          <p:nvPr/>
        </p:nvSpPr>
        <p:spPr>
          <a:xfrm>
            <a:off x="7392257" y="3254377"/>
            <a:ext cx="784325" cy="484748"/>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err="1"/>
              <a:t>WebService</a:t>
            </a:r>
            <a:endParaRPr lang="de-DE" sz="800"/>
          </a:p>
          <a:p>
            <a:pPr algn="ctr"/>
            <a:r>
              <a:rPr lang="de-DE" sz="800"/>
              <a:t>(SSL</a:t>
            </a:r>
            <a:r>
              <a:rPr lang="de-DE" sz="900"/>
              <a:t>)</a:t>
            </a:r>
          </a:p>
        </p:txBody>
      </p:sp>
      <p:sp>
        <p:nvSpPr>
          <p:cNvPr id="48" name="Rechteck: abgerundete Ecken 47">
            <a:extLst>
              <a:ext uri="{FF2B5EF4-FFF2-40B4-BE49-F238E27FC236}">
                <a16:creationId xmlns:a16="http://schemas.microsoft.com/office/drawing/2014/main" id="{E166C7F1-E948-4DCE-95F4-24D33AEBBFBE}"/>
              </a:ext>
            </a:extLst>
          </p:cNvPr>
          <p:cNvSpPr/>
          <p:nvPr/>
        </p:nvSpPr>
        <p:spPr>
          <a:xfrm>
            <a:off x="7388977" y="2597194"/>
            <a:ext cx="784325" cy="484748"/>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err="1"/>
              <a:t>WebTrader</a:t>
            </a:r>
            <a:endParaRPr lang="de-DE" sz="800"/>
          </a:p>
        </p:txBody>
      </p:sp>
    </p:spTree>
    <p:extLst>
      <p:ext uri="{BB962C8B-B14F-4D97-AF65-F5344CB8AC3E}">
        <p14:creationId xmlns:p14="http://schemas.microsoft.com/office/powerpoint/2010/main" val="24397809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EF655244-0C80-4F68-996C-D4EA7EE6D12D}"/>
              </a:ext>
            </a:extLst>
          </p:cNvPr>
          <p:cNvSpPr>
            <a:spLocks noGrp="1"/>
          </p:cNvSpPr>
          <p:nvPr>
            <p:ph type="title"/>
          </p:nvPr>
        </p:nvSpPr>
        <p:spPr/>
        <p:txBody>
          <a:bodyPr>
            <a:normAutofit fontScale="90000"/>
          </a:bodyPr>
          <a:lstStyle/>
          <a:p>
            <a:endParaRPr lang="de-CH"/>
          </a:p>
        </p:txBody>
      </p:sp>
    </p:spTree>
    <p:extLst>
      <p:ext uri="{BB962C8B-B14F-4D97-AF65-F5344CB8AC3E}">
        <p14:creationId xmlns:p14="http://schemas.microsoft.com/office/powerpoint/2010/main" val="333121939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B9D75085-50D5-4530-A76C-8B6DAB8173FE}"/>
              </a:ext>
            </a:extLst>
          </p:cNvPr>
          <p:cNvPicPr>
            <a:picLocks noChangeAspect="1"/>
          </p:cNvPicPr>
          <p:nvPr/>
        </p:nvPicPr>
        <p:blipFill>
          <a:blip r:embed="rId2"/>
          <a:stretch>
            <a:fillRect/>
          </a:stretch>
        </p:blipFill>
        <p:spPr>
          <a:xfrm>
            <a:off x="4333561" y="1775066"/>
            <a:ext cx="4384873" cy="3024050"/>
          </a:xfrm>
          <a:prstGeom prst="rect">
            <a:avLst/>
          </a:prstGeom>
          <a:ln w="12700">
            <a:solidFill>
              <a:srgbClr val="2F5597"/>
            </a:solidFill>
          </a:ln>
          <a:effectLst/>
        </p:spPr>
      </p:pic>
      <p:sp>
        <p:nvSpPr>
          <p:cNvPr id="11" name="Inhaltsplatzhalter 6">
            <a:extLst>
              <a:ext uri="{FF2B5EF4-FFF2-40B4-BE49-F238E27FC236}">
                <a16:creationId xmlns:a16="http://schemas.microsoft.com/office/drawing/2014/main" id="{C619EA10-47CE-4B1A-BAA4-797664F8BA40}"/>
              </a:ext>
            </a:extLst>
          </p:cNvPr>
          <p:cNvSpPr>
            <a:spLocks noGrp="1"/>
          </p:cNvSpPr>
          <p:nvPr>
            <p:ph sz="quarter" idx="19"/>
          </p:nvPr>
        </p:nvSpPr>
        <p:spPr>
          <a:xfrm>
            <a:off x="222659" y="1203598"/>
            <a:ext cx="3693508" cy="3455988"/>
          </a:xfrm>
        </p:spPr>
        <p:txBody>
          <a:bodyPr>
            <a:normAutofit fontScale="92500" lnSpcReduction="10000"/>
          </a:bodyPr>
          <a:lstStyle/>
          <a:p>
            <a:pPr>
              <a:buFont typeface="Arial" panose="020B0604020202020204" pitchFamily="34" charset="0"/>
              <a:buChar char="•"/>
            </a:pPr>
            <a:r>
              <a:rPr lang="en-US"/>
              <a:t>Enter /n/UDI/EU to access the UDI transactions or directly enter the UDI data migration transaction /UDI/UPLOAD</a:t>
            </a:r>
          </a:p>
          <a:p>
            <a:pPr>
              <a:buFont typeface="Arial" panose="020B0604020202020204" pitchFamily="34" charset="0"/>
              <a:buChar char="•"/>
            </a:pPr>
            <a:r>
              <a:rPr lang="en-US"/>
              <a:t>Fill in the “UDI EU data upload template.xlsx” to upload UDI data </a:t>
            </a:r>
          </a:p>
          <a:p>
            <a:pPr lvl="1">
              <a:buFont typeface="Wingdings" panose="05000000000000000000" pitchFamily="2" charset="2"/>
              <a:buChar char="Ø"/>
            </a:pPr>
            <a:r>
              <a:rPr lang="en-US"/>
              <a:t>The template can be downloaded in the transaction</a:t>
            </a:r>
          </a:p>
          <a:p>
            <a:pPr>
              <a:buFont typeface="Arial" panose="020B0604020202020204" pitchFamily="34" charset="0"/>
              <a:buChar char="•"/>
            </a:pPr>
            <a:r>
              <a:rPr lang="en-US"/>
              <a:t>For the upload of new UDI data record select the “Process Type” – “Insert Process…”</a:t>
            </a:r>
          </a:p>
          <a:p>
            <a:pPr>
              <a:buFont typeface="Arial" panose="020B0604020202020204" pitchFamily="34" charset="0"/>
              <a:buChar char="•"/>
            </a:pPr>
            <a:r>
              <a:rPr lang="en-US"/>
              <a:t>For the upload of changes of an existing UDI data record select the “Process Type” – “Update Process…”</a:t>
            </a:r>
          </a:p>
          <a:p>
            <a:pPr>
              <a:buFont typeface="Arial" panose="020B0604020202020204" pitchFamily="34" charset="0"/>
              <a:buChar char="•"/>
            </a:pPr>
            <a:r>
              <a:rPr lang="de-CH" err="1"/>
              <a:t>If</a:t>
            </a:r>
            <a:r>
              <a:rPr lang="de-CH"/>
              <a:t> </a:t>
            </a:r>
            <a:r>
              <a:rPr lang="de-CH" err="1"/>
              <a:t>only</a:t>
            </a:r>
            <a:r>
              <a:rPr lang="de-CH"/>
              <a:t> </a:t>
            </a:r>
            <a:r>
              <a:rPr lang="de-CH" err="1"/>
              <a:t>certain</a:t>
            </a:r>
            <a:r>
              <a:rPr lang="de-CH"/>
              <a:t> Basic UDI-DI </a:t>
            </a:r>
            <a:r>
              <a:rPr lang="de-CH" err="1"/>
              <a:t>or</a:t>
            </a:r>
            <a:r>
              <a:rPr lang="de-CH"/>
              <a:t> UDI-DI </a:t>
            </a:r>
            <a:r>
              <a:rPr lang="de-CH" err="1"/>
              <a:t>information</a:t>
            </a:r>
            <a:r>
              <a:rPr lang="de-CH"/>
              <a:t> </a:t>
            </a:r>
            <a:r>
              <a:rPr lang="de-CH" err="1"/>
              <a:t>should</a:t>
            </a:r>
            <a:r>
              <a:rPr lang="de-CH"/>
              <a:t> </a:t>
            </a:r>
            <a:r>
              <a:rPr lang="de-CH" err="1"/>
              <a:t>be</a:t>
            </a:r>
            <a:r>
              <a:rPr lang="de-CH"/>
              <a:t> </a:t>
            </a:r>
            <a:r>
              <a:rPr lang="de-CH" err="1"/>
              <a:t>added</a:t>
            </a:r>
            <a:r>
              <a:rPr lang="de-CH"/>
              <a:t>/ </a:t>
            </a:r>
            <a:r>
              <a:rPr lang="de-CH" err="1"/>
              <a:t>changed</a:t>
            </a:r>
            <a:r>
              <a:rPr lang="de-CH"/>
              <a:t>, </a:t>
            </a:r>
            <a:r>
              <a:rPr lang="de-CH" err="1"/>
              <a:t>select</a:t>
            </a:r>
            <a:r>
              <a:rPr lang="de-CH"/>
              <a:t> </a:t>
            </a:r>
            <a:r>
              <a:rPr lang="de-CH" err="1"/>
              <a:t>the</a:t>
            </a:r>
            <a:r>
              <a:rPr lang="de-CH"/>
              <a:t> relevant </a:t>
            </a:r>
            <a:r>
              <a:rPr lang="de-CH" err="1"/>
              <a:t>fields</a:t>
            </a:r>
            <a:r>
              <a:rPr lang="de-CH"/>
              <a:t> in </a:t>
            </a:r>
            <a:r>
              <a:rPr lang="de-CH" err="1"/>
              <a:t>the</a:t>
            </a:r>
            <a:r>
              <a:rPr lang="de-CH"/>
              <a:t> </a:t>
            </a:r>
            <a:r>
              <a:rPr lang="en-US"/>
              <a:t>“</a:t>
            </a:r>
            <a:r>
              <a:rPr lang="de-CH" err="1"/>
              <a:t>Available</a:t>
            </a:r>
            <a:r>
              <a:rPr lang="de-CH"/>
              <a:t> Fields</a:t>
            </a:r>
            <a:r>
              <a:rPr lang="en-US"/>
              <a:t>“</a:t>
            </a:r>
            <a:endParaRPr lang="de-CH"/>
          </a:p>
          <a:p>
            <a:pPr>
              <a:buFont typeface="Arial" panose="020B0604020202020204" pitchFamily="34" charset="0"/>
              <a:buChar char="•"/>
            </a:pPr>
            <a:r>
              <a:rPr lang="de-DE"/>
              <a:t>Execute </a:t>
            </a:r>
            <a:r>
              <a:rPr lang="de-DE" err="1"/>
              <a:t>the</a:t>
            </a:r>
            <a:r>
              <a:rPr lang="de-DE"/>
              <a:t> </a:t>
            </a:r>
            <a:r>
              <a:rPr lang="de-DE" err="1"/>
              <a:t>upload</a:t>
            </a:r>
            <a:endParaRPr lang="en-US"/>
          </a:p>
        </p:txBody>
      </p:sp>
      <p:sp>
        <p:nvSpPr>
          <p:cNvPr id="16" name="Textplatzhalter 5">
            <a:extLst>
              <a:ext uri="{FF2B5EF4-FFF2-40B4-BE49-F238E27FC236}">
                <a16:creationId xmlns:a16="http://schemas.microsoft.com/office/drawing/2014/main" id="{E6E48567-ACC1-482E-81E5-56FC06BFBF80}"/>
              </a:ext>
            </a:extLst>
          </p:cNvPr>
          <p:cNvSpPr>
            <a:spLocks noGrp="1"/>
          </p:cNvSpPr>
          <p:nvPr>
            <p:ph type="body" sz="quarter" idx="18"/>
          </p:nvPr>
        </p:nvSpPr>
        <p:spPr>
          <a:xfrm>
            <a:off x="219267" y="794161"/>
            <a:ext cx="8600883" cy="330544"/>
          </a:xfrm>
        </p:spPr>
        <p:txBody>
          <a:bodyPr>
            <a:normAutofit/>
          </a:bodyPr>
          <a:lstStyle/>
          <a:p>
            <a:r>
              <a:rPr lang="de-DE"/>
              <a:t>2.3 </a:t>
            </a:r>
            <a:r>
              <a:rPr lang="en-US"/>
              <a:t>Product creation with Excel</a:t>
            </a:r>
          </a:p>
        </p:txBody>
      </p:sp>
      <p:sp>
        <p:nvSpPr>
          <p:cNvPr id="17" name="Titel 2">
            <a:extLst>
              <a:ext uri="{FF2B5EF4-FFF2-40B4-BE49-F238E27FC236}">
                <a16:creationId xmlns:a16="http://schemas.microsoft.com/office/drawing/2014/main" id="{757C3ABF-64B1-4FC5-AA42-5C7A3FED1081}"/>
              </a:ext>
            </a:extLst>
          </p:cNvPr>
          <p:cNvSpPr>
            <a:spLocks noGrp="1"/>
          </p:cNvSpPr>
          <p:nvPr>
            <p:ph type="title"/>
          </p:nvPr>
        </p:nvSpPr>
        <p:spPr>
          <a:xfrm>
            <a:off x="269393" y="78770"/>
            <a:ext cx="7907189" cy="330545"/>
          </a:xfrm>
        </p:spPr>
        <p:txBody>
          <a:bodyPr>
            <a:normAutofit fontScale="90000"/>
          </a:bodyPr>
          <a:lstStyle/>
          <a:p>
            <a:r>
              <a:rPr lang="de-DE"/>
              <a:t>2. </a:t>
            </a:r>
            <a:r>
              <a:rPr lang="en-US"/>
              <a:t>W</a:t>
            </a:r>
            <a:r>
              <a:rPr lang="en-US" sz="1800" b="1"/>
              <a:t>ork processes from the database to data transmission </a:t>
            </a:r>
            <a:endParaRPr lang="de-DE"/>
          </a:p>
        </p:txBody>
      </p:sp>
      <p:grpSp>
        <p:nvGrpSpPr>
          <p:cNvPr id="2" name="Gruppieren 1">
            <a:extLst>
              <a:ext uri="{FF2B5EF4-FFF2-40B4-BE49-F238E27FC236}">
                <a16:creationId xmlns:a16="http://schemas.microsoft.com/office/drawing/2014/main" id="{0FC65639-85DD-4D7E-A9CF-48D3E574691C}"/>
              </a:ext>
            </a:extLst>
          </p:cNvPr>
          <p:cNvGrpSpPr/>
          <p:nvPr/>
        </p:nvGrpSpPr>
        <p:grpSpPr>
          <a:xfrm>
            <a:off x="4333561" y="569484"/>
            <a:ext cx="2295070" cy="1076747"/>
            <a:chOff x="269393" y="2247008"/>
            <a:chExt cx="2682473" cy="1298415"/>
          </a:xfrm>
        </p:grpSpPr>
        <p:pic>
          <p:nvPicPr>
            <p:cNvPr id="22" name="Grafik 21">
              <a:extLst>
                <a:ext uri="{FF2B5EF4-FFF2-40B4-BE49-F238E27FC236}">
                  <a16:creationId xmlns:a16="http://schemas.microsoft.com/office/drawing/2014/main" id="{55E0642A-5B16-4290-BEE0-60B9930DE451}"/>
                </a:ext>
              </a:extLst>
            </p:cNvPr>
            <p:cNvPicPr>
              <a:picLocks noChangeAspect="1"/>
            </p:cNvPicPr>
            <p:nvPr/>
          </p:nvPicPr>
          <p:blipFill rotWithShape="1">
            <a:blip r:embed="rId3"/>
            <a:srcRect r="21183"/>
            <a:stretch/>
          </p:blipFill>
          <p:spPr>
            <a:xfrm>
              <a:off x="269393" y="2247008"/>
              <a:ext cx="2682473" cy="1298415"/>
            </a:xfrm>
            <a:prstGeom prst="rect">
              <a:avLst/>
            </a:prstGeom>
            <a:ln w="19050">
              <a:solidFill>
                <a:srgbClr val="2F5597"/>
              </a:solidFill>
            </a:ln>
            <a:effectLst/>
          </p:spPr>
        </p:pic>
        <p:sp>
          <p:nvSpPr>
            <p:cNvPr id="23" name="Rechteck 22">
              <a:extLst>
                <a:ext uri="{FF2B5EF4-FFF2-40B4-BE49-F238E27FC236}">
                  <a16:creationId xmlns:a16="http://schemas.microsoft.com/office/drawing/2014/main" id="{B00B0EE1-C1AF-43B7-BBBF-036A3679CADE}"/>
                </a:ext>
              </a:extLst>
            </p:cNvPr>
            <p:cNvSpPr/>
            <p:nvPr/>
          </p:nvSpPr>
          <p:spPr>
            <a:xfrm>
              <a:off x="630324" y="3178153"/>
              <a:ext cx="1531539" cy="127215"/>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grpSp>
      <p:sp>
        <p:nvSpPr>
          <p:cNvPr id="27" name="Rechteck 26">
            <a:extLst>
              <a:ext uri="{FF2B5EF4-FFF2-40B4-BE49-F238E27FC236}">
                <a16:creationId xmlns:a16="http://schemas.microsoft.com/office/drawing/2014/main" id="{AE2BC08F-FA58-4940-9393-53DE6FD46FE7}"/>
              </a:ext>
            </a:extLst>
          </p:cNvPr>
          <p:cNvSpPr/>
          <p:nvPr/>
        </p:nvSpPr>
        <p:spPr>
          <a:xfrm>
            <a:off x="4357704" y="1927531"/>
            <a:ext cx="140305" cy="161697"/>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8" name="Rechteck 27">
            <a:extLst>
              <a:ext uri="{FF2B5EF4-FFF2-40B4-BE49-F238E27FC236}">
                <a16:creationId xmlns:a16="http://schemas.microsoft.com/office/drawing/2014/main" id="{275A368B-3362-429D-B6BC-8BC39E233126}"/>
              </a:ext>
            </a:extLst>
          </p:cNvPr>
          <p:cNvSpPr/>
          <p:nvPr/>
        </p:nvSpPr>
        <p:spPr>
          <a:xfrm>
            <a:off x="4357704" y="2137181"/>
            <a:ext cx="2397781" cy="138192"/>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9" name="Rechteck 28">
            <a:extLst>
              <a:ext uri="{FF2B5EF4-FFF2-40B4-BE49-F238E27FC236}">
                <a16:creationId xmlns:a16="http://schemas.microsoft.com/office/drawing/2014/main" id="{B9A7204A-B6A2-48B9-9E5C-C27CD38988EA}"/>
              </a:ext>
            </a:extLst>
          </p:cNvPr>
          <p:cNvSpPr/>
          <p:nvPr/>
        </p:nvSpPr>
        <p:spPr>
          <a:xfrm>
            <a:off x="6028375" y="2813689"/>
            <a:ext cx="995244" cy="1437589"/>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30" name="Rechteck 29">
            <a:extLst>
              <a:ext uri="{FF2B5EF4-FFF2-40B4-BE49-F238E27FC236}">
                <a16:creationId xmlns:a16="http://schemas.microsoft.com/office/drawing/2014/main" id="{A92E1B01-78E2-4197-86A6-0A2E63DBEA55}"/>
              </a:ext>
            </a:extLst>
          </p:cNvPr>
          <p:cNvSpPr/>
          <p:nvPr/>
        </p:nvSpPr>
        <p:spPr>
          <a:xfrm>
            <a:off x="4429448" y="2941321"/>
            <a:ext cx="1523272" cy="159625"/>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31" name="Ellipse 30">
            <a:extLst>
              <a:ext uri="{FF2B5EF4-FFF2-40B4-BE49-F238E27FC236}">
                <a16:creationId xmlns:a16="http://schemas.microsoft.com/office/drawing/2014/main" id="{F3F288EC-9FF6-4729-9FD1-DBE5BC040BE7}"/>
              </a:ext>
            </a:extLst>
          </p:cNvPr>
          <p:cNvSpPr/>
          <p:nvPr/>
        </p:nvSpPr>
        <p:spPr>
          <a:xfrm>
            <a:off x="6856508" y="2129363"/>
            <a:ext cx="167111" cy="138192"/>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a:t>1</a:t>
            </a:r>
            <a:endParaRPr lang="en-US" sz="1000"/>
          </a:p>
        </p:txBody>
      </p:sp>
      <p:sp>
        <p:nvSpPr>
          <p:cNvPr id="32" name="Ellipse 31">
            <a:extLst>
              <a:ext uri="{FF2B5EF4-FFF2-40B4-BE49-F238E27FC236}">
                <a16:creationId xmlns:a16="http://schemas.microsoft.com/office/drawing/2014/main" id="{3139AA62-1520-414E-8415-624BC388D4E1}"/>
              </a:ext>
            </a:extLst>
          </p:cNvPr>
          <p:cNvSpPr/>
          <p:nvPr/>
        </p:nvSpPr>
        <p:spPr>
          <a:xfrm>
            <a:off x="4123356" y="2880659"/>
            <a:ext cx="180700" cy="147724"/>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a:t>2</a:t>
            </a:r>
            <a:endParaRPr lang="en-US" sz="1000"/>
          </a:p>
        </p:txBody>
      </p:sp>
      <p:sp>
        <p:nvSpPr>
          <p:cNvPr id="33" name="Ellipse 32">
            <a:extLst>
              <a:ext uri="{FF2B5EF4-FFF2-40B4-BE49-F238E27FC236}">
                <a16:creationId xmlns:a16="http://schemas.microsoft.com/office/drawing/2014/main" id="{BCADAB94-4433-40A8-BF05-679DFDB3B580}"/>
              </a:ext>
            </a:extLst>
          </p:cNvPr>
          <p:cNvSpPr/>
          <p:nvPr/>
        </p:nvSpPr>
        <p:spPr>
          <a:xfrm>
            <a:off x="7053124" y="3466353"/>
            <a:ext cx="178405" cy="158622"/>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a:t>3</a:t>
            </a:r>
            <a:endParaRPr lang="en-US" sz="1000"/>
          </a:p>
        </p:txBody>
      </p:sp>
      <p:sp>
        <p:nvSpPr>
          <p:cNvPr id="34" name="Ellipse 33">
            <a:extLst>
              <a:ext uri="{FF2B5EF4-FFF2-40B4-BE49-F238E27FC236}">
                <a16:creationId xmlns:a16="http://schemas.microsoft.com/office/drawing/2014/main" id="{AD6D9776-296D-4E3C-9234-2BDD7D295FF8}"/>
              </a:ext>
            </a:extLst>
          </p:cNvPr>
          <p:cNvSpPr/>
          <p:nvPr/>
        </p:nvSpPr>
        <p:spPr>
          <a:xfrm>
            <a:off x="4651189" y="1938929"/>
            <a:ext cx="185271" cy="164412"/>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a:t>4</a:t>
            </a:r>
            <a:endParaRPr lang="en-US" sz="1000"/>
          </a:p>
        </p:txBody>
      </p:sp>
    </p:spTree>
    <p:extLst>
      <p:ext uri="{BB962C8B-B14F-4D97-AF65-F5344CB8AC3E}">
        <p14:creationId xmlns:p14="http://schemas.microsoft.com/office/powerpoint/2010/main" val="23454005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8" grpId="0" animBg="1"/>
      <p:bldP spid="29" grpId="0" animBg="1"/>
      <p:bldP spid="30" grpId="0" animBg="1"/>
      <p:bldP spid="31" grpId="0" animBg="1"/>
      <p:bldP spid="32" grpId="0" animBg="1"/>
      <p:bldP spid="33" grpId="0" animBg="1"/>
      <p:bldP spid="34"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Inhaltsplatzhalter 6">
            <a:extLst>
              <a:ext uri="{FF2B5EF4-FFF2-40B4-BE49-F238E27FC236}">
                <a16:creationId xmlns:a16="http://schemas.microsoft.com/office/drawing/2014/main" id="{C619EA10-47CE-4B1A-BAA4-797664F8BA40}"/>
              </a:ext>
            </a:extLst>
          </p:cNvPr>
          <p:cNvSpPr>
            <a:spLocks noGrp="1"/>
          </p:cNvSpPr>
          <p:nvPr>
            <p:ph sz="quarter" idx="19"/>
          </p:nvPr>
        </p:nvSpPr>
        <p:spPr>
          <a:xfrm>
            <a:off x="219267" y="1157064"/>
            <a:ext cx="3693508" cy="3455988"/>
          </a:xfrm>
        </p:spPr>
        <p:txBody>
          <a:bodyPr>
            <a:normAutofit/>
          </a:bodyPr>
          <a:lstStyle/>
          <a:p>
            <a:pPr>
              <a:buFont typeface="Arial" panose="020B0604020202020204" pitchFamily="34" charset="0"/>
              <a:buChar char="•"/>
            </a:pPr>
            <a:r>
              <a:rPr lang="de-DE" err="1"/>
              <a:t>Perfom</a:t>
            </a:r>
            <a:r>
              <a:rPr lang="de-DE"/>
              <a:t> </a:t>
            </a:r>
            <a:r>
              <a:rPr lang="de-DE" err="1"/>
              <a:t>the</a:t>
            </a:r>
            <a:r>
              <a:rPr lang="de-DE"/>
              <a:t> UDI </a:t>
            </a:r>
            <a:r>
              <a:rPr lang="de-DE" err="1"/>
              <a:t>data</a:t>
            </a:r>
            <a:r>
              <a:rPr lang="de-DE"/>
              <a:t> check </a:t>
            </a:r>
          </a:p>
          <a:p>
            <a:pPr>
              <a:buFont typeface="Arial" panose="020B0604020202020204" pitchFamily="34" charset="0"/>
              <a:buChar char="•"/>
            </a:pPr>
            <a:r>
              <a:rPr lang="de-DE"/>
              <a:t>Upload </a:t>
            </a:r>
            <a:r>
              <a:rPr lang="de-DE" err="1"/>
              <a:t>the</a:t>
            </a:r>
            <a:r>
              <a:rPr lang="de-DE"/>
              <a:t> UDI </a:t>
            </a:r>
            <a:r>
              <a:rPr lang="de-DE" err="1"/>
              <a:t>data</a:t>
            </a:r>
            <a:r>
              <a:rPr lang="de-DE"/>
              <a:t> </a:t>
            </a:r>
            <a:endParaRPr lang="en-US"/>
          </a:p>
        </p:txBody>
      </p:sp>
      <p:sp>
        <p:nvSpPr>
          <p:cNvPr id="16" name="Textplatzhalter 5">
            <a:extLst>
              <a:ext uri="{FF2B5EF4-FFF2-40B4-BE49-F238E27FC236}">
                <a16:creationId xmlns:a16="http://schemas.microsoft.com/office/drawing/2014/main" id="{E6E48567-ACC1-482E-81E5-56FC06BFBF80}"/>
              </a:ext>
            </a:extLst>
          </p:cNvPr>
          <p:cNvSpPr>
            <a:spLocks noGrp="1"/>
          </p:cNvSpPr>
          <p:nvPr>
            <p:ph type="body" sz="quarter" idx="18"/>
          </p:nvPr>
        </p:nvSpPr>
        <p:spPr>
          <a:xfrm>
            <a:off x="219267" y="794161"/>
            <a:ext cx="8600883" cy="330544"/>
          </a:xfrm>
        </p:spPr>
        <p:txBody>
          <a:bodyPr>
            <a:normAutofit/>
          </a:bodyPr>
          <a:lstStyle/>
          <a:p>
            <a:r>
              <a:rPr lang="de-DE"/>
              <a:t>2.3 </a:t>
            </a:r>
            <a:r>
              <a:rPr lang="en-US"/>
              <a:t>Product creation with Excel</a:t>
            </a:r>
          </a:p>
        </p:txBody>
      </p:sp>
      <p:sp>
        <p:nvSpPr>
          <p:cNvPr id="17" name="Titel 2">
            <a:extLst>
              <a:ext uri="{FF2B5EF4-FFF2-40B4-BE49-F238E27FC236}">
                <a16:creationId xmlns:a16="http://schemas.microsoft.com/office/drawing/2014/main" id="{757C3ABF-64B1-4FC5-AA42-5C7A3FED1081}"/>
              </a:ext>
            </a:extLst>
          </p:cNvPr>
          <p:cNvSpPr>
            <a:spLocks noGrp="1"/>
          </p:cNvSpPr>
          <p:nvPr>
            <p:ph type="title"/>
          </p:nvPr>
        </p:nvSpPr>
        <p:spPr>
          <a:xfrm>
            <a:off x="269393" y="78770"/>
            <a:ext cx="7907189" cy="330545"/>
          </a:xfrm>
        </p:spPr>
        <p:txBody>
          <a:bodyPr>
            <a:normAutofit fontScale="90000"/>
          </a:bodyPr>
          <a:lstStyle/>
          <a:p>
            <a:r>
              <a:rPr lang="de-DE"/>
              <a:t>2. </a:t>
            </a:r>
            <a:r>
              <a:rPr lang="en-US"/>
              <a:t>W</a:t>
            </a:r>
            <a:r>
              <a:rPr lang="en-US" sz="1800" b="1"/>
              <a:t>ork processes from the database to data transmission </a:t>
            </a:r>
            <a:endParaRPr lang="de-DE"/>
          </a:p>
        </p:txBody>
      </p:sp>
      <p:pic>
        <p:nvPicPr>
          <p:cNvPr id="4" name="Grafik 3">
            <a:extLst>
              <a:ext uri="{FF2B5EF4-FFF2-40B4-BE49-F238E27FC236}">
                <a16:creationId xmlns:a16="http://schemas.microsoft.com/office/drawing/2014/main" id="{2B369030-F7B1-4CD4-96DB-7B8FF1A168AA}"/>
              </a:ext>
            </a:extLst>
          </p:cNvPr>
          <p:cNvPicPr>
            <a:picLocks noChangeAspect="1"/>
          </p:cNvPicPr>
          <p:nvPr/>
        </p:nvPicPr>
        <p:blipFill>
          <a:blip r:embed="rId2"/>
          <a:stretch>
            <a:fillRect/>
          </a:stretch>
        </p:blipFill>
        <p:spPr>
          <a:xfrm>
            <a:off x="293643" y="1809076"/>
            <a:ext cx="7558126" cy="1616772"/>
          </a:xfrm>
          <a:prstGeom prst="rect">
            <a:avLst/>
          </a:prstGeom>
          <a:ln w="19050">
            <a:solidFill>
              <a:srgbClr val="2F5597"/>
            </a:solidFill>
          </a:ln>
          <a:effectLst/>
        </p:spPr>
      </p:pic>
      <p:sp>
        <p:nvSpPr>
          <p:cNvPr id="43" name="Rechteck 42">
            <a:extLst>
              <a:ext uri="{FF2B5EF4-FFF2-40B4-BE49-F238E27FC236}">
                <a16:creationId xmlns:a16="http://schemas.microsoft.com/office/drawing/2014/main" id="{921CCF4E-975F-4CB3-9D7E-0444EA0CDFA8}"/>
              </a:ext>
            </a:extLst>
          </p:cNvPr>
          <p:cNvSpPr/>
          <p:nvPr/>
        </p:nvSpPr>
        <p:spPr>
          <a:xfrm>
            <a:off x="364667" y="2011602"/>
            <a:ext cx="630727" cy="143721"/>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36" name="Ellipse 35">
            <a:extLst>
              <a:ext uri="{FF2B5EF4-FFF2-40B4-BE49-F238E27FC236}">
                <a16:creationId xmlns:a16="http://schemas.microsoft.com/office/drawing/2014/main" id="{44D3489F-2B54-4080-A4F6-18230F3B7081}"/>
              </a:ext>
            </a:extLst>
          </p:cNvPr>
          <p:cNvSpPr/>
          <p:nvPr/>
        </p:nvSpPr>
        <p:spPr>
          <a:xfrm>
            <a:off x="1093650" y="2042901"/>
            <a:ext cx="235621" cy="186072"/>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a:t>5</a:t>
            </a:r>
            <a:endParaRPr lang="en-US" sz="1000"/>
          </a:p>
        </p:txBody>
      </p:sp>
      <p:pic>
        <p:nvPicPr>
          <p:cNvPr id="6" name="Grafik 5">
            <a:extLst>
              <a:ext uri="{FF2B5EF4-FFF2-40B4-BE49-F238E27FC236}">
                <a16:creationId xmlns:a16="http://schemas.microsoft.com/office/drawing/2014/main" id="{A4D6F3B7-31A1-4EDB-9AF0-D2484725B250}"/>
              </a:ext>
            </a:extLst>
          </p:cNvPr>
          <p:cNvPicPr>
            <a:picLocks noChangeAspect="1"/>
          </p:cNvPicPr>
          <p:nvPr/>
        </p:nvPicPr>
        <p:blipFill>
          <a:blip r:embed="rId3"/>
          <a:stretch>
            <a:fillRect/>
          </a:stretch>
        </p:blipFill>
        <p:spPr>
          <a:xfrm>
            <a:off x="293643" y="1804430"/>
            <a:ext cx="7541168" cy="1616772"/>
          </a:xfrm>
          <a:prstGeom prst="rect">
            <a:avLst/>
          </a:prstGeom>
          <a:ln w="19050">
            <a:solidFill>
              <a:srgbClr val="2F5597"/>
            </a:solidFill>
          </a:ln>
          <a:effectLst/>
        </p:spPr>
      </p:pic>
      <p:sp>
        <p:nvSpPr>
          <p:cNvPr id="21" name="Rechteck 20">
            <a:extLst>
              <a:ext uri="{FF2B5EF4-FFF2-40B4-BE49-F238E27FC236}">
                <a16:creationId xmlns:a16="http://schemas.microsoft.com/office/drawing/2014/main" id="{6EF2C1FF-DABD-455D-AD7D-CFE34D23AEB9}"/>
              </a:ext>
            </a:extLst>
          </p:cNvPr>
          <p:cNvSpPr/>
          <p:nvPr/>
        </p:nvSpPr>
        <p:spPr>
          <a:xfrm>
            <a:off x="939126" y="2002855"/>
            <a:ext cx="740125" cy="171562"/>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38" name="Ellipse 37">
            <a:extLst>
              <a:ext uri="{FF2B5EF4-FFF2-40B4-BE49-F238E27FC236}">
                <a16:creationId xmlns:a16="http://schemas.microsoft.com/office/drawing/2014/main" id="{683AB757-9064-4D13-8D12-E8240260DE31}"/>
              </a:ext>
            </a:extLst>
          </p:cNvPr>
          <p:cNvSpPr/>
          <p:nvPr/>
        </p:nvSpPr>
        <p:spPr>
          <a:xfrm>
            <a:off x="1701547" y="2135937"/>
            <a:ext cx="187707" cy="175357"/>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a:t>6</a:t>
            </a:r>
            <a:endParaRPr lang="en-US" sz="1000"/>
          </a:p>
        </p:txBody>
      </p:sp>
      <p:pic>
        <p:nvPicPr>
          <p:cNvPr id="13" name="Grafik 12">
            <a:extLst>
              <a:ext uri="{FF2B5EF4-FFF2-40B4-BE49-F238E27FC236}">
                <a16:creationId xmlns:a16="http://schemas.microsoft.com/office/drawing/2014/main" id="{A5025E72-A035-48A8-BF56-B58F5652097F}"/>
              </a:ext>
            </a:extLst>
          </p:cNvPr>
          <p:cNvPicPr>
            <a:picLocks noChangeAspect="1"/>
          </p:cNvPicPr>
          <p:nvPr/>
        </p:nvPicPr>
        <p:blipFill>
          <a:blip r:embed="rId4"/>
          <a:stretch>
            <a:fillRect/>
          </a:stretch>
        </p:blipFill>
        <p:spPr>
          <a:xfrm>
            <a:off x="293643" y="1821598"/>
            <a:ext cx="7595322" cy="2202530"/>
          </a:xfrm>
          <a:prstGeom prst="rect">
            <a:avLst/>
          </a:prstGeom>
          <a:ln w="19050">
            <a:solidFill>
              <a:srgbClr val="2F5597"/>
            </a:solidFill>
          </a:ln>
          <a:effectLst/>
        </p:spPr>
      </p:pic>
      <p:sp>
        <p:nvSpPr>
          <p:cNvPr id="15" name="Rechteck 14">
            <a:extLst>
              <a:ext uri="{FF2B5EF4-FFF2-40B4-BE49-F238E27FC236}">
                <a16:creationId xmlns:a16="http://schemas.microsoft.com/office/drawing/2014/main" id="{B53F3D20-4D2B-4CEA-8298-9BBD85376FB5}"/>
              </a:ext>
            </a:extLst>
          </p:cNvPr>
          <p:cNvSpPr/>
          <p:nvPr/>
        </p:nvSpPr>
        <p:spPr>
          <a:xfrm>
            <a:off x="1458490" y="3783106"/>
            <a:ext cx="607531" cy="12353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8" name="Ellipse 17">
            <a:extLst>
              <a:ext uri="{FF2B5EF4-FFF2-40B4-BE49-F238E27FC236}">
                <a16:creationId xmlns:a16="http://schemas.microsoft.com/office/drawing/2014/main" id="{4035C889-8334-4B00-AB62-6DF91A040FB4}"/>
              </a:ext>
            </a:extLst>
          </p:cNvPr>
          <p:cNvSpPr/>
          <p:nvPr/>
        </p:nvSpPr>
        <p:spPr>
          <a:xfrm>
            <a:off x="1972167" y="3572124"/>
            <a:ext cx="187707" cy="175357"/>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a:t>7</a:t>
            </a:r>
            <a:endParaRPr lang="en-US" sz="1000"/>
          </a:p>
        </p:txBody>
      </p:sp>
      <p:grpSp>
        <p:nvGrpSpPr>
          <p:cNvPr id="3" name="Gruppieren 2">
            <a:extLst>
              <a:ext uri="{FF2B5EF4-FFF2-40B4-BE49-F238E27FC236}">
                <a16:creationId xmlns:a16="http://schemas.microsoft.com/office/drawing/2014/main" id="{D4C95012-9AEB-4A48-9C73-87D0003858A1}"/>
              </a:ext>
            </a:extLst>
          </p:cNvPr>
          <p:cNvGrpSpPr/>
          <p:nvPr/>
        </p:nvGrpSpPr>
        <p:grpSpPr>
          <a:xfrm>
            <a:off x="293643" y="1809076"/>
            <a:ext cx="7632518" cy="2223881"/>
            <a:chOff x="293643" y="1809076"/>
            <a:chExt cx="7632518" cy="2223881"/>
          </a:xfrm>
        </p:grpSpPr>
        <p:pic>
          <p:nvPicPr>
            <p:cNvPr id="8" name="Grafik 7">
              <a:extLst>
                <a:ext uri="{FF2B5EF4-FFF2-40B4-BE49-F238E27FC236}">
                  <a16:creationId xmlns:a16="http://schemas.microsoft.com/office/drawing/2014/main" id="{5AA63617-5558-4EDD-9BC3-6D13127FE0BF}"/>
                </a:ext>
              </a:extLst>
            </p:cNvPr>
            <p:cNvPicPr>
              <a:picLocks noChangeAspect="1"/>
            </p:cNvPicPr>
            <p:nvPr/>
          </p:nvPicPr>
          <p:blipFill rotWithShape="1">
            <a:blip r:embed="rId5"/>
            <a:srcRect l="566" r="26087" b="20286"/>
            <a:stretch/>
          </p:blipFill>
          <p:spPr>
            <a:xfrm>
              <a:off x="293643" y="1809076"/>
              <a:ext cx="7632518" cy="2223881"/>
            </a:xfrm>
            <a:prstGeom prst="rect">
              <a:avLst/>
            </a:prstGeom>
            <a:ln w="19050">
              <a:solidFill>
                <a:srgbClr val="2F5597"/>
              </a:solidFill>
            </a:ln>
            <a:effectLst/>
          </p:spPr>
        </p:pic>
        <p:sp>
          <p:nvSpPr>
            <p:cNvPr id="2" name="Rechteck 1">
              <a:extLst>
                <a:ext uri="{FF2B5EF4-FFF2-40B4-BE49-F238E27FC236}">
                  <a16:creationId xmlns:a16="http://schemas.microsoft.com/office/drawing/2014/main" id="{A65B305A-F79C-4E0C-B065-AFEEA04AE86A}"/>
                </a:ext>
              </a:extLst>
            </p:cNvPr>
            <p:cNvSpPr/>
            <p:nvPr/>
          </p:nvSpPr>
          <p:spPr>
            <a:xfrm>
              <a:off x="364667" y="2931459"/>
              <a:ext cx="448880" cy="1054977"/>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15939463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8"/>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36" grpId="0" animBg="1"/>
      <p:bldP spid="21" grpId="0" animBg="1"/>
      <p:bldP spid="38" grpId="0" animBg="1"/>
      <p:bldP spid="15" grpId="0" animBg="1"/>
      <p:bldP spid="18"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platzhalter 5">
            <a:extLst>
              <a:ext uri="{FF2B5EF4-FFF2-40B4-BE49-F238E27FC236}">
                <a16:creationId xmlns:a16="http://schemas.microsoft.com/office/drawing/2014/main" id="{E6E48567-ACC1-482E-81E5-56FC06BFBF80}"/>
              </a:ext>
            </a:extLst>
          </p:cNvPr>
          <p:cNvSpPr>
            <a:spLocks noGrp="1"/>
          </p:cNvSpPr>
          <p:nvPr>
            <p:ph type="body" sz="quarter" idx="18"/>
          </p:nvPr>
        </p:nvSpPr>
        <p:spPr>
          <a:xfrm>
            <a:off x="219267" y="794161"/>
            <a:ext cx="8600883" cy="330544"/>
          </a:xfrm>
        </p:spPr>
        <p:txBody>
          <a:bodyPr>
            <a:normAutofit/>
          </a:bodyPr>
          <a:lstStyle/>
          <a:p>
            <a:r>
              <a:rPr lang="de-DE"/>
              <a:t>2.3 </a:t>
            </a:r>
            <a:r>
              <a:rPr lang="en-US"/>
              <a:t>Product creation with Excel</a:t>
            </a:r>
          </a:p>
          <a:p>
            <a:endParaRPr lang="en-US"/>
          </a:p>
          <a:p>
            <a:endParaRPr lang="de-DE"/>
          </a:p>
          <a:p>
            <a:endParaRPr lang="de-DE"/>
          </a:p>
        </p:txBody>
      </p:sp>
      <p:sp>
        <p:nvSpPr>
          <p:cNvPr id="17" name="Titel 2">
            <a:extLst>
              <a:ext uri="{FF2B5EF4-FFF2-40B4-BE49-F238E27FC236}">
                <a16:creationId xmlns:a16="http://schemas.microsoft.com/office/drawing/2014/main" id="{757C3ABF-64B1-4FC5-AA42-5C7A3FED1081}"/>
              </a:ext>
            </a:extLst>
          </p:cNvPr>
          <p:cNvSpPr>
            <a:spLocks noGrp="1"/>
          </p:cNvSpPr>
          <p:nvPr>
            <p:ph type="title"/>
          </p:nvPr>
        </p:nvSpPr>
        <p:spPr>
          <a:xfrm>
            <a:off x="269393" y="78770"/>
            <a:ext cx="7907189" cy="330545"/>
          </a:xfrm>
        </p:spPr>
        <p:txBody>
          <a:bodyPr>
            <a:normAutofit fontScale="90000"/>
          </a:bodyPr>
          <a:lstStyle/>
          <a:p>
            <a:r>
              <a:rPr lang="de-DE"/>
              <a:t>2. </a:t>
            </a:r>
            <a:r>
              <a:rPr lang="en-US"/>
              <a:t>W</a:t>
            </a:r>
            <a:r>
              <a:rPr lang="en-US" sz="1800" b="1"/>
              <a:t>ork processes from the database to data transmission </a:t>
            </a:r>
            <a:endParaRPr lang="de-DE"/>
          </a:p>
        </p:txBody>
      </p:sp>
      <p:pic>
        <p:nvPicPr>
          <p:cNvPr id="3" name="Grafik 2">
            <a:extLst>
              <a:ext uri="{FF2B5EF4-FFF2-40B4-BE49-F238E27FC236}">
                <a16:creationId xmlns:a16="http://schemas.microsoft.com/office/drawing/2014/main" id="{3C77731F-620E-4B85-91BD-EBBE3ACAD315}"/>
              </a:ext>
            </a:extLst>
          </p:cNvPr>
          <p:cNvPicPr>
            <a:picLocks noChangeAspect="1"/>
          </p:cNvPicPr>
          <p:nvPr/>
        </p:nvPicPr>
        <p:blipFill>
          <a:blip r:embed="rId2"/>
          <a:stretch>
            <a:fillRect/>
          </a:stretch>
        </p:blipFill>
        <p:spPr>
          <a:xfrm>
            <a:off x="269393" y="1400470"/>
            <a:ext cx="8305227" cy="2083251"/>
          </a:xfrm>
          <a:prstGeom prst="rect">
            <a:avLst/>
          </a:prstGeom>
          <a:ln w="19050">
            <a:solidFill>
              <a:srgbClr val="2F5597"/>
            </a:solidFill>
          </a:ln>
          <a:effectLst/>
        </p:spPr>
      </p:pic>
    </p:spTree>
    <p:extLst>
      <p:ext uri="{BB962C8B-B14F-4D97-AF65-F5344CB8AC3E}">
        <p14:creationId xmlns:p14="http://schemas.microsoft.com/office/powerpoint/2010/main" val="40106313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platzhalter 5">
            <a:extLst>
              <a:ext uri="{FF2B5EF4-FFF2-40B4-BE49-F238E27FC236}">
                <a16:creationId xmlns:a16="http://schemas.microsoft.com/office/drawing/2014/main" id="{7D2BEA0F-502D-421B-A01A-A056960C55A6}"/>
              </a:ext>
            </a:extLst>
          </p:cNvPr>
          <p:cNvSpPr>
            <a:spLocks noGrp="1"/>
          </p:cNvSpPr>
          <p:nvPr>
            <p:ph type="body" sz="quarter" idx="18"/>
          </p:nvPr>
        </p:nvSpPr>
        <p:spPr>
          <a:xfrm>
            <a:off x="219267" y="794161"/>
            <a:ext cx="8600883" cy="330544"/>
          </a:xfrm>
        </p:spPr>
        <p:txBody>
          <a:bodyPr>
            <a:normAutofit/>
          </a:bodyPr>
          <a:lstStyle/>
          <a:p>
            <a:r>
              <a:rPr lang="de-DE"/>
              <a:t>2.3 </a:t>
            </a:r>
            <a:r>
              <a:rPr lang="en-US"/>
              <a:t>Product creation with Excel</a:t>
            </a:r>
          </a:p>
          <a:p>
            <a:endParaRPr lang="en-US"/>
          </a:p>
          <a:p>
            <a:endParaRPr lang="de-DE"/>
          </a:p>
          <a:p>
            <a:endParaRPr lang="de-DE"/>
          </a:p>
        </p:txBody>
      </p:sp>
      <p:sp>
        <p:nvSpPr>
          <p:cNvPr id="14" name="Titel 2">
            <a:extLst>
              <a:ext uri="{FF2B5EF4-FFF2-40B4-BE49-F238E27FC236}">
                <a16:creationId xmlns:a16="http://schemas.microsoft.com/office/drawing/2014/main" id="{1BBD26C9-6362-44AA-9EDC-8E6CDD75B082}"/>
              </a:ext>
            </a:extLst>
          </p:cNvPr>
          <p:cNvSpPr>
            <a:spLocks noGrp="1"/>
          </p:cNvSpPr>
          <p:nvPr>
            <p:ph type="title"/>
          </p:nvPr>
        </p:nvSpPr>
        <p:spPr>
          <a:xfrm>
            <a:off x="269393" y="78770"/>
            <a:ext cx="7907189" cy="330545"/>
          </a:xfrm>
        </p:spPr>
        <p:txBody>
          <a:bodyPr>
            <a:normAutofit fontScale="90000"/>
          </a:bodyPr>
          <a:lstStyle/>
          <a:p>
            <a:r>
              <a:rPr lang="de-DE"/>
              <a:t>2. </a:t>
            </a:r>
            <a:r>
              <a:rPr lang="en-US"/>
              <a:t>W</a:t>
            </a:r>
            <a:r>
              <a:rPr lang="en-US" sz="1800" b="1"/>
              <a:t>ork processes from the database to data transmission </a:t>
            </a:r>
            <a:endParaRPr lang="de-DE"/>
          </a:p>
        </p:txBody>
      </p:sp>
      <p:sp>
        <p:nvSpPr>
          <p:cNvPr id="9" name="Inhaltsplatzhalter 6">
            <a:extLst>
              <a:ext uri="{FF2B5EF4-FFF2-40B4-BE49-F238E27FC236}">
                <a16:creationId xmlns:a16="http://schemas.microsoft.com/office/drawing/2014/main" id="{6EA210E0-48B9-4A31-9991-2A0879C7CF5A}"/>
              </a:ext>
            </a:extLst>
          </p:cNvPr>
          <p:cNvSpPr>
            <a:spLocks noGrp="1"/>
          </p:cNvSpPr>
          <p:nvPr>
            <p:ph sz="quarter" idx="19"/>
          </p:nvPr>
        </p:nvSpPr>
        <p:spPr>
          <a:xfrm>
            <a:off x="222658" y="1203598"/>
            <a:ext cx="7529269" cy="3455988"/>
          </a:xfrm>
        </p:spPr>
        <p:txBody>
          <a:bodyPr>
            <a:normAutofit/>
          </a:bodyPr>
          <a:lstStyle/>
          <a:p>
            <a:pPr marL="0" indent="0">
              <a:buNone/>
            </a:pPr>
            <a:r>
              <a:rPr lang="en-US"/>
              <a:t>Excerpt from the “UDI EU data upload template.xlsx” </a:t>
            </a:r>
          </a:p>
        </p:txBody>
      </p:sp>
      <p:pic>
        <p:nvPicPr>
          <p:cNvPr id="3" name="Grafik 2">
            <a:extLst>
              <a:ext uri="{FF2B5EF4-FFF2-40B4-BE49-F238E27FC236}">
                <a16:creationId xmlns:a16="http://schemas.microsoft.com/office/drawing/2014/main" id="{D6559161-DEEA-45A8-B605-5EDCB5D1BDA9}"/>
              </a:ext>
            </a:extLst>
          </p:cNvPr>
          <p:cNvPicPr>
            <a:picLocks noChangeAspect="1"/>
          </p:cNvPicPr>
          <p:nvPr/>
        </p:nvPicPr>
        <p:blipFill>
          <a:blip r:embed="rId2"/>
          <a:stretch>
            <a:fillRect/>
          </a:stretch>
        </p:blipFill>
        <p:spPr>
          <a:xfrm>
            <a:off x="472204" y="1509551"/>
            <a:ext cx="3686372" cy="3127534"/>
          </a:xfrm>
          <a:prstGeom prst="rect">
            <a:avLst/>
          </a:prstGeom>
          <a:ln w="19050">
            <a:solidFill>
              <a:srgbClr val="2F5597"/>
            </a:solidFill>
          </a:ln>
          <a:effectLst/>
        </p:spPr>
      </p:pic>
      <p:pic>
        <p:nvPicPr>
          <p:cNvPr id="5" name="Grafik 4">
            <a:extLst>
              <a:ext uri="{FF2B5EF4-FFF2-40B4-BE49-F238E27FC236}">
                <a16:creationId xmlns:a16="http://schemas.microsoft.com/office/drawing/2014/main" id="{35D77381-CD61-40B4-A8C2-72C9B61CC110}"/>
              </a:ext>
            </a:extLst>
          </p:cNvPr>
          <p:cNvPicPr>
            <a:picLocks noChangeAspect="1"/>
          </p:cNvPicPr>
          <p:nvPr/>
        </p:nvPicPr>
        <p:blipFill>
          <a:blip r:embed="rId3"/>
          <a:stretch>
            <a:fillRect/>
          </a:stretch>
        </p:blipFill>
        <p:spPr>
          <a:xfrm>
            <a:off x="4260349" y="1509551"/>
            <a:ext cx="4411447" cy="2801461"/>
          </a:xfrm>
          <a:prstGeom prst="rect">
            <a:avLst/>
          </a:prstGeom>
          <a:ln w="19050">
            <a:solidFill>
              <a:srgbClr val="2F5597"/>
            </a:solidFill>
          </a:ln>
          <a:effectLst/>
        </p:spPr>
      </p:pic>
    </p:spTree>
    <p:extLst>
      <p:ext uri="{BB962C8B-B14F-4D97-AF65-F5344CB8AC3E}">
        <p14:creationId xmlns:p14="http://schemas.microsoft.com/office/powerpoint/2010/main" val="11810251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platzhalter 5">
            <a:extLst>
              <a:ext uri="{FF2B5EF4-FFF2-40B4-BE49-F238E27FC236}">
                <a16:creationId xmlns:a16="http://schemas.microsoft.com/office/drawing/2014/main" id="{7D2BEA0F-502D-421B-A01A-A056960C55A6}"/>
              </a:ext>
            </a:extLst>
          </p:cNvPr>
          <p:cNvSpPr>
            <a:spLocks noGrp="1"/>
          </p:cNvSpPr>
          <p:nvPr>
            <p:ph type="body" sz="quarter" idx="18"/>
          </p:nvPr>
        </p:nvSpPr>
        <p:spPr>
          <a:xfrm>
            <a:off x="219267" y="794161"/>
            <a:ext cx="8600883" cy="330544"/>
          </a:xfrm>
        </p:spPr>
        <p:txBody>
          <a:bodyPr>
            <a:normAutofit/>
          </a:bodyPr>
          <a:lstStyle/>
          <a:p>
            <a:r>
              <a:rPr lang="de-DE"/>
              <a:t>2.3 </a:t>
            </a:r>
            <a:r>
              <a:rPr lang="en-US"/>
              <a:t>Product creation with Excel</a:t>
            </a:r>
          </a:p>
          <a:p>
            <a:endParaRPr lang="en-US"/>
          </a:p>
          <a:p>
            <a:endParaRPr lang="de-DE"/>
          </a:p>
          <a:p>
            <a:endParaRPr lang="de-DE"/>
          </a:p>
        </p:txBody>
      </p:sp>
      <p:sp>
        <p:nvSpPr>
          <p:cNvPr id="14" name="Titel 2">
            <a:extLst>
              <a:ext uri="{FF2B5EF4-FFF2-40B4-BE49-F238E27FC236}">
                <a16:creationId xmlns:a16="http://schemas.microsoft.com/office/drawing/2014/main" id="{1BBD26C9-6362-44AA-9EDC-8E6CDD75B082}"/>
              </a:ext>
            </a:extLst>
          </p:cNvPr>
          <p:cNvSpPr>
            <a:spLocks noGrp="1"/>
          </p:cNvSpPr>
          <p:nvPr>
            <p:ph type="title"/>
          </p:nvPr>
        </p:nvSpPr>
        <p:spPr>
          <a:xfrm>
            <a:off x="269393" y="78770"/>
            <a:ext cx="7907189" cy="330545"/>
          </a:xfrm>
        </p:spPr>
        <p:txBody>
          <a:bodyPr>
            <a:normAutofit fontScale="90000"/>
          </a:bodyPr>
          <a:lstStyle/>
          <a:p>
            <a:r>
              <a:rPr lang="de-DE"/>
              <a:t>2. </a:t>
            </a:r>
            <a:r>
              <a:rPr lang="en-US"/>
              <a:t>W</a:t>
            </a:r>
            <a:r>
              <a:rPr lang="en-US" sz="1800" b="1"/>
              <a:t>ork processes from the database to data transmission </a:t>
            </a:r>
            <a:endParaRPr lang="de-DE"/>
          </a:p>
        </p:txBody>
      </p:sp>
      <p:sp>
        <p:nvSpPr>
          <p:cNvPr id="9" name="Inhaltsplatzhalter 6">
            <a:extLst>
              <a:ext uri="{FF2B5EF4-FFF2-40B4-BE49-F238E27FC236}">
                <a16:creationId xmlns:a16="http://schemas.microsoft.com/office/drawing/2014/main" id="{6EA210E0-48B9-4A31-9991-2A0879C7CF5A}"/>
              </a:ext>
            </a:extLst>
          </p:cNvPr>
          <p:cNvSpPr>
            <a:spLocks noGrp="1"/>
          </p:cNvSpPr>
          <p:nvPr>
            <p:ph sz="quarter" idx="19"/>
          </p:nvPr>
        </p:nvSpPr>
        <p:spPr>
          <a:xfrm>
            <a:off x="222658" y="1203598"/>
            <a:ext cx="7529269" cy="3455988"/>
          </a:xfrm>
        </p:spPr>
        <p:txBody>
          <a:bodyPr>
            <a:normAutofit/>
          </a:bodyPr>
          <a:lstStyle/>
          <a:p>
            <a:pPr marL="0" indent="0">
              <a:buNone/>
            </a:pPr>
            <a:r>
              <a:rPr lang="en-US"/>
              <a:t>Excerpt from the “UDI EU data upload template.xlsx” </a:t>
            </a:r>
          </a:p>
        </p:txBody>
      </p:sp>
      <p:pic>
        <p:nvPicPr>
          <p:cNvPr id="3" name="Grafik 2">
            <a:extLst>
              <a:ext uri="{FF2B5EF4-FFF2-40B4-BE49-F238E27FC236}">
                <a16:creationId xmlns:a16="http://schemas.microsoft.com/office/drawing/2014/main" id="{0BAF3C78-28CC-443A-B96C-EE121656946B}"/>
              </a:ext>
            </a:extLst>
          </p:cNvPr>
          <p:cNvPicPr>
            <a:picLocks noChangeAspect="1"/>
          </p:cNvPicPr>
          <p:nvPr/>
        </p:nvPicPr>
        <p:blipFill rotWithShape="1">
          <a:blip r:embed="rId3"/>
          <a:srcRect b="11236"/>
          <a:stretch/>
        </p:blipFill>
        <p:spPr>
          <a:xfrm>
            <a:off x="269393" y="1509551"/>
            <a:ext cx="8051027" cy="1519471"/>
          </a:xfrm>
          <a:prstGeom prst="rect">
            <a:avLst/>
          </a:prstGeom>
          <a:ln w="12700">
            <a:solidFill>
              <a:srgbClr val="2F5597"/>
            </a:solidFill>
          </a:ln>
          <a:effectLst/>
        </p:spPr>
      </p:pic>
      <p:pic>
        <p:nvPicPr>
          <p:cNvPr id="6" name="Grafik 5">
            <a:extLst>
              <a:ext uri="{FF2B5EF4-FFF2-40B4-BE49-F238E27FC236}">
                <a16:creationId xmlns:a16="http://schemas.microsoft.com/office/drawing/2014/main" id="{0A41A23C-450A-4D72-B30C-793BCE9FD4B1}"/>
              </a:ext>
            </a:extLst>
          </p:cNvPr>
          <p:cNvPicPr>
            <a:picLocks noChangeAspect="1"/>
          </p:cNvPicPr>
          <p:nvPr/>
        </p:nvPicPr>
        <p:blipFill>
          <a:blip r:embed="rId4"/>
          <a:stretch>
            <a:fillRect/>
          </a:stretch>
        </p:blipFill>
        <p:spPr>
          <a:xfrm>
            <a:off x="269393" y="3125034"/>
            <a:ext cx="8051027" cy="1534552"/>
          </a:xfrm>
          <a:prstGeom prst="rect">
            <a:avLst/>
          </a:prstGeom>
          <a:ln w="12700">
            <a:solidFill>
              <a:srgbClr val="2F5597"/>
            </a:solidFill>
          </a:ln>
          <a:effectLst/>
        </p:spPr>
      </p:pic>
    </p:spTree>
    <p:extLst>
      <p:ext uri="{BB962C8B-B14F-4D97-AF65-F5344CB8AC3E}">
        <p14:creationId xmlns:p14="http://schemas.microsoft.com/office/powerpoint/2010/main" val="40503918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A19744FE-0122-4458-A703-1ED9355A7C5F}"/>
              </a:ext>
            </a:extLst>
          </p:cNvPr>
          <p:cNvSpPr>
            <a:spLocks noGrp="1"/>
          </p:cNvSpPr>
          <p:nvPr>
            <p:ph type="body" sz="quarter" idx="18"/>
          </p:nvPr>
        </p:nvSpPr>
        <p:spPr/>
        <p:txBody>
          <a:bodyPr>
            <a:normAutofit/>
          </a:bodyPr>
          <a:lstStyle/>
          <a:p>
            <a:r>
              <a:rPr lang="de-DE"/>
              <a:t>2.4 </a:t>
            </a:r>
            <a:r>
              <a:rPr lang="en-US"/>
              <a:t>Mass change with Excel</a:t>
            </a:r>
          </a:p>
          <a:p>
            <a:endParaRPr lang="de-DE"/>
          </a:p>
          <a:p>
            <a:endParaRPr lang="de-DE"/>
          </a:p>
        </p:txBody>
      </p:sp>
      <p:sp>
        <p:nvSpPr>
          <p:cNvPr id="3" name="Titel 2">
            <a:extLst>
              <a:ext uri="{FF2B5EF4-FFF2-40B4-BE49-F238E27FC236}">
                <a16:creationId xmlns:a16="http://schemas.microsoft.com/office/drawing/2014/main" id="{17403686-94D3-4A24-BDEB-07854049E7FA}"/>
              </a:ext>
            </a:extLst>
          </p:cNvPr>
          <p:cNvSpPr>
            <a:spLocks noGrp="1"/>
          </p:cNvSpPr>
          <p:nvPr>
            <p:ph type="title"/>
          </p:nvPr>
        </p:nvSpPr>
        <p:spPr/>
        <p:txBody>
          <a:bodyPr>
            <a:normAutofit fontScale="90000"/>
          </a:bodyPr>
          <a:lstStyle/>
          <a:p>
            <a:r>
              <a:rPr lang="de-DE"/>
              <a:t>2. </a:t>
            </a:r>
            <a:r>
              <a:rPr lang="en-US"/>
              <a:t>W</a:t>
            </a:r>
            <a:r>
              <a:rPr lang="en-US" sz="1800" b="1"/>
              <a:t>ork processes from the database to data transmission </a:t>
            </a:r>
            <a:endParaRPr lang="de-DE"/>
          </a:p>
        </p:txBody>
      </p:sp>
      <p:sp>
        <p:nvSpPr>
          <p:cNvPr id="31" name="Rechteck: abgerundete Ecken 30">
            <a:extLst>
              <a:ext uri="{FF2B5EF4-FFF2-40B4-BE49-F238E27FC236}">
                <a16:creationId xmlns:a16="http://schemas.microsoft.com/office/drawing/2014/main" id="{C2E356A7-F0C9-4E37-8904-4CFAE1F864A1}"/>
              </a:ext>
            </a:extLst>
          </p:cNvPr>
          <p:cNvSpPr/>
          <p:nvPr/>
        </p:nvSpPr>
        <p:spPr>
          <a:xfrm>
            <a:off x="5124177" y="1827482"/>
            <a:ext cx="1797627" cy="1936246"/>
          </a:xfrm>
          <a:prstGeom prst="round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sz="1200" b="1">
                <a:solidFill>
                  <a:schemeClr val="tx1"/>
                </a:solidFill>
                <a:latin typeface="Arial" panose="020B0604020202020204" pitchFamily="34" charset="0"/>
                <a:cs typeface="Arial" panose="020B0604020202020204" pitchFamily="34" charset="0"/>
              </a:rPr>
              <a:t>Data </a:t>
            </a:r>
            <a:r>
              <a:rPr lang="de-DE" sz="1200" b="1" err="1">
                <a:solidFill>
                  <a:schemeClr val="tx1"/>
                </a:solidFill>
                <a:latin typeface="Arial" panose="020B0604020202020204" pitchFamily="34" charset="0"/>
                <a:cs typeface="Arial" panose="020B0604020202020204" pitchFamily="34" charset="0"/>
              </a:rPr>
              <a:t>transmission</a:t>
            </a:r>
            <a:endParaRPr lang="de-DE" sz="1200" b="1">
              <a:solidFill>
                <a:schemeClr val="tx1"/>
              </a:solidFill>
              <a:latin typeface="Arial" panose="020B0604020202020204" pitchFamily="34" charset="0"/>
              <a:cs typeface="Arial" panose="020B0604020202020204" pitchFamily="34" charset="0"/>
            </a:endParaRPr>
          </a:p>
          <a:p>
            <a:pPr algn="ctr"/>
            <a:endParaRPr lang="de-DE" sz="1200">
              <a:latin typeface="Arial" panose="020B0604020202020204" pitchFamily="34" charset="0"/>
              <a:cs typeface="Arial" panose="020B0604020202020204" pitchFamily="34" charset="0"/>
            </a:endParaRPr>
          </a:p>
          <a:p>
            <a:pPr algn="ctr"/>
            <a:endParaRPr lang="de-DE" sz="1200">
              <a:latin typeface="Arial" panose="020B0604020202020204" pitchFamily="34" charset="0"/>
              <a:cs typeface="Arial" panose="020B0604020202020204" pitchFamily="34" charset="0"/>
            </a:endParaRPr>
          </a:p>
          <a:p>
            <a:pPr algn="ctr"/>
            <a:endParaRPr lang="de-DE" sz="1200">
              <a:latin typeface="Arial" panose="020B0604020202020204" pitchFamily="34" charset="0"/>
              <a:cs typeface="Arial" panose="020B0604020202020204" pitchFamily="34" charset="0"/>
            </a:endParaRPr>
          </a:p>
          <a:p>
            <a:pPr algn="ctr"/>
            <a:endParaRPr lang="de-DE" sz="1200">
              <a:latin typeface="Arial" panose="020B0604020202020204" pitchFamily="34" charset="0"/>
              <a:cs typeface="Arial" panose="020B0604020202020204" pitchFamily="34" charset="0"/>
            </a:endParaRPr>
          </a:p>
          <a:p>
            <a:pPr algn="ctr"/>
            <a:endParaRPr lang="de-CH" sz="1200">
              <a:latin typeface="Arial" panose="020B0604020202020204" pitchFamily="34" charset="0"/>
              <a:cs typeface="Arial" panose="020B0604020202020204" pitchFamily="34" charset="0"/>
            </a:endParaRPr>
          </a:p>
        </p:txBody>
      </p:sp>
      <p:sp>
        <p:nvSpPr>
          <p:cNvPr id="35" name="Rechteck: abgerundete Ecken 34">
            <a:extLst>
              <a:ext uri="{FF2B5EF4-FFF2-40B4-BE49-F238E27FC236}">
                <a16:creationId xmlns:a16="http://schemas.microsoft.com/office/drawing/2014/main" id="{2F00C498-6C91-4802-B79A-B21A351086B1}"/>
              </a:ext>
            </a:extLst>
          </p:cNvPr>
          <p:cNvSpPr/>
          <p:nvPr/>
        </p:nvSpPr>
        <p:spPr>
          <a:xfrm>
            <a:off x="374876" y="1829725"/>
            <a:ext cx="1620000" cy="776776"/>
          </a:xfrm>
          <a:prstGeom prst="roundRect">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Arial" panose="020B0604020202020204" pitchFamily="34" charset="0"/>
                <a:cs typeface="Arial" panose="020B0604020202020204" pitchFamily="34" charset="0"/>
              </a:rPr>
              <a:t>Product creation in the Add-On</a:t>
            </a:r>
          </a:p>
        </p:txBody>
      </p:sp>
      <p:sp>
        <p:nvSpPr>
          <p:cNvPr id="36" name="Rechteck: abgerundete Ecken 35">
            <a:extLst>
              <a:ext uri="{FF2B5EF4-FFF2-40B4-BE49-F238E27FC236}">
                <a16:creationId xmlns:a16="http://schemas.microsoft.com/office/drawing/2014/main" id="{D66D3841-4BE4-4211-9A3B-E6FBAB054984}"/>
              </a:ext>
            </a:extLst>
          </p:cNvPr>
          <p:cNvSpPr/>
          <p:nvPr/>
        </p:nvSpPr>
        <p:spPr>
          <a:xfrm>
            <a:off x="2053233" y="1838140"/>
            <a:ext cx="1620000" cy="776776"/>
          </a:xfrm>
          <a:prstGeom prst="roundRect">
            <a:avLst/>
          </a:prstGeom>
          <a:solidFill>
            <a:srgbClr val="20386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err="1">
                <a:solidFill>
                  <a:schemeClr val="bg1"/>
                </a:solidFill>
                <a:latin typeface="Arial" panose="020B0604020202020204" pitchFamily="34" charset="0"/>
                <a:cs typeface="Arial" panose="020B0604020202020204" pitchFamily="34" charset="0"/>
              </a:rPr>
              <a:t>Product</a:t>
            </a:r>
            <a:r>
              <a:rPr lang="de-CH" sz="1200">
                <a:solidFill>
                  <a:schemeClr val="bg1"/>
                </a:solidFill>
                <a:latin typeface="Arial" panose="020B0604020202020204" pitchFamily="34" charset="0"/>
                <a:cs typeface="Arial" panose="020B0604020202020204" pitchFamily="34" charset="0"/>
              </a:rPr>
              <a:t> </a:t>
            </a:r>
            <a:r>
              <a:rPr lang="de-CH" sz="1200" err="1">
                <a:solidFill>
                  <a:schemeClr val="bg1"/>
                </a:solidFill>
                <a:latin typeface="Arial" panose="020B0604020202020204" pitchFamily="34" charset="0"/>
                <a:cs typeface="Arial" panose="020B0604020202020204" pitchFamily="34" charset="0"/>
              </a:rPr>
              <a:t>creation</a:t>
            </a:r>
            <a:r>
              <a:rPr lang="de-CH" sz="1200">
                <a:solidFill>
                  <a:schemeClr val="bg1"/>
                </a:solidFill>
                <a:latin typeface="Arial" panose="020B0604020202020204" pitchFamily="34" charset="0"/>
                <a:cs typeface="Arial" panose="020B0604020202020204" pitchFamily="34" charset="0"/>
              </a:rPr>
              <a:t> </a:t>
            </a:r>
            <a:r>
              <a:rPr lang="de-CH" sz="1200" err="1">
                <a:solidFill>
                  <a:schemeClr val="bg1"/>
                </a:solidFill>
                <a:latin typeface="Arial" panose="020B0604020202020204" pitchFamily="34" charset="0"/>
                <a:cs typeface="Arial" panose="020B0604020202020204" pitchFamily="34" charset="0"/>
              </a:rPr>
              <a:t>with</a:t>
            </a:r>
            <a:r>
              <a:rPr lang="de-CH" sz="1200">
                <a:solidFill>
                  <a:schemeClr val="bg1"/>
                </a:solidFill>
                <a:latin typeface="Arial" panose="020B0604020202020204" pitchFamily="34" charset="0"/>
                <a:cs typeface="Arial" panose="020B0604020202020204" pitchFamily="34" charset="0"/>
              </a:rPr>
              <a:t> Excel</a:t>
            </a:r>
          </a:p>
        </p:txBody>
      </p:sp>
      <p:sp>
        <p:nvSpPr>
          <p:cNvPr id="37" name="Rechteck: abgerundete Ecken 36">
            <a:extLst>
              <a:ext uri="{FF2B5EF4-FFF2-40B4-BE49-F238E27FC236}">
                <a16:creationId xmlns:a16="http://schemas.microsoft.com/office/drawing/2014/main" id="{C4BE9CCD-C203-414F-B252-20F9929F8E62}"/>
              </a:ext>
            </a:extLst>
          </p:cNvPr>
          <p:cNvSpPr/>
          <p:nvPr/>
        </p:nvSpPr>
        <p:spPr>
          <a:xfrm>
            <a:off x="1218206" y="2881040"/>
            <a:ext cx="1620000" cy="875128"/>
          </a:xfrm>
          <a:prstGeom prst="roundRect">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b="1">
                <a:latin typeface="Arial" panose="020B0604020202020204" pitchFamily="34" charset="0"/>
                <a:cs typeface="Arial" panose="020B0604020202020204" pitchFamily="34" charset="0"/>
              </a:rPr>
              <a:t>Mass </a:t>
            </a:r>
            <a:r>
              <a:rPr lang="de-CH" sz="1200" b="1" err="1">
                <a:latin typeface="Arial" panose="020B0604020202020204" pitchFamily="34" charset="0"/>
                <a:cs typeface="Arial" panose="020B0604020202020204" pitchFamily="34" charset="0"/>
              </a:rPr>
              <a:t>change</a:t>
            </a:r>
            <a:r>
              <a:rPr lang="de-CH" sz="1200" b="1">
                <a:latin typeface="Arial" panose="020B0604020202020204" pitchFamily="34" charset="0"/>
                <a:cs typeface="Arial" panose="020B0604020202020204" pitchFamily="34" charset="0"/>
              </a:rPr>
              <a:t> </a:t>
            </a:r>
          </a:p>
          <a:p>
            <a:pPr marL="171450" indent="-171450">
              <a:buFont typeface="Arial" panose="020B0604020202020204" pitchFamily="34" charset="0"/>
              <a:buChar char="•"/>
            </a:pPr>
            <a:r>
              <a:rPr lang="de-CH" sz="1200" b="1" err="1">
                <a:latin typeface="Arial" panose="020B0604020202020204" pitchFamily="34" charset="0"/>
                <a:cs typeface="Arial" panose="020B0604020202020204" pitchFamily="34" charset="0"/>
              </a:rPr>
              <a:t>with</a:t>
            </a:r>
            <a:r>
              <a:rPr lang="de-CH" sz="1200" b="1">
                <a:latin typeface="Arial" panose="020B0604020202020204" pitchFamily="34" charset="0"/>
                <a:cs typeface="Arial" panose="020B0604020202020204" pitchFamily="34" charset="0"/>
              </a:rPr>
              <a:t> Excel</a:t>
            </a:r>
          </a:p>
          <a:p>
            <a:pPr marL="171450" indent="-171450">
              <a:buFont typeface="Arial" panose="020B0604020202020204" pitchFamily="34" charset="0"/>
              <a:buChar char="•"/>
            </a:pPr>
            <a:r>
              <a:rPr lang="de-CH" sz="1200" b="1">
                <a:latin typeface="Arial" panose="020B0604020202020204" pitchFamily="34" charset="0"/>
                <a:cs typeface="Arial" panose="020B0604020202020204" pitchFamily="34" charset="0"/>
              </a:rPr>
              <a:t>in </a:t>
            </a:r>
            <a:r>
              <a:rPr lang="de-CH" sz="1200" b="1" err="1">
                <a:latin typeface="Arial" panose="020B0604020202020204" pitchFamily="34" charset="0"/>
                <a:cs typeface="Arial" panose="020B0604020202020204" pitchFamily="34" charset="0"/>
              </a:rPr>
              <a:t>the</a:t>
            </a:r>
            <a:r>
              <a:rPr lang="de-CH" sz="1200" b="1">
                <a:latin typeface="Arial" panose="020B0604020202020204" pitchFamily="34" charset="0"/>
                <a:cs typeface="Arial" panose="020B0604020202020204" pitchFamily="34" charset="0"/>
              </a:rPr>
              <a:t> Add-On</a:t>
            </a:r>
          </a:p>
        </p:txBody>
      </p:sp>
      <p:sp>
        <p:nvSpPr>
          <p:cNvPr id="38" name="Rechteck: abgerundete Ecken 37">
            <a:extLst>
              <a:ext uri="{FF2B5EF4-FFF2-40B4-BE49-F238E27FC236}">
                <a16:creationId xmlns:a16="http://schemas.microsoft.com/office/drawing/2014/main" id="{ED09656B-C0AC-4936-AD21-246475444A6A}"/>
              </a:ext>
            </a:extLst>
          </p:cNvPr>
          <p:cNvSpPr/>
          <p:nvPr/>
        </p:nvSpPr>
        <p:spPr>
          <a:xfrm>
            <a:off x="3209825" y="2881040"/>
            <a:ext cx="1620000" cy="875128"/>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a:latin typeface="Arial" panose="020B0604020202020204" pitchFamily="34" charset="0"/>
                <a:cs typeface="Arial" panose="020B0604020202020204" pitchFamily="34" charset="0"/>
              </a:rPr>
              <a:t>Data </a:t>
            </a:r>
            <a:r>
              <a:rPr lang="de-CH" sz="1200" err="1">
                <a:latin typeface="Arial" panose="020B0604020202020204" pitchFamily="34" charset="0"/>
                <a:cs typeface="Arial" panose="020B0604020202020204" pitchFamily="34" charset="0"/>
              </a:rPr>
              <a:t>overview</a:t>
            </a:r>
            <a:r>
              <a:rPr lang="de-CH" sz="1200">
                <a:latin typeface="Arial" panose="020B0604020202020204" pitchFamily="34" charset="0"/>
                <a:cs typeface="Arial" panose="020B0604020202020204" pitchFamily="34" charset="0"/>
              </a:rPr>
              <a:t>,</a:t>
            </a:r>
          </a:p>
          <a:p>
            <a:pPr algn="ctr"/>
            <a:r>
              <a:rPr lang="de-CH" sz="1200" err="1">
                <a:latin typeface="Arial" panose="020B0604020202020204" pitchFamily="34" charset="0"/>
                <a:cs typeface="Arial" panose="020B0604020202020204" pitchFamily="34" charset="0"/>
              </a:rPr>
              <a:t>visual</a:t>
            </a:r>
            <a:r>
              <a:rPr lang="de-CH" sz="1200">
                <a:latin typeface="Arial" panose="020B0604020202020204" pitchFamily="34" charset="0"/>
                <a:cs typeface="Arial" panose="020B0604020202020204" pitchFamily="34" charset="0"/>
              </a:rPr>
              <a:t> </a:t>
            </a:r>
            <a:r>
              <a:rPr lang="de-CH" sz="1200" err="1">
                <a:latin typeface="Arial" panose="020B0604020202020204" pitchFamily="34" charset="0"/>
                <a:cs typeface="Arial" panose="020B0604020202020204" pitchFamily="34" charset="0"/>
              </a:rPr>
              <a:t>data</a:t>
            </a:r>
            <a:r>
              <a:rPr lang="de-CH" sz="1200">
                <a:latin typeface="Arial" panose="020B0604020202020204" pitchFamily="34" charset="0"/>
                <a:cs typeface="Arial" panose="020B0604020202020204" pitchFamily="34" charset="0"/>
              </a:rPr>
              <a:t> check</a:t>
            </a:r>
          </a:p>
          <a:p>
            <a:pPr algn="ctr"/>
            <a:r>
              <a:rPr lang="de-CH" sz="1200">
                <a:latin typeface="Arial" panose="020B0604020202020204" pitchFamily="34" charset="0"/>
                <a:cs typeface="Arial" panose="020B0604020202020204" pitchFamily="34" charset="0"/>
              </a:rPr>
              <a:t>/UDI/Attributes</a:t>
            </a:r>
          </a:p>
        </p:txBody>
      </p:sp>
      <p:sp>
        <p:nvSpPr>
          <p:cNvPr id="39" name="Rechteck: abgerundete Ecken 38">
            <a:extLst>
              <a:ext uri="{FF2B5EF4-FFF2-40B4-BE49-F238E27FC236}">
                <a16:creationId xmlns:a16="http://schemas.microsoft.com/office/drawing/2014/main" id="{9A5867D7-3747-4F74-80A8-1B5AF417EA49}"/>
              </a:ext>
            </a:extLst>
          </p:cNvPr>
          <p:cNvSpPr/>
          <p:nvPr/>
        </p:nvSpPr>
        <p:spPr>
          <a:xfrm>
            <a:off x="5222731" y="4115115"/>
            <a:ext cx="1620000" cy="702778"/>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latin typeface="Arial" panose="020B0604020202020204" pitchFamily="34" charset="0"/>
                <a:cs typeface="Arial" panose="020B0604020202020204" pitchFamily="34" charset="0"/>
              </a:rPr>
              <a:t>Data release /</a:t>
            </a:r>
          </a:p>
          <a:p>
            <a:pPr algn="ctr"/>
            <a:r>
              <a:rPr lang="en-US" sz="1200">
                <a:latin typeface="Arial" panose="020B0604020202020204" pitchFamily="34" charset="0"/>
                <a:cs typeface="Arial" panose="020B0604020202020204" pitchFamily="34" charset="0"/>
              </a:rPr>
              <a:t>Lock trigger fields</a:t>
            </a:r>
          </a:p>
        </p:txBody>
      </p:sp>
      <p:sp>
        <p:nvSpPr>
          <p:cNvPr id="40" name="Rechteck: abgerundete Ecken 39">
            <a:extLst>
              <a:ext uri="{FF2B5EF4-FFF2-40B4-BE49-F238E27FC236}">
                <a16:creationId xmlns:a16="http://schemas.microsoft.com/office/drawing/2014/main" id="{1F9F01A8-FA07-42C7-AF3A-103F301FB65B}"/>
              </a:ext>
            </a:extLst>
          </p:cNvPr>
          <p:cNvSpPr/>
          <p:nvPr/>
        </p:nvSpPr>
        <p:spPr>
          <a:xfrm>
            <a:off x="5222731" y="2687416"/>
            <a:ext cx="1620000" cy="314633"/>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a:latin typeface="Arial" panose="020B0604020202020204" pitchFamily="34" charset="0"/>
                <a:cs typeface="Arial" panose="020B0604020202020204" pitchFamily="34" charset="0"/>
              </a:rPr>
              <a:t>XML </a:t>
            </a:r>
            <a:r>
              <a:rPr lang="de-CH" sz="1200" err="1">
                <a:latin typeface="Arial" panose="020B0604020202020204" pitchFamily="34" charset="0"/>
                <a:cs typeface="Arial" panose="020B0604020202020204" pitchFamily="34" charset="0"/>
              </a:rPr>
              <a:t>export</a:t>
            </a:r>
            <a:endParaRPr lang="de-CH" sz="1200">
              <a:latin typeface="Arial" panose="020B0604020202020204" pitchFamily="34" charset="0"/>
              <a:cs typeface="Arial" panose="020B0604020202020204" pitchFamily="34" charset="0"/>
            </a:endParaRPr>
          </a:p>
        </p:txBody>
      </p:sp>
      <p:sp>
        <p:nvSpPr>
          <p:cNvPr id="41" name="Rechteck: abgerundete Ecken 40">
            <a:extLst>
              <a:ext uri="{FF2B5EF4-FFF2-40B4-BE49-F238E27FC236}">
                <a16:creationId xmlns:a16="http://schemas.microsoft.com/office/drawing/2014/main" id="{8E2A35B4-08DC-4C68-80B1-B6FA91906473}"/>
              </a:ext>
            </a:extLst>
          </p:cNvPr>
          <p:cNvSpPr/>
          <p:nvPr/>
        </p:nvSpPr>
        <p:spPr>
          <a:xfrm>
            <a:off x="3209824" y="4115115"/>
            <a:ext cx="1620000" cy="702778"/>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a:latin typeface="Arial" panose="020B0604020202020204" pitchFamily="34" charset="0"/>
                <a:cs typeface="Arial" panose="020B0604020202020204" pitchFamily="34" charset="0"/>
              </a:rPr>
              <a:t>Integrity check</a:t>
            </a:r>
          </a:p>
          <a:p>
            <a:pPr algn="ctr"/>
            <a:r>
              <a:rPr lang="de-CH" sz="1200">
                <a:latin typeface="Arial" panose="020B0604020202020204" pitchFamily="34" charset="0"/>
                <a:cs typeface="Arial" panose="020B0604020202020204" pitchFamily="34" charset="0"/>
              </a:rPr>
              <a:t>Validation check</a:t>
            </a:r>
          </a:p>
        </p:txBody>
      </p:sp>
      <p:sp>
        <p:nvSpPr>
          <p:cNvPr id="43" name="Rechteck: abgerundete Ecken 42">
            <a:extLst>
              <a:ext uri="{FF2B5EF4-FFF2-40B4-BE49-F238E27FC236}">
                <a16:creationId xmlns:a16="http://schemas.microsoft.com/office/drawing/2014/main" id="{5B9B524D-B2AF-4C3A-9818-2DA5A726A8D0}"/>
              </a:ext>
            </a:extLst>
          </p:cNvPr>
          <p:cNvSpPr/>
          <p:nvPr/>
        </p:nvSpPr>
        <p:spPr>
          <a:xfrm>
            <a:off x="8531932" y="1949789"/>
            <a:ext cx="322128" cy="1761413"/>
          </a:xfrm>
          <a:prstGeom prst="round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CH" sz="1350" b="1"/>
              <a:t>E</a:t>
            </a:r>
          </a:p>
          <a:p>
            <a:r>
              <a:rPr lang="de-CH" sz="1350" b="1"/>
              <a:t>U</a:t>
            </a:r>
          </a:p>
          <a:p>
            <a:r>
              <a:rPr lang="de-CH" sz="1350" b="1"/>
              <a:t>D</a:t>
            </a:r>
          </a:p>
          <a:p>
            <a:r>
              <a:rPr lang="de-CH" sz="1350" b="1"/>
              <a:t>A</a:t>
            </a:r>
          </a:p>
          <a:p>
            <a:r>
              <a:rPr lang="de-CH" sz="1350" b="1"/>
              <a:t>M</a:t>
            </a:r>
          </a:p>
          <a:p>
            <a:r>
              <a:rPr lang="de-CH" sz="1350" b="1"/>
              <a:t>E</a:t>
            </a:r>
          </a:p>
          <a:p>
            <a:r>
              <a:rPr lang="de-CH" sz="1350" b="1"/>
              <a:t>D</a:t>
            </a:r>
          </a:p>
        </p:txBody>
      </p:sp>
      <p:sp>
        <p:nvSpPr>
          <p:cNvPr id="44" name="Rechteck: abgerundete Ecken 43">
            <a:extLst>
              <a:ext uri="{FF2B5EF4-FFF2-40B4-BE49-F238E27FC236}">
                <a16:creationId xmlns:a16="http://schemas.microsoft.com/office/drawing/2014/main" id="{87B16B71-40C1-4B47-96E8-5F15754C1997}"/>
              </a:ext>
            </a:extLst>
          </p:cNvPr>
          <p:cNvSpPr/>
          <p:nvPr/>
        </p:nvSpPr>
        <p:spPr>
          <a:xfrm>
            <a:off x="5221830" y="2249178"/>
            <a:ext cx="1620000" cy="314633"/>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a:latin typeface="Arial" panose="020B0604020202020204" pitchFamily="34" charset="0"/>
                <a:cs typeface="Arial" panose="020B0604020202020204" pitchFamily="34" charset="0"/>
              </a:rPr>
              <a:t>Excel </a:t>
            </a:r>
            <a:r>
              <a:rPr lang="de-CH" sz="1200" err="1">
                <a:latin typeface="Arial" panose="020B0604020202020204" pitchFamily="34" charset="0"/>
                <a:cs typeface="Arial" panose="020B0604020202020204" pitchFamily="34" charset="0"/>
              </a:rPr>
              <a:t>export</a:t>
            </a:r>
            <a:endParaRPr lang="de-CH" sz="1200">
              <a:latin typeface="Arial" panose="020B0604020202020204" pitchFamily="34" charset="0"/>
              <a:cs typeface="Arial" panose="020B0604020202020204" pitchFamily="34" charset="0"/>
            </a:endParaRPr>
          </a:p>
        </p:txBody>
      </p:sp>
      <p:sp>
        <p:nvSpPr>
          <p:cNvPr id="45" name="Rechteck: abgerundete Ecken 44">
            <a:extLst>
              <a:ext uri="{FF2B5EF4-FFF2-40B4-BE49-F238E27FC236}">
                <a16:creationId xmlns:a16="http://schemas.microsoft.com/office/drawing/2014/main" id="{646486A8-D8A3-4FA5-875E-0F3F80A7D1A8}"/>
              </a:ext>
            </a:extLst>
          </p:cNvPr>
          <p:cNvSpPr/>
          <p:nvPr/>
        </p:nvSpPr>
        <p:spPr>
          <a:xfrm>
            <a:off x="5222731" y="3123064"/>
            <a:ext cx="1620000" cy="408087"/>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200">
              <a:latin typeface="Arial" panose="020B0604020202020204" pitchFamily="34" charset="0"/>
              <a:cs typeface="Arial" panose="020B0604020202020204" pitchFamily="34" charset="0"/>
            </a:endParaRPr>
          </a:p>
        </p:txBody>
      </p:sp>
      <p:sp>
        <p:nvSpPr>
          <p:cNvPr id="54" name="Rechteck: abgerundete Ecken 53">
            <a:extLst>
              <a:ext uri="{FF2B5EF4-FFF2-40B4-BE49-F238E27FC236}">
                <a16:creationId xmlns:a16="http://schemas.microsoft.com/office/drawing/2014/main" id="{C90BCC80-CC53-4FAB-90F5-99AED375928F}"/>
              </a:ext>
            </a:extLst>
          </p:cNvPr>
          <p:cNvSpPr/>
          <p:nvPr/>
        </p:nvSpPr>
        <p:spPr>
          <a:xfrm>
            <a:off x="374876" y="1139292"/>
            <a:ext cx="3298357" cy="415894"/>
          </a:xfrm>
          <a:prstGeom prst="roundRect">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solidFill>
                  <a:schemeClr val="bg1"/>
                </a:solidFill>
                <a:latin typeface="Arial" panose="020B0604020202020204" pitchFamily="34" charset="0"/>
                <a:cs typeface="Arial" panose="020B0604020202020204" pitchFamily="34" charset="0"/>
              </a:rPr>
              <a:t>UDI relevant </a:t>
            </a:r>
            <a:r>
              <a:rPr lang="de-DE" sz="1200" err="1">
                <a:solidFill>
                  <a:schemeClr val="bg1"/>
                </a:solidFill>
                <a:latin typeface="Arial" panose="020B0604020202020204" pitchFamily="34" charset="0"/>
                <a:cs typeface="Arial" panose="020B0604020202020204" pitchFamily="34" charset="0"/>
              </a:rPr>
              <a:t>marking</a:t>
            </a:r>
            <a:endParaRPr lang="de-DE" sz="1200">
              <a:solidFill>
                <a:schemeClr val="bg1"/>
              </a:solidFill>
              <a:latin typeface="Arial" panose="020B0604020202020204" pitchFamily="34" charset="0"/>
              <a:cs typeface="Arial" panose="020B0604020202020204" pitchFamily="34" charset="0"/>
            </a:endParaRPr>
          </a:p>
        </p:txBody>
      </p:sp>
      <p:cxnSp>
        <p:nvCxnSpPr>
          <p:cNvPr id="8" name="Gerade Verbindung mit Pfeil 7">
            <a:extLst>
              <a:ext uri="{FF2B5EF4-FFF2-40B4-BE49-F238E27FC236}">
                <a16:creationId xmlns:a16="http://schemas.microsoft.com/office/drawing/2014/main" id="{7F8FBB42-5E6F-494A-9FA9-D776E43B375D}"/>
              </a:ext>
            </a:extLst>
          </p:cNvPr>
          <p:cNvCxnSpPr>
            <a:cxnSpLocks/>
            <a:endCxn id="35" idx="0"/>
          </p:cNvCxnSpPr>
          <p:nvPr/>
        </p:nvCxnSpPr>
        <p:spPr>
          <a:xfrm>
            <a:off x="1184876" y="1555186"/>
            <a:ext cx="0" cy="274539"/>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0" name="Gerade Verbindung mit Pfeil 9">
            <a:extLst>
              <a:ext uri="{FF2B5EF4-FFF2-40B4-BE49-F238E27FC236}">
                <a16:creationId xmlns:a16="http://schemas.microsoft.com/office/drawing/2014/main" id="{3079ADE2-81AA-4647-AA7F-C4E7527E5280}"/>
              </a:ext>
            </a:extLst>
          </p:cNvPr>
          <p:cNvCxnSpPr>
            <a:cxnSpLocks/>
            <a:endCxn id="36" idx="0"/>
          </p:cNvCxnSpPr>
          <p:nvPr/>
        </p:nvCxnSpPr>
        <p:spPr>
          <a:xfrm>
            <a:off x="2863233" y="1550979"/>
            <a:ext cx="0" cy="28716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69" name="Gerade Verbindung mit Pfeil 68">
            <a:extLst>
              <a:ext uri="{FF2B5EF4-FFF2-40B4-BE49-F238E27FC236}">
                <a16:creationId xmlns:a16="http://schemas.microsoft.com/office/drawing/2014/main" id="{1B16878B-8423-441F-856F-52AE4DCDB29D}"/>
              </a:ext>
            </a:extLst>
          </p:cNvPr>
          <p:cNvCxnSpPr>
            <a:cxnSpLocks/>
          </p:cNvCxnSpPr>
          <p:nvPr/>
        </p:nvCxnSpPr>
        <p:spPr>
          <a:xfrm>
            <a:off x="1548144" y="2606501"/>
            <a:ext cx="0" cy="266124"/>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1" name="Gerade Verbindung mit Pfeil 70">
            <a:extLst>
              <a:ext uri="{FF2B5EF4-FFF2-40B4-BE49-F238E27FC236}">
                <a16:creationId xmlns:a16="http://schemas.microsoft.com/office/drawing/2014/main" id="{EB808EBE-B377-40AD-94B2-C1CD1E859C23}"/>
              </a:ext>
            </a:extLst>
          </p:cNvPr>
          <p:cNvCxnSpPr/>
          <p:nvPr/>
        </p:nvCxnSpPr>
        <p:spPr>
          <a:xfrm>
            <a:off x="2534971" y="2636056"/>
            <a:ext cx="0" cy="244984"/>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5" name="Gerade Verbindung mit Pfeil 74">
            <a:extLst>
              <a:ext uri="{FF2B5EF4-FFF2-40B4-BE49-F238E27FC236}">
                <a16:creationId xmlns:a16="http://schemas.microsoft.com/office/drawing/2014/main" id="{71D0F3A7-5FF8-4078-9F7D-F8BB0FEDE112}"/>
              </a:ext>
            </a:extLst>
          </p:cNvPr>
          <p:cNvCxnSpPr>
            <a:cxnSpLocks/>
            <a:stCxn id="37" idx="3"/>
            <a:endCxn id="38" idx="1"/>
          </p:cNvCxnSpPr>
          <p:nvPr/>
        </p:nvCxnSpPr>
        <p:spPr>
          <a:xfrm>
            <a:off x="2838206" y="3318604"/>
            <a:ext cx="371619"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7" name="Gerade Verbindung mit Pfeil 76">
            <a:extLst>
              <a:ext uri="{FF2B5EF4-FFF2-40B4-BE49-F238E27FC236}">
                <a16:creationId xmlns:a16="http://schemas.microsoft.com/office/drawing/2014/main" id="{3EA88A85-494A-4551-8527-12C496D561A3}"/>
              </a:ext>
            </a:extLst>
          </p:cNvPr>
          <p:cNvCxnSpPr>
            <a:cxnSpLocks/>
            <a:stCxn id="38" idx="2"/>
            <a:endCxn id="41" idx="0"/>
          </p:cNvCxnSpPr>
          <p:nvPr/>
        </p:nvCxnSpPr>
        <p:spPr>
          <a:xfrm flipH="1">
            <a:off x="4019824" y="3756168"/>
            <a:ext cx="1" cy="35894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9" name="Gerade Verbindung mit Pfeil 78">
            <a:extLst>
              <a:ext uri="{FF2B5EF4-FFF2-40B4-BE49-F238E27FC236}">
                <a16:creationId xmlns:a16="http://schemas.microsoft.com/office/drawing/2014/main" id="{EE89B85E-1B80-4056-9B33-499490C7AC53}"/>
              </a:ext>
            </a:extLst>
          </p:cNvPr>
          <p:cNvCxnSpPr>
            <a:cxnSpLocks/>
            <a:stCxn id="41" idx="3"/>
            <a:endCxn id="39" idx="1"/>
          </p:cNvCxnSpPr>
          <p:nvPr/>
        </p:nvCxnSpPr>
        <p:spPr>
          <a:xfrm>
            <a:off x="4829824" y="4466504"/>
            <a:ext cx="392907"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81" name="Gerade Verbindung mit Pfeil 80">
            <a:extLst>
              <a:ext uri="{FF2B5EF4-FFF2-40B4-BE49-F238E27FC236}">
                <a16:creationId xmlns:a16="http://schemas.microsoft.com/office/drawing/2014/main" id="{BD62FE4F-238A-4316-8DF4-8E2F26C7E1ED}"/>
              </a:ext>
            </a:extLst>
          </p:cNvPr>
          <p:cNvCxnSpPr>
            <a:cxnSpLocks/>
            <a:stCxn id="39" idx="0"/>
          </p:cNvCxnSpPr>
          <p:nvPr/>
        </p:nvCxnSpPr>
        <p:spPr>
          <a:xfrm flipH="1" flipV="1">
            <a:off x="6024969" y="3763728"/>
            <a:ext cx="7762" cy="35138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86" name="Textfeld 85">
            <a:extLst>
              <a:ext uri="{FF2B5EF4-FFF2-40B4-BE49-F238E27FC236}">
                <a16:creationId xmlns:a16="http://schemas.microsoft.com/office/drawing/2014/main" id="{BE02670F-8114-4463-936A-9D2672146D41}"/>
              </a:ext>
            </a:extLst>
          </p:cNvPr>
          <p:cNvSpPr txBox="1"/>
          <p:nvPr/>
        </p:nvSpPr>
        <p:spPr>
          <a:xfrm>
            <a:off x="5222731" y="3117396"/>
            <a:ext cx="1634256" cy="646331"/>
          </a:xfrm>
          <a:prstGeom prst="rect">
            <a:avLst/>
          </a:prstGeom>
          <a:noFill/>
        </p:spPr>
        <p:txBody>
          <a:bodyPr wrap="square" rtlCol="0">
            <a:spAutoFit/>
          </a:bodyPr>
          <a:lstStyle/>
          <a:p>
            <a:pPr algn="ctr"/>
            <a:r>
              <a:rPr lang="en-US" sz="1200">
                <a:solidFill>
                  <a:schemeClr val="bg1"/>
                </a:solidFill>
                <a:latin typeface="Arial" panose="020B0604020202020204" pitchFamily="34" charset="0"/>
                <a:cs typeface="Arial" panose="020B0604020202020204" pitchFamily="34" charset="0"/>
              </a:rPr>
              <a:t>Europe IT Consulting Web Service</a:t>
            </a:r>
          </a:p>
          <a:p>
            <a:pPr algn="ctr"/>
            <a:endParaRPr lang="en-US" sz="1200">
              <a:solidFill>
                <a:schemeClr val="bg1"/>
              </a:solidFill>
              <a:latin typeface="Arial" panose="020B0604020202020204" pitchFamily="34" charset="0"/>
              <a:cs typeface="Arial" panose="020B0604020202020204" pitchFamily="34" charset="0"/>
            </a:endParaRPr>
          </a:p>
        </p:txBody>
      </p:sp>
      <p:cxnSp>
        <p:nvCxnSpPr>
          <p:cNvPr id="104" name="Gerade Verbindung mit Pfeil 103">
            <a:extLst>
              <a:ext uri="{FF2B5EF4-FFF2-40B4-BE49-F238E27FC236}">
                <a16:creationId xmlns:a16="http://schemas.microsoft.com/office/drawing/2014/main" id="{98A2D59C-096A-46B5-8EBF-CAAECD1A9BCB}"/>
              </a:ext>
            </a:extLst>
          </p:cNvPr>
          <p:cNvCxnSpPr>
            <a:cxnSpLocks/>
            <a:stCxn id="40" idx="3"/>
            <a:endCxn id="43" idx="1"/>
          </p:cNvCxnSpPr>
          <p:nvPr/>
        </p:nvCxnSpPr>
        <p:spPr>
          <a:xfrm flipV="1">
            <a:off x="6842731" y="2830496"/>
            <a:ext cx="1689201" cy="1423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06" name="Verbinder: gewinkelt 105">
            <a:extLst>
              <a:ext uri="{FF2B5EF4-FFF2-40B4-BE49-F238E27FC236}">
                <a16:creationId xmlns:a16="http://schemas.microsoft.com/office/drawing/2014/main" id="{7F8C2BBE-4ED8-4524-9F9D-68F561918F36}"/>
              </a:ext>
            </a:extLst>
          </p:cNvPr>
          <p:cNvCxnSpPr>
            <a:cxnSpLocks/>
            <a:stCxn id="44" idx="3"/>
          </p:cNvCxnSpPr>
          <p:nvPr/>
        </p:nvCxnSpPr>
        <p:spPr>
          <a:xfrm flipV="1">
            <a:off x="6841830" y="2133831"/>
            <a:ext cx="1690102" cy="272664"/>
          </a:xfrm>
          <a:prstGeom prst="bentConnector3">
            <a:avLst>
              <a:gd name="adj1" fmla="val 19466"/>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08" name="Verbinder: gewinkelt 107">
            <a:extLst>
              <a:ext uri="{FF2B5EF4-FFF2-40B4-BE49-F238E27FC236}">
                <a16:creationId xmlns:a16="http://schemas.microsoft.com/office/drawing/2014/main" id="{ADDCFB2A-B92B-402C-8E9F-2C24F61DFD77}"/>
              </a:ext>
            </a:extLst>
          </p:cNvPr>
          <p:cNvCxnSpPr>
            <a:cxnSpLocks/>
          </p:cNvCxnSpPr>
          <p:nvPr/>
        </p:nvCxnSpPr>
        <p:spPr>
          <a:xfrm>
            <a:off x="6841830" y="3318604"/>
            <a:ext cx="1660625" cy="177230"/>
          </a:xfrm>
          <a:prstGeom prst="bentConnector3">
            <a:avLst>
              <a:gd name="adj1" fmla="val 21105"/>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53" name="Rechteck: abgerundete Ecken 52">
            <a:extLst>
              <a:ext uri="{FF2B5EF4-FFF2-40B4-BE49-F238E27FC236}">
                <a16:creationId xmlns:a16="http://schemas.microsoft.com/office/drawing/2014/main" id="{DC1BB485-83A3-4556-8949-E18D80FCAA63}"/>
              </a:ext>
            </a:extLst>
          </p:cNvPr>
          <p:cNvSpPr/>
          <p:nvPr/>
        </p:nvSpPr>
        <p:spPr>
          <a:xfrm>
            <a:off x="7385220" y="1940928"/>
            <a:ext cx="784325" cy="484748"/>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a:t>3rd Party</a:t>
            </a:r>
          </a:p>
        </p:txBody>
      </p:sp>
      <p:sp>
        <p:nvSpPr>
          <p:cNvPr id="46" name="Rechteck: abgerundete Ecken 45">
            <a:extLst>
              <a:ext uri="{FF2B5EF4-FFF2-40B4-BE49-F238E27FC236}">
                <a16:creationId xmlns:a16="http://schemas.microsoft.com/office/drawing/2014/main" id="{55F6C6E1-DD30-43DE-BD84-8F53864D115C}"/>
              </a:ext>
            </a:extLst>
          </p:cNvPr>
          <p:cNvSpPr/>
          <p:nvPr/>
        </p:nvSpPr>
        <p:spPr>
          <a:xfrm>
            <a:off x="7392257" y="3254377"/>
            <a:ext cx="784325" cy="484748"/>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err="1"/>
              <a:t>WebService</a:t>
            </a:r>
            <a:endParaRPr lang="de-DE" sz="800"/>
          </a:p>
          <a:p>
            <a:pPr algn="ctr"/>
            <a:r>
              <a:rPr lang="de-DE" sz="800"/>
              <a:t>(SSL</a:t>
            </a:r>
            <a:r>
              <a:rPr lang="de-DE" sz="900"/>
              <a:t>)</a:t>
            </a:r>
          </a:p>
        </p:txBody>
      </p:sp>
      <p:sp>
        <p:nvSpPr>
          <p:cNvPr id="48" name="Rechteck: abgerundete Ecken 47">
            <a:extLst>
              <a:ext uri="{FF2B5EF4-FFF2-40B4-BE49-F238E27FC236}">
                <a16:creationId xmlns:a16="http://schemas.microsoft.com/office/drawing/2014/main" id="{E166C7F1-E948-4DCE-95F4-24D33AEBBFBE}"/>
              </a:ext>
            </a:extLst>
          </p:cNvPr>
          <p:cNvSpPr/>
          <p:nvPr/>
        </p:nvSpPr>
        <p:spPr>
          <a:xfrm>
            <a:off x="7388977" y="2597194"/>
            <a:ext cx="784325" cy="484748"/>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err="1"/>
              <a:t>WebTrader</a:t>
            </a:r>
            <a:endParaRPr lang="de-DE" sz="800"/>
          </a:p>
        </p:txBody>
      </p:sp>
    </p:spTree>
    <p:extLst>
      <p:ext uri="{BB962C8B-B14F-4D97-AF65-F5344CB8AC3E}">
        <p14:creationId xmlns:p14="http://schemas.microsoft.com/office/powerpoint/2010/main" val="130974221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platzhalter 5">
            <a:extLst>
              <a:ext uri="{FF2B5EF4-FFF2-40B4-BE49-F238E27FC236}">
                <a16:creationId xmlns:a16="http://schemas.microsoft.com/office/drawing/2014/main" id="{2A6313EB-9C5B-4C08-873B-49E16E20B0DC}"/>
              </a:ext>
            </a:extLst>
          </p:cNvPr>
          <p:cNvSpPr>
            <a:spLocks noGrp="1"/>
          </p:cNvSpPr>
          <p:nvPr>
            <p:ph type="body" sz="quarter" idx="18"/>
          </p:nvPr>
        </p:nvSpPr>
        <p:spPr>
          <a:xfrm>
            <a:off x="219267" y="794161"/>
            <a:ext cx="8600883" cy="330544"/>
          </a:xfrm>
        </p:spPr>
        <p:txBody>
          <a:bodyPr>
            <a:normAutofit/>
          </a:bodyPr>
          <a:lstStyle/>
          <a:p>
            <a:r>
              <a:rPr lang="de-DE"/>
              <a:t>2.4 </a:t>
            </a:r>
            <a:r>
              <a:rPr lang="en-US"/>
              <a:t>Mass change with Excel</a:t>
            </a:r>
          </a:p>
          <a:p>
            <a:endParaRPr lang="de-DE"/>
          </a:p>
          <a:p>
            <a:endParaRPr lang="de-DE"/>
          </a:p>
        </p:txBody>
      </p:sp>
      <p:sp>
        <p:nvSpPr>
          <p:cNvPr id="15" name="Titel 2">
            <a:extLst>
              <a:ext uri="{FF2B5EF4-FFF2-40B4-BE49-F238E27FC236}">
                <a16:creationId xmlns:a16="http://schemas.microsoft.com/office/drawing/2014/main" id="{BDC37F2D-4348-452C-A5C0-0B1EA57B183D}"/>
              </a:ext>
            </a:extLst>
          </p:cNvPr>
          <p:cNvSpPr>
            <a:spLocks noGrp="1"/>
          </p:cNvSpPr>
          <p:nvPr>
            <p:ph type="title"/>
          </p:nvPr>
        </p:nvSpPr>
        <p:spPr>
          <a:xfrm>
            <a:off x="269393" y="78770"/>
            <a:ext cx="7907189" cy="330545"/>
          </a:xfrm>
        </p:spPr>
        <p:txBody>
          <a:bodyPr>
            <a:normAutofit fontScale="90000"/>
          </a:bodyPr>
          <a:lstStyle/>
          <a:p>
            <a:r>
              <a:rPr lang="de-DE"/>
              <a:t>2. </a:t>
            </a:r>
            <a:r>
              <a:rPr lang="en-US"/>
              <a:t>W</a:t>
            </a:r>
            <a:r>
              <a:rPr lang="en-US" sz="1800" b="1"/>
              <a:t>ork processes from the database to data transmission </a:t>
            </a:r>
            <a:endParaRPr lang="de-DE"/>
          </a:p>
        </p:txBody>
      </p:sp>
      <p:pic>
        <p:nvPicPr>
          <p:cNvPr id="7" name="Grafik 6">
            <a:extLst>
              <a:ext uri="{FF2B5EF4-FFF2-40B4-BE49-F238E27FC236}">
                <a16:creationId xmlns:a16="http://schemas.microsoft.com/office/drawing/2014/main" id="{8DB68BF3-42D4-48FD-8328-902703E6D728}"/>
              </a:ext>
            </a:extLst>
          </p:cNvPr>
          <p:cNvPicPr>
            <a:picLocks noChangeAspect="1"/>
          </p:cNvPicPr>
          <p:nvPr/>
        </p:nvPicPr>
        <p:blipFill>
          <a:blip r:embed="rId2"/>
          <a:stretch>
            <a:fillRect/>
          </a:stretch>
        </p:blipFill>
        <p:spPr>
          <a:xfrm>
            <a:off x="219267" y="1394160"/>
            <a:ext cx="3853724" cy="1537239"/>
          </a:xfrm>
          <a:prstGeom prst="rect">
            <a:avLst/>
          </a:prstGeom>
          <a:ln w="12700">
            <a:solidFill>
              <a:srgbClr val="2F5597"/>
            </a:solidFill>
          </a:ln>
          <a:effectLst/>
        </p:spPr>
      </p:pic>
      <p:pic>
        <p:nvPicPr>
          <p:cNvPr id="3" name="Grafik 2">
            <a:extLst>
              <a:ext uri="{FF2B5EF4-FFF2-40B4-BE49-F238E27FC236}">
                <a16:creationId xmlns:a16="http://schemas.microsoft.com/office/drawing/2014/main" id="{BCF39446-15BF-4AE0-8B51-117BAD03B02E}"/>
              </a:ext>
            </a:extLst>
          </p:cNvPr>
          <p:cNvPicPr>
            <a:picLocks noChangeAspect="1"/>
          </p:cNvPicPr>
          <p:nvPr/>
        </p:nvPicPr>
        <p:blipFill>
          <a:blip r:embed="rId3"/>
          <a:stretch>
            <a:fillRect/>
          </a:stretch>
        </p:blipFill>
        <p:spPr>
          <a:xfrm>
            <a:off x="3639009" y="1958430"/>
            <a:ext cx="5285724" cy="2484848"/>
          </a:xfrm>
          <a:prstGeom prst="rect">
            <a:avLst/>
          </a:prstGeom>
          <a:ln w="12700">
            <a:solidFill>
              <a:srgbClr val="2F5597"/>
            </a:solidFill>
          </a:ln>
          <a:effectLst/>
        </p:spPr>
      </p:pic>
      <p:cxnSp>
        <p:nvCxnSpPr>
          <p:cNvPr id="21" name="Gerade Verbindung mit Pfeil 20">
            <a:extLst>
              <a:ext uri="{FF2B5EF4-FFF2-40B4-BE49-F238E27FC236}">
                <a16:creationId xmlns:a16="http://schemas.microsoft.com/office/drawing/2014/main" id="{D8421A40-9656-4014-862F-1340FB8F1B4A}"/>
              </a:ext>
            </a:extLst>
          </p:cNvPr>
          <p:cNvCxnSpPr>
            <a:cxnSpLocks/>
          </p:cNvCxnSpPr>
          <p:nvPr/>
        </p:nvCxnSpPr>
        <p:spPr>
          <a:xfrm flipH="1">
            <a:off x="4746154" y="2887275"/>
            <a:ext cx="324857" cy="464646"/>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77942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platzhalter 5">
            <a:extLst>
              <a:ext uri="{FF2B5EF4-FFF2-40B4-BE49-F238E27FC236}">
                <a16:creationId xmlns:a16="http://schemas.microsoft.com/office/drawing/2014/main" id="{B8BFC6E9-D71E-4680-A5C4-3128169A4A82}"/>
              </a:ext>
            </a:extLst>
          </p:cNvPr>
          <p:cNvSpPr>
            <a:spLocks noGrp="1"/>
          </p:cNvSpPr>
          <p:nvPr>
            <p:ph type="body" sz="quarter" idx="18"/>
          </p:nvPr>
        </p:nvSpPr>
        <p:spPr>
          <a:xfrm>
            <a:off x="219267" y="794161"/>
            <a:ext cx="8600883" cy="330544"/>
          </a:xfrm>
        </p:spPr>
        <p:txBody>
          <a:bodyPr>
            <a:normAutofit/>
          </a:bodyPr>
          <a:lstStyle/>
          <a:p>
            <a:r>
              <a:rPr lang="de-DE"/>
              <a:t>2.4 </a:t>
            </a:r>
            <a:r>
              <a:rPr lang="en-US"/>
              <a:t>Mass change with Excel</a:t>
            </a:r>
          </a:p>
          <a:p>
            <a:endParaRPr lang="de-DE"/>
          </a:p>
          <a:p>
            <a:endParaRPr lang="de-DE"/>
          </a:p>
        </p:txBody>
      </p:sp>
      <p:sp>
        <p:nvSpPr>
          <p:cNvPr id="15" name="Titel 2">
            <a:extLst>
              <a:ext uri="{FF2B5EF4-FFF2-40B4-BE49-F238E27FC236}">
                <a16:creationId xmlns:a16="http://schemas.microsoft.com/office/drawing/2014/main" id="{EB7E4A3C-567E-4371-AC46-5166789A3A3E}"/>
              </a:ext>
            </a:extLst>
          </p:cNvPr>
          <p:cNvSpPr>
            <a:spLocks noGrp="1"/>
          </p:cNvSpPr>
          <p:nvPr>
            <p:ph type="title"/>
          </p:nvPr>
        </p:nvSpPr>
        <p:spPr>
          <a:xfrm>
            <a:off x="269393" y="78770"/>
            <a:ext cx="7907189" cy="330545"/>
          </a:xfrm>
        </p:spPr>
        <p:txBody>
          <a:bodyPr>
            <a:normAutofit fontScale="90000"/>
          </a:bodyPr>
          <a:lstStyle/>
          <a:p>
            <a:r>
              <a:rPr lang="de-DE"/>
              <a:t>2. </a:t>
            </a:r>
            <a:r>
              <a:rPr lang="en-US"/>
              <a:t>W</a:t>
            </a:r>
            <a:r>
              <a:rPr lang="en-US" sz="1800" b="1"/>
              <a:t>ork processes from the database to data transmission </a:t>
            </a:r>
            <a:endParaRPr lang="de-DE"/>
          </a:p>
        </p:txBody>
      </p:sp>
      <p:sp>
        <p:nvSpPr>
          <p:cNvPr id="13" name="Textfeld 12">
            <a:extLst>
              <a:ext uri="{FF2B5EF4-FFF2-40B4-BE49-F238E27FC236}">
                <a16:creationId xmlns:a16="http://schemas.microsoft.com/office/drawing/2014/main" id="{BBB19BDF-8C95-4F0E-BD6C-C6E68718032A}"/>
              </a:ext>
            </a:extLst>
          </p:cNvPr>
          <p:cNvSpPr txBox="1"/>
          <p:nvPr/>
        </p:nvSpPr>
        <p:spPr>
          <a:xfrm>
            <a:off x="403614" y="1078103"/>
            <a:ext cx="1064228" cy="1200329"/>
          </a:xfrm>
          <a:prstGeom prst="rect">
            <a:avLst/>
          </a:prstGeom>
          <a:noFill/>
        </p:spPr>
        <p:txBody>
          <a:bodyPr wrap="square">
            <a:spAutoFit/>
          </a:bodyPr>
          <a:lstStyle/>
          <a:p>
            <a:r>
              <a:rPr lang="en-US" sz="1200">
                <a:latin typeface="Arial" panose="020B0604020202020204" pitchFamily="34" charset="0"/>
                <a:cs typeface="Arial" panose="020B0604020202020204" pitchFamily="34" charset="0"/>
              </a:rPr>
              <a:t>Before					</a:t>
            </a:r>
          </a:p>
        </p:txBody>
      </p:sp>
      <p:pic>
        <p:nvPicPr>
          <p:cNvPr id="9" name="Grafik 8">
            <a:extLst>
              <a:ext uri="{FF2B5EF4-FFF2-40B4-BE49-F238E27FC236}">
                <a16:creationId xmlns:a16="http://schemas.microsoft.com/office/drawing/2014/main" id="{E53156A4-1BBC-40AF-BF02-82D44B0AA885}"/>
              </a:ext>
            </a:extLst>
          </p:cNvPr>
          <p:cNvPicPr>
            <a:picLocks noChangeAspect="1"/>
          </p:cNvPicPr>
          <p:nvPr/>
        </p:nvPicPr>
        <p:blipFill>
          <a:blip r:embed="rId2"/>
          <a:stretch>
            <a:fillRect/>
          </a:stretch>
        </p:blipFill>
        <p:spPr>
          <a:xfrm>
            <a:off x="1187761" y="1078103"/>
            <a:ext cx="6070452" cy="1810141"/>
          </a:xfrm>
          <a:prstGeom prst="rect">
            <a:avLst/>
          </a:prstGeom>
          <a:ln w="12700">
            <a:solidFill>
              <a:srgbClr val="2F5597"/>
            </a:solidFill>
          </a:ln>
          <a:effectLst/>
        </p:spPr>
      </p:pic>
      <p:sp>
        <p:nvSpPr>
          <p:cNvPr id="16" name="Textfeld 15">
            <a:extLst>
              <a:ext uri="{FF2B5EF4-FFF2-40B4-BE49-F238E27FC236}">
                <a16:creationId xmlns:a16="http://schemas.microsoft.com/office/drawing/2014/main" id="{CF40D8D9-D05E-4394-AC39-1ADE08A766CD}"/>
              </a:ext>
            </a:extLst>
          </p:cNvPr>
          <p:cNvSpPr txBox="1"/>
          <p:nvPr/>
        </p:nvSpPr>
        <p:spPr>
          <a:xfrm>
            <a:off x="393869" y="3264198"/>
            <a:ext cx="1111827" cy="276999"/>
          </a:xfrm>
          <a:prstGeom prst="rect">
            <a:avLst/>
          </a:prstGeom>
          <a:noFill/>
        </p:spPr>
        <p:txBody>
          <a:bodyPr wrap="square">
            <a:spAutoFit/>
          </a:bodyPr>
          <a:lstStyle/>
          <a:p>
            <a:r>
              <a:rPr lang="en-US" sz="1200">
                <a:latin typeface="Arial" panose="020B0604020202020204" pitchFamily="34" charset="0"/>
                <a:cs typeface="Arial" panose="020B0604020202020204" pitchFamily="34" charset="0"/>
              </a:rPr>
              <a:t>After</a:t>
            </a:r>
          </a:p>
        </p:txBody>
      </p:sp>
      <p:pic>
        <p:nvPicPr>
          <p:cNvPr id="17" name="Grafik 16">
            <a:extLst>
              <a:ext uri="{FF2B5EF4-FFF2-40B4-BE49-F238E27FC236}">
                <a16:creationId xmlns:a16="http://schemas.microsoft.com/office/drawing/2014/main" id="{95997C27-C7B3-4D0F-8BC1-41D4E5F4D6EE}"/>
              </a:ext>
            </a:extLst>
          </p:cNvPr>
          <p:cNvPicPr>
            <a:picLocks noChangeAspect="1"/>
          </p:cNvPicPr>
          <p:nvPr/>
        </p:nvPicPr>
        <p:blipFill>
          <a:blip r:embed="rId3"/>
          <a:stretch>
            <a:fillRect/>
          </a:stretch>
        </p:blipFill>
        <p:spPr>
          <a:xfrm>
            <a:off x="1187761" y="2960541"/>
            <a:ext cx="6070452" cy="1853334"/>
          </a:xfrm>
          <a:prstGeom prst="rect">
            <a:avLst/>
          </a:prstGeom>
          <a:ln w="12700">
            <a:solidFill>
              <a:srgbClr val="2F5597"/>
            </a:solidFill>
          </a:ln>
          <a:effectLst/>
        </p:spPr>
      </p:pic>
    </p:spTree>
    <p:extLst>
      <p:ext uri="{BB962C8B-B14F-4D97-AF65-F5344CB8AC3E}">
        <p14:creationId xmlns:p14="http://schemas.microsoft.com/office/powerpoint/2010/main" val="251317810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platzhalter 5">
            <a:extLst>
              <a:ext uri="{FF2B5EF4-FFF2-40B4-BE49-F238E27FC236}">
                <a16:creationId xmlns:a16="http://schemas.microsoft.com/office/drawing/2014/main" id="{F439D7A4-B14D-4651-B14B-1087823D7557}"/>
              </a:ext>
            </a:extLst>
          </p:cNvPr>
          <p:cNvSpPr>
            <a:spLocks noGrp="1"/>
          </p:cNvSpPr>
          <p:nvPr>
            <p:ph type="body" sz="quarter" idx="18"/>
          </p:nvPr>
        </p:nvSpPr>
        <p:spPr>
          <a:xfrm>
            <a:off x="219267" y="794161"/>
            <a:ext cx="8600883" cy="330544"/>
          </a:xfrm>
        </p:spPr>
        <p:txBody>
          <a:bodyPr>
            <a:normAutofit/>
          </a:bodyPr>
          <a:lstStyle/>
          <a:p>
            <a:r>
              <a:rPr lang="de-DE"/>
              <a:t>2.4 </a:t>
            </a:r>
            <a:r>
              <a:rPr lang="en-US"/>
              <a:t>Mass change with Excel</a:t>
            </a:r>
          </a:p>
          <a:p>
            <a:endParaRPr lang="de-DE"/>
          </a:p>
          <a:p>
            <a:endParaRPr lang="de-DE"/>
          </a:p>
        </p:txBody>
      </p:sp>
      <p:sp>
        <p:nvSpPr>
          <p:cNvPr id="24" name="Titel 2">
            <a:extLst>
              <a:ext uri="{FF2B5EF4-FFF2-40B4-BE49-F238E27FC236}">
                <a16:creationId xmlns:a16="http://schemas.microsoft.com/office/drawing/2014/main" id="{59099038-0FB7-4A3D-9C90-E8187203127B}"/>
              </a:ext>
            </a:extLst>
          </p:cNvPr>
          <p:cNvSpPr>
            <a:spLocks noGrp="1"/>
          </p:cNvSpPr>
          <p:nvPr>
            <p:ph type="title"/>
          </p:nvPr>
        </p:nvSpPr>
        <p:spPr>
          <a:xfrm>
            <a:off x="269393" y="78770"/>
            <a:ext cx="7907189" cy="330545"/>
          </a:xfrm>
        </p:spPr>
        <p:txBody>
          <a:bodyPr>
            <a:normAutofit fontScale="90000"/>
          </a:bodyPr>
          <a:lstStyle/>
          <a:p>
            <a:r>
              <a:rPr lang="de-DE"/>
              <a:t>2. </a:t>
            </a:r>
            <a:r>
              <a:rPr lang="en-US"/>
              <a:t>W</a:t>
            </a:r>
            <a:r>
              <a:rPr lang="en-US" sz="1800" b="1"/>
              <a:t>ork processes from the database to data transmission </a:t>
            </a:r>
            <a:endParaRPr lang="de-DE"/>
          </a:p>
        </p:txBody>
      </p:sp>
      <p:grpSp>
        <p:nvGrpSpPr>
          <p:cNvPr id="6" name="Gruppieren 5">
            <a:extLst>
              <a:ext uri="{FF2B5EF4-FFF2-40B4-BE49-F238E27FC236}">
                <a16:creationId xmlns:a16="http://schemas.microsoft.com/office/drawing/2014/main" id="{94BD9EBA-51DE-4E3B-8FD3-3CC70A803AA3}"/>
              </a:ext>
            </a:extLst>
          </p:cNvPr>
          <p:cNvGrpSpPr/>
          <p:nvPr/>
        </p:nvGrpSpPr>
        <p:grpSpPr>
          <a:xfrm>
            <a:off x="698190" y="1222796"/>
            <a:ext cx="6160701" cy="2958026"/>
            <a:chOff x="780787" y="1237053"/>
            <a:chExt cx="6160701" cy="2958026"/>
          </a:xfrm>
        </p:grpSpPr>
        <p:pic>
          <p:nvPicPr>
            <p:cNvPr id="3" name="Grafik 2">
              <a:extLst>
                <a:ext uri="{FF2B5EF4-FFF2-40B4-BE49-F238E27FC236}">
                  <a16:creationId xmlns:a16="http://schemas.microsoft.com/office/drawing/2014/main" id="{20D6AB13-E586-49DC-82D5-B04E375F6CED}"/>
                </a:ext>
              </a:extLst>
            </p:cNvPr>
            <p:cNvPicPr>
              <a:picLocks noChangeAspect="1"/>
            </p:cNvPicPr>
            <p:nvPr/>
          </p:nvPicPr>
          <p:blipFill>
            <a:blip r:embed="rId2"/>
            <a:stretch>
              <a:fillRect/>
            </a:stretch>
          </p:blipFill>
          <p:spPr>
            <a:xfrm>
              <a:off x="780787" y="1237053"/>
              <a:ext cx="6160701" cy="2958026"/>
            </a:xfrm>
            <a:prstGeom prst="rect">
              <a:avLst/>
            </a:prstGeom>
            <a:ln w="12700">
              <a:solidFill>
                <a:srgbClr val="2F5597"/>
              </a:solidFill>
            </a:ln>
            <a:effectLst/>
          </p:spPr>
        </p:pic>
        <p:sp>
          <p:nvSpPr>
            <p:cNvPr id="30" name="Rechteck 29">
              <a:extLst>
                <a:ext uri="{FF2B5EF4-FFF2-40B4-BE49-F238E27FC236}">
                  <a16:creationId xmlns:a16="http://schemas.microsoft.com/office/drawing/2014/main" id="{091725E6-AD41-4179-9FD2-2F1B5E37E123}"/>
                </a:ext>
              </a:extLst>
            </p:cNvPr>
            <p:cNvSpPr/>
            <p:nvPr/>
          </p:nvSpPr>
          <p:spPr>
            <a:xfrm>
              <a:off x="878113" y="2917370"/>
              <a:ext cx="2191657" cy="179961"/>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grpSp>
      <p:grpSp>
        <p:nvGrpSpPr>
          <p:cNvPr id="4" name="Gruppieren 3">
            <a:extLst>
              <a:ext uri="{FF2B5EF4-FFF2-40B4-BE49-F238E27FC236}">
                <a16:creationId xmlns:a16="http://schemas.microsoft.com/office/drawing/2014/main" id="{355858D5-D74C-4DE9-BEF8-EDF9931BBA9A}"/>
              </a:ext>
            </a:extLst>
          </p:cNvPr>
          <p:cNvGrpSpPr/>
          <p:nvPr/>
        </p:nvGrpSpPr>
        <p:grpSpPr>
          <a:xfrm>
            <a:off x="3469763" y="1215020"/>
            <a:ext cx="3389128" cy="2958026"/>
            <a:chOff x="3541595" y="1234654"/>
            <a:chExt cx="3389128" cy="2958026"/>
          </a:xfrm>
        </p:grpSpPr>
        <p:pic>
          <p:nvPicPr>
            <p:cNvPr id="5" name="Grafik 4">
              <a:extLst>
                <a:ext uri="{FF2B5EF4-FFF2-40B4-BE49-F238E27FC236}">
                  <a16:creationId xmlns:a16="http://schemas.microsoft.com/office/drawing/2014/main" id="{23851A52-F0F3-445A-96DE-4A8EF817CEEF}"/>
                </a:ext>
              </a:extLst>
            </p:cNvPr>
            <p:cNvPicPr>
              <a:picLocks noChangeAspect="1"/>
            </p:cNvPicPr>
            <p:nvPr/>
          </p:nvPicPr>
          <p:blipFill>
            <a:blip r:embed="rId3"/>
            <a:stretch>
              <a:fillRect/>
            </a:stretch>
          </p:blipFill>
          <p:spPr>
            <a:xfrm>
              <a:off x="3541595" y="1234654"/>
              <a:ext cx="3389128" cy="2958026"/>
            </a:xfrm>
            <a:prstGeom prst="rect">
              <a:avLst/>
            </a:prstGeom>
            <a:ln w="12700">
              <a:solidFill>
                <a:srgbClr val="2F5597"/>
              </a:solidFill>
            </a:ln>
            <a:effectLst/>
          </p:spPr>
        </p:pic>
        <p:sp>
          <p:nvSpPr>
            <p:cNvPr id="32" name="Rechteck 31">
              <a:extLst>
                <a:ext uri="{FF2B5EF4-FFF2-40B4-BE49-F238E27FC236}">
                  <a16:creationId xmlns:a16="http://schemas.microsoft.com/office/drawing/2014/main" id="{75FF991D-30D0-4B84-98DD-85E72C5D7418}"/>
                </a:ext>
              </a:extLst>
            </p:cNvPr>
            <p:cNvSpPr/>
            <p:nvPr/>
          </p:nvSpPr>
          <p:spPr>
            <a:xfrm>
              <a:off x="3672566" y="3005593"/>
              <a:ext cx="1244268" cy="290222"/>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grpSp>
      <p:pic>
        <p:nvPicPr>
          <p:cNvPr id="7" name="Grafik 6">
            <a:extLst>
              <a:ext uri="{FF2B5EF4-FFF2-40B4-BE49-F238E27FC236}">
                <a16:creationId xmlns:a16="http://schemas.microsoft.com/office/drawing/2014/main" id="{220667E8-983A-4751-ACF2-FA8CB96C7983}"/>
              </a:ext>
            </a:extLst>
          </p:cNvPr>
          <p:cNvPicPr>
            <a:picLocks noChangeAspect="1"/>
          </p:cNvPicPr>
          <p:nvPr/>
        </p:nvPicPr>
        <p:blipFill>
          <a:blip r:embed="rId4"/>
          <a:stretch>
            <a:fillRect/>
          </a:stretch>
        </p:blipFill>
        <p:spPr>
          <a:xfrm>
            <a:off x="3469763" y="1207244"/>
            <a:ext cx="3367599" cy="2958026"/>
          </a:xfrm>
          <a:prstGeom prst="rect">
            <a:avLst/>
          </a:prstGeom>
          <a:ln w="12700">
            <a:solidFill>
              <a:srgbClr val="2F5597"/>
            </a:solidFill>
          </a:ln>
          <a:effectLst/>
        </p:spPr>
      </p:pic>
      <p:grpSp>
        <p:nvGrpSpPr>
          <p:cNvPr id="14" name="Gruppieren 13">
            <a:extLst>
              <a:ext uri="{FF2B5EF4-FFF2-40B4-BE49-F238E27FC236}">
                <a16:creationId xmlns:a16="http://schemas.microsoft.com/office/drawing/2014/main" id="{17F51A92-845D-41E4-AAD1-B16B112FA762}"/>
              </a:ext>
            </a:extLst>
          </p:cNvPr>
          <p:cNvGrpSpPr/>
          <p:nvPr/>
        </p:nvGrpSpPr>
        <p:grpSpPr>
          <a:xfrm>
            <a:off x="659146" y="1199468"/>
            <a:ext cx="6326287" cy="2962686"/>
            <a:chOff x="659146" y="1199468"/>
            <a:chExt cx="6326287" cy="2962686"/>
          </a:xfrm>
        </p:grpSpPr>
        <p:pic>
          <p:nvPicPr>
            <p:cNvPr id="12" name="Grafik 11">
              <a:extLst>
                <a:ext uri="{FF2B5EF4-FFF2-40B4-BE49-F238E27FC236}">
                  <a16:creationId xmlns:a16="http://schemas.microsoft.com/office/drawing/2014/main" id="{6DC6A1E4-3420-4FC1-B302-580600B29BB5}"/>
                </a:ext>
              </a:extLst>
            </p:cNvPr>
            <p:cNvPicPr>
              <a:picLocks noChangeAspect="1"/>
            </p:cNvPicPr>
            <p:nvPr/>
          </p:nvPicPr>
          <p:blipFill>
            <a:blip r:embed="rId5"/>
            <a:stretch>
              <a:fillRect/>
            </a:stretch>
          </p:blipFill>
          <p:spPr>
            <a:xfrm>
              <a:off x="659146" y="1199468"/>
              <a:ext cx="6326287" cy="2962686"/>
            </a:xfrm>
            <a:prstGeom prst="rect">
              <a:avLst/>
            </a:prstGeom>
            <a:ln w="12700">
              <a:solidFill>
                <a:srgbClr val="2F5597"/>
              </a:solidFill>
            </a:ln>
            <a:effectLst/>
          </p:spPr>
        </p:pic>
        <p:sp>
          <p:nvSpPr>
            <p:cNvPr id="13" name="Rechteck 12">
              <a:extLst>
                <a:ext uri="{FF2B5EF4-FFF2-40B4-BE49-F238E27FC236}">
                  <a16:creationId xmlns:a16="http://schemas.microsoft.com/office/drawing/2014/main" id="{0218022A-15D6-497A-A9BA-0571EB3FF1D1}"/>
                </a:ext>
              </a:extLst>
            </p:cNvPr>
            <p:cNvSpPr/>
            <p:nvPr/>
          </p:nvSpPr>
          <p:spPr>
            <a:xfrm>
              <a:off x="709935" y="1452985"/>
              <a:ext cx="223467" cy="17996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5988243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platzhalter 5">
            <a:extLst>
              <a:ext uri="{FF2B5EF4-FFF2-40B4-BE49-F238E27FC236}">
                <a16:creationId xmlns:a16="http://schemas.microsoft.com/office/drawing/2014/main" id="{F439D7A4-B14D-4651-B14B-1087823D7557}"/>
              </a:ext>
            </a:extLst>
          </p:cNvPr>
          <p:cNvSpPr>
            <a:spLocks noGrp="1"/>
          </p:cNvSpPr>
          <p:nvPr>
            <p:ph type="body" sz="quarter" idx="18"/>
          </p:nvPr>
        </p:nvSpPr>
        <p:spPr>
          <a:xfrm>
            <a:off x="219267" y="794161"/>
            <a:ext cx="8600883" cy="330544"/>
          </a:xfrm>
        </p:spPr>
        <p:txBody>
          <a:bodyPr>
            <a:normAutofit/>
          </a:bodyPr>
          <a:lstStyle/>
          <a:p>
            <a:r>
              <a:rPr lang="de-DE"/>
              <a:t>2.4 </a:t>
            </a:r>
            <a:r>
              <a:rPr lang="en-US"/>
              <a:t>Mass change with Excel</a:t>
            </a:r>
          </a:p>
          <a:p>
            <a:endParaRPr lang="de-DE"/>
          </a:p>
          <a:p>
            <a:endParaRPr lang="de-DE"/>
          </a:p>
        </p:txBody>
      </p:sp>
      <p:sp>
        <p:nvSpPr>
          <p:cNvPr id="24" name="Titel 2">
            <a:extLst>
              <a:ext uri="{FF2B5EF4-FFF2-40B4-BE49-F238E27FC236}">
                <a16:creationId xmlns:a16="http://schemas.microsoft.com/office/drawing/2014/main" id="{59099038-0FB7-4A3D-9C90-E8187203127B}"/>
              </a:ext>
            </a:extLst>
          </p:cNvPr>
          <p:cNvSpPr>
            <a:spLocks noGrp="1"/>
          </p:cNvSpPr>
          <p:nvPr>
            <p:ph type="title"/>
          </p:nvPr>
        </p:nvSpPr>
        <p:spPr>
          <a:xfrm>
            <a:off x="269393" y="78770"/>
            <a:ext cx="7907189" cy="330545"/>
          </a:xfrm>
        </p:spPr>
        <p:txBody>
          <a:bodyPr>
            <a:normAutofit fontScale="90000"/>
          </a:bodyPr>
          <a:lstStyle/>
          <a:p>
            <a:r>
              <a:rPr lang="de-DE"/>
              <a:t>2. </a:t>
            </a:r>
            <a:r>
              <a:rPr lang="en-US"/>
              <a:t>W</a:t>
            </a:r>
            <a:r>
              <a:rPr lang="en-US" sz="1800" b="1"/>
              <a:t>ork processes from the database to data transmission </a:t>
            </a:r>
            <a:endParaRPr lang="de-DE"/>
          </a:p>
        </p:txBody>
      </p:sp>
      <p:grpSp>
        <p:nvGrpSpPr>
          <p:cNvPr id="3" name="Gruppieren 2">
            <a:extLst>
              <a:ext uri="{FF2B5EF4-FFF2-40B4-BE49-F238E27FC236}">
                <a16:creationId xmlns:a16="http://schemas.microsoft.com/office/drawing/2014/main" id="{11221DD2-DEF4-4061-993C-67A52AAE7BED}"/>
              </a:ext>
            </a:extLst>
          </p:cNvPr>
          <p:cNvGrpSpPr/>
          <p:nvPr/>
        </p:nvGrpSpPr>
        <p:grpSpPr>
          <a:xfrm>
            <a:off x="1285337" y="1442782"/>
            <a:ext cx="5661217" cy="2690661"/>
            <a:chOff x="1133032" y="1153704"/>
            <a:chExt cx="5661217" cy="2690661"/>
          </a:xfrm>
        </p:grpSpPr>
        <p:pic>
          <p:nvPicPr>
            <p:cNvPr id="14" name="Grafik 13">
              <a:extLst>
                <a:ext uri="{FF2B5EF4-FFF2-40B4-BE49-F238E27FC236}">
                  <a16:creationId xmlns:a16="http://schemas.microsoft.com/office/drawing/2014/main" id="{E2A67844-DDFF-4162-BF9C-334311BBFC77}"/>
                </a:ext>
              </a:extLst>
            </p:cNvPr>
            <p:cNvPicPr>
              <a:picLocks noChangeAspect="1"/>
            </p:cNvPicPr>
            <p:nvPr/>
          </p:nvPicPr>
          <p:blipFill rotWithShape="1">
            <a:blip r:embed="rId2"/>
            <a:srcRect r="11322"/>
            <a:stretch/>
          </p:blipFill>
          <p:spPr>
            <a:xfrm>
              <a:off x="1133032" y="1153704"/>
              <a:ext cx="5661217" cy="2690661"/>
            </a:xfrm>
            <a:prstGeom prst="rect">
              <a:avLst/>
            </a:prstGeom>
            <a:ln w="12700">
              <a:solidFill>
                <a:srgbClr val="2F5597"/>
              </a:solidFill>
            </a:ln>
            <a:effectLst/>
          </p:spPr>
        </p:pic>
        <p:sp>
          <p:nvSpPr>
            <p:cNvPr id="2" name="Rechteck 1">
              <a:extLst>
                <a:ext uri="{FF2B5EF4-FFF2-40B4-BE49-F238E27FC236}">
                  <a16:creationId xmlns:a16="http://schemas.microsoft.com/office/drawing/2014/main" id="{5FEAB266-2493-4C91-94CF-611BE834B732}"/>
                </a:ext>
              </a:extLst>
            </p:cNvPr>
            <p:cNvSpPr/>
            <p:nvPr/>
          </p:nvSpPr>
          <p:spPr>
            <a:xfrm>
              <a:off x="1229287" y="1460480"/>
              <a:ext cx="860769" cy="22247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5" name="Gruppieren 4">
            <a:extLst>
              <a:ext uri="{FF2B5EF4-FFF2-40B4-BE49-F238E27FC236}">
                <a16:creationId xmlns:a16="http://schemas.microsoft.com/office/drawing/2014/main" id="{21D06B91-AF0A-48F8-AA48-0B1BA7838F99}"/>
              </a:ext>
            </a:extLst>
          </p:cNvPr>
          <p:cNvGrpSpPr/>
          <p:nvPr/>
        </p:nvGrpSpPr>
        <p:grpSpPr>
          <a:xfrm>
            <a:off x="1275104" y="1442782"/>
            <a:ext cx="5671449" cy="2891733"/>
            <a:chOff x="1316374" y="1358132"/>
            <a:chExt cx="5574130" cy="2752054"/>
          </a:xfrm>
        </p:grpSpPr>
        <p:pic>
          <p:nvPicPr>
            <p:cNvPr id="17" name="Grafik 16">
              <a:extLst>
                <a:ext uri="{FF2B5EF4-FFF2-40B4-BE49-F238E27FC236}">
                  <a16:creationId xmlns:a16="http://schemas.microsoft.com/office/drawing/2014/main" id="{2DEA26D6-7795-45F4-84E8-80C03692A246}"/>
                </a:ext>
              </a:extLst>
            </p:cNvPr>
            <p:cNvPicPr>
              <a:picLocks noChangeAspect="1"/>
            </p:cNvPicPr>
            <p:nvPr/>
          </p:nvPicPr>
          <p:blipFill rotWithShape="1">
            <a:blip r:embed="rId3"/>
            <a:srcRect r="14718"/>
            <a:stretch/>
          </p:blipFill>
          <p:spPr>
            <a:xfrm>
              <a:off x="1316374" y="1358132"/>
              <a:ext cx="5574130" cy="2752054"/>
            </a:xfrm>
            <a:prstGeom prst="rect">
              <a:avLst/>
            </a:prstGeom>
            <a:ln w="12700">
              <a:solidFill>
                <a:srgbClr val="2F5597"/>
              </a:solidFill>
            </a:ln>
            <a:effectLst/>
          </p:spPr>
        </p:pic>
        <p:sp>
          <p:nvSpPr>
            <p:cNvPr id="4" name="Rechteck 3">
              <a:extLst>
                <a:ext uri="{FF2B5EF4-FFF2-40B4-BE49-F238E27FC236}">
                  <a16:creationId xmlns:a16="http://schemas.microsoft.com/office/drawing/2014/main" id="{2EAE0F55-5808-4AB3-A974-D7561771740F}"/>
                </a:ext>
              </a:extLst>
            </p:cNvPr>
            <p:cNvSpPr/>
            <p:nvPr/>
          </p:nvSpPr>
          <p:spPr>
            <a:xfrm>
              <a:off x="2273398" y="1656994"/>
              <a:ext cx="1021345" cy="220802"/>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7" name="Gruppieren 6">
            <a:extLst>
              <a:ext uri="{FF2B5EF4-FFF2-40B4-BE49-F238E27FC236}">
                <a16:creationId xmlns:a16="http://schemas.microsoft.com/office/drawing/2014/main" id="{5397EF5E-5CA5-4E89-84D9-E230A380E5EF}"/>
              </a:ext>
            </a:extLst>
          </p:cNvPr>
          <p:cNvGrpSpPr/>
          <p:nvPr/>
        </p:nvGrpSpPr>
        <p:grpSpPr>
          <a:xfrm>
            <a:off x="1275102" y="1457606"/>
            <a:ext cx="5681683" cy="2891733"/>
            <a:chOff x="1133031" y="1516107"/>
            <a:chExt cx="5547180" cy="2722029"/>
          </a:xfrm>
        </p:grpSpPr>
        <p:pic>
          <p:nvPicPr>
            <p:cNvPr id="20" name="Grafik 19">
              <a:extLst>
                <a:ext uri="{FF2B5EF4-FFF2-40B4-BE49-F238E27FC236}">
                  <a16:creationId xmlns:a16="http://schemas.microsoft.com/office/drawing/2014/main" id="{D3C9E88E-B393-455B-BC82-27EF402083A3}"/>
                </a:ext>
              </a:extLst>
            </p:cNvPr>
            <p:cNvPicPr>
              <a:picLocks noChangeAspect="1"/>
            </p:cNvPicPr>
            <p:nvPr/>
          </p:nvPicPr>
          <p:blipFill rotWithShape="1">
            <a:blip r:embed="rId4"/>
            <a:srcRect b="1987"/>
            <a:stretch/>
          </p:blipFill>
          <p:spPr>
            <a:xfrm>
              <a:off x="1133031" y="1516107"/>
              <a:ext cx="5547180" cy="2722029"/>
            </a:xfrm>
            <a:prstGeom prst="rect">
              <a:avLst/>
            </a:prstGeom>
            <a:ln w="12700">
              <a:solidFill>
                <a:srgbClr val="2F5597"/>
              </a:solidFill>
            </a:ln>
            <a:effectLst/>
          </p:spPr>
        </p:pic>
        <p:sp>
          <p:nvSpPr>
            <p:cNvPr id="6" name="Rechteck 5">
              <a:extLst>
                <a:ext uri="{FF2B5EF4-FFF2-40B4-BE49-F238E27FC236}">
                  <a16:creationId xmlns:a16="http://schemas.microsoft.com/office/drawing/2014/main" id="{22D7F2C2-A9C3-401A-9ED4-4497DDED745E}"/>
                </a:ext>
              </a:extLst>
            </p:cNvPr>
            <p:cNvSpPr/>
            <p:nvPr/>
          </p:nvSpPr>
          <p:spPr>
            <a:xfrm>
              <a:off x="2636044" y="3999476"/>
              <a:ext cx="745785" cy="1692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8" name="Grafik 7">
            <a:extLst>
              <a:ext uri="{FF2B5EF4-FFF2-40B4-BE49-F238E27FC236}">
                <a16:creationId xmlns:a16="http://schemas.microsoft.com/office/drawing/2014/main" id="{454763C2-4EF1-43EA-9132-0C5B5982C52E}"/>
              </a:ext>
            </a:extLst>
          </p:cNvPr>
          <p:cNvPicPr>
            <a:picLocks noChangeAspect="1"/>
          </p:cNvPicPr>
          <p:nvPr/>
        </p:nvPicPr>
        <p:blipFill>
          <a:blip r:embed="rId5"/>
          <a:stretch>
            <a:fillRect/>
          </a:stretch>
        </p:blipFill>
        <p:spPr>
          <a:xfrm>
            <a:off x="622132" y="1427958"/>
            <a:ext cx="7899736" cy="2919024"/>
          </a:xfrm>
          <a:prstGeom prst="rect">
            <a:avLst/>
          </a:prstGeom>
          <a:ln w="12700">
            <a:solidFill>
              <a:srgbClr val="2F5597"/>
            </a:solidFill>
          </a:ln>
          <a:effectLst/>
        </p:spPr>
      </p:pic>
    </p:spTree>
    <p:extLst>
      <p:ext uri="{BB962C8B-B14F-4D97-AF65-F5344CB8AC3E}">
        <p14:creationId xmlns:p14="http://schemas.microsoft.com/office/powerpoint/2010/main" val="4406447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0984A7B3-C389-4B2A-B9A8-6AA44CFE91DD}"/>
              </a:ext>
            </a:extLst>
          </p:cNvPr>
          <p:cNvSpPr>
            <a:spLocks noGrp="1"/>
          </p:cNvSpPr>
          <p:nvPr>
            <p:ph type="body" sz="quarter" idx="18"/>
          </p:nvPr>
        </p:nvSpPr>
        <p:spPr>
          <a:xfrm>
            <a:off x="4445981" y="920748"/>
            <a:ext cx="4515919" cy="269435"/>
          </a:xfrm>
        </p:spPr>
        <p:txBody>
          <a:bodyPr/>
          <a:lstStyle/>
          <a:p>
            <a:r>
              <a:rPr lang="de-CH" err="1"/>
              <a:t>Introduction</a:t>
            </a:r>
            <a:endParaRPr lang="de-CH"/>
          </a:p>
          <a:p>
            <a:endParaRPr lang="de-CH"/>
          </a:p>
        </p:txBody>
      </p:sp>
      <p:sp>
        <p:nvSpPr>
          <p:cNvPr id="5" name="Textplatzhalter 4">
            <a:extLst>
              <a:ext uri="{FF2B5EF4-FFF2-40B4-BE49-F238E27FC236}">
                <a16:creationId xmlns:a16="http://schemas.microsoft.com/office/drawing/2014/main" id="{85328FF6-C855-4260-814A-2EC0759668D8}"/>
              </a:ext>
            </a:extLst>
          </p:cNvPr>
          <p:cNvSpPr>
            <a:spLocks noGrp="1"/>
          </p:cNvSpPr>
          <p:nvPr>
            <p:ph type="body" sz="quarter" idx="19"/>
          </p:nvPr>
        </p:nvSpPr>
        <p:spPr>
          <a:xfrm>
            <a:off x="4445980" y="2305089"/>
            <a:ext cx="4515919" cy="269435"/>
          </a:xfrm>
        </p:spPr>
        <p:txBody>
          <a:bodyPr/>
          <a:lstStyle/>
          <a:p>
            <a:r>
              <a:rPr lang="en-US"/>
              <a:t>Working process from data creation to data transmission</a:t>
            </a:r>
          </a:p>
          <a:p>
            <a:endParaRPr lang="de-CH"/>
          </a:p>
        </p:txBody>
      </p:sp>
      <p:sp>
        <p:nvSpPr>
          <p:cNvPr id="6" name="Textplatzhalter 5">
            <a:extLst>
              <a:ext uri="{FF2B5EF4-FFF2-40B4-BE49-F238E27FC236}">
                <a16:creationId xmlns:a16="http://schemas.microsoft.com/office/drawing/2014/main" id="{18E39E10-1B55-4326-B9E7-BA2552D48489}"/>
              </a:ext>
            </a:extLst>
          </p:cNvPr>
          <p:cNvSpPr>
            <a:spLocks noGrp="1"/>
          </p:cNvSpPr>
          <p:nvPr>
            <p:ph type="body" sz="quarter" idx="20"/>
          </p:nvPr>
        </p:nvSpPr>
        <p:spPr>
          <a:xfrm>
            <a:off x="4445980" y="4641283"/>
            <a:ext cx="4515919" cy="269435"/>
          </a:xfrm>
        </p:spPr>
        <p:txBody>
          <a:bodyPr/>
          <a:lstStyle/>
          <a:p>
            <a:r>
              <a:rPr lang="de-CH"/>
              <a:t>Appendix</a:t>
            </a:r>
          </a:p>
        </p:txBody>
      </p:sp>
      <p:sp>
        <p:nvSpPr>
          <p:cNvPr id="9" name="Textplatzhalter 8">
            <a:extLst>
              <a:ext uri="{FF2B5EF4-FFF2-40B4-BE49-F238E27FC236}">
                <a16:creationId xmlns:a16="http://schemas.microsoft.com/office/drawing/2014/main" id="{E2ECFA4D-94D8-4247-A042-D55E2686891F}"/>
              </a:ext>
            </a:extLst>
          </p:cNvPr>
          <p:cNvSpPr>
            <a:spLocks noGrp="1"/>
          </p:cNvSpPr>
          <p:nvPr>
            <p:ph type="body" sz="quarter" idx="22"/>
          </p:nvPr>
        </p:nvSpPr>
        <p:spPr>
          <a:xfrm>
            <a:off x="4445980" y="1209540"/>
            <a:ext cx="4515919" cy="269435"/>
          </a:xfrm>
        </p:spPr>
        <p:txBody>
          <a:bodyPr>
            <a:noAutofit/>
          </a:bodyPr>
          <a:lstStyle/>
          <a:p>
            <a:pPr marL="228600" indent="-228600">
              <a:buFont typeface="+mj-lt"/>
              <a:buAutoNum type="arabicPeriod"/>
            </a:pPr>
            <a:r>
              <a:rPr lang="de-CH" sz="800"/>
              <a:t>UDI SAP Add-On (EU)</a:t>
            </a:r>
          </a:p>
          <a:p>
            <a:pPr marL="228600" indent="-228600">
              <a:buFont typeface="+mj-lt"/>
              <a:buAutoNum type="arabicPeriod"/>
            </a:pPr>
            <a:r>
              <a:rPr lang="de-CH" sz="800"/>
              <a:t>Code </a:t>
            </a:r>
            <a:r>
              <a:rPr lang="de-CH" sz="800" err="1"/>
              <a:t>lists</a:t>
            </a:r>
            <a:endParaRPr lang="de-CH" sz="800"/>
          </a:p>
          <a:p>
            <a:pPr marL="228600" indent="-228600">
              <a:buFont typeface="+mj-lt"/>
              <a:buAutoNum type="arabicPeriod"/>
            </a:pPr>
            <a:r>
              <a:rPr lang="de-CH" sz="800"/>
              <a:t>UDI </a:t>
            </a:r>
            <a:r>
              <a:rPr lang="de-CH" sz="800" err="1"/>
              <a:t>program</a:t>
            </a:r>
            <a:r>
              <a:rPr lang="de-CH" sz="800"/>
              <a:t> </a:t>
            </a:r>
            <a:r>
              <a:rPr lang="de-CH" sz="800" err="1"/>
              <a:t>settings</a:t>
            </a:r>
            <a:endParaRPr lang="de-CH" sz="800"/>
          </a:p>
          <a:p>
            <a:pPr marL="228600" indent="-228600">
              <a:buFont typeface="+mj-lt"/>
              <a:buAutoNum type="arabicPeriod"/>
            </a:pPr>
            <a:r>
              <a:rPr lang="de-CH" sz="800"/>
              <a:t>UDI </a:t>
            </a:r>
            <a:r>
              <a:rPr lang="de-CH" sz="800" err="1"/>
              <a:t>transactions</a:t>
            </a:r>
            <a:endParaRPr lang="de-CH" sz="800"/>
          </a:p>
          <a:p>
            <a:pPr marL="228600" indent="-228600">
              <a:buFont typeface="+mj-lt"/>
              <a:buAutoNum type="arabicPeriod"/>
            </a:pPr>
            <a:r>
              <a:rPr lang="de-CH" sz="800"/>
              <a:t>UDI </a:t>
            </a:r>
            <a:r>
              <a:rPr lang="de-CH" sz="800" err="1"/>
              <a:t>transaction</a:t>
            </a:r>
            <a:r>
              <a:rPr lang="de-CH" sz="800"/>
              <a:t> </a:t>
            </a:r>
            <a:r>
              <a:rPr lang="de-CH" sz="800" err="1"/>
              <a:t>codes</a:t>
            </a:r>
            <a:endParaRPr lang="de-CH" sz="800"/>
          </a:p>
          <a:p>
            <a:endParaRPr lang="de-CH"/>
          </a:p>
        </p:txBody>
      </p:sp>
      <p:sp>
        <p:nvSpPr>
          <p:cNvPr id="10" name="Textplatzhalter 9">
            <a:extLst>
              <a:ext uri="{FF2B5EF4-FFF2-40B4-BE49-F238E27FC236}">
                <a16:creationId xmlns:a16="http://schemas.microsoft.com/office/drawing/2014/main" id="{E8E7EBA0-C1EC-4B76-8390-F38783008468}"/>
              </a:ext>
            </a:extLst>
          </p:cNvPr>
          <p:cNvSpPr>
            <a:spLocks noGrp="1"/>
          </p:cNvSpPr>
          <p:nvPr>
            <p:ph type="body" sz="quarter" idx="23"/>
          </p:nvPr>
        </p:nvSpPr>
        <p:spPr>
          <a:xfrm>
            <a:off x="4445980" y="2579617"/>
            <a:ext cx="4515919" cy="269435"/>
          </a:xfrm>
        </p:spPr>
        <p:txBody>
          <a:bodyPr>
            <a:noAutofit/>
          </a:bodyPr>
          <a:lstStyle/>
          <a:p>
            <a:pPr marL="228600" indent="-228600">
              <a:buFont typeface="+mj-lt"/>
              <a:buAutoNum type="arabicPeriod"/>
            </a:pPr>
            <a:r>
              <a:rPr lang="de-CH" sz="800"/>
              <a:t>UDI relevant </a:t>
            </a:r>
            <a:r>
              <a:rPr lang="de-CH" sz="800" err="1"/>
              <a:t>marking</a:t>
            </a:r>
            <a:endParaRPr lang="de-CH" sz="800"/>
          </a:p>
          <a:p>
            <a:pPr marL="228600" indent="-228600">
              <a:buFont typeface="+mj-lt"/>
              <a:buAutoNum type="arabicPeriod"/>
            </a:pPr>
            <a:r>
              <a:rPr lang="de-CH" sz="800" err="1"/>
              <a:t>Product</a:t>
            </a:r>
            <a:r>
              <a:rPr lang="de-CH" sz="800"/>
              <a:t> </a:t>
            </a:r>
            <a:r>
              <a:rPr lang="de-CH" sz="800" err="1"/>
              <a:t>creation</a:t>
            </a:r>
            <a:r>
              <a:rPr lang="de-CH" sz="800"/>
              <a:t> in </a:t>
            </a:r>
            <a:r>
              <a:rPr lang="de-CH" sz="800" err="1"/>
              <a:t>the</a:t>
            </a:r>
            <a:r>
              <a:rPr lang="de-CH" sz="800"/>
              <a:t> Add-On</a:t>
            </a:r>
          </a:p>
          <a:p>
            <a:pPr marL="228600" indent="-228600">
              <a:buFont typeface="+mj-lt"/>
              <a:buAutoNum type="arabicPeriod"/>
            </a:pPr>
            <a:r>
              <a:rPr lang="de-CH" sz="800" err="1"/>
              <a:t>Product</a:t>
            </a:r>
            <a:r>
              <a:rPr lang="de-CH" sz="800"/>
              <a:t> </a:t>
            </a:r>
            <a:r>
              <a:rPr lang="de-CH" sz="800" err="1"/>
              <a:t>creation</a:t>
            </a:r>
            <a:r>
              <a:rPr lang="de-CH" sz="800"/>
              <a:t> </a:t>
            </a:r>
            <a:r>
              <a:rPr lang="de-CH" sz="800" err="1"/>
              <a:t>with</a:t>
            </a:r>
            <a:r>
              <a:rPr lang="de-CH" sz="800"/>
              <a:t> Excel</a:t>
            </a:r>
          </a:p>
          <a:p>
            <a:pPr marL="228600" indent="-228600">
              <a:buFont typeface="+mj-lt"/>
              <a:buAutoNum type="arabicPeriod"/>
            </a:pPr>
            <a:r>
              <a:rPr lang="de-CH" sz="800"/>
              <a:t>Mass </a:t>
            </a:r>
            <a:r>
              <a:rPr lang="de-CH" sz="800" err="1"/>
              <a:t>change</a:t>
            </a:r>
            <a:r>
              <a:rPr lang="de-CH" sz="800"/>
              <a:t> </a:t>
            </a:r>
          </a:p>
          <a:p>
            <a:pPr marL="228600" indent="-228600">
              <a:buFont typeface="+mj-lt"/>
              <a:buAutoNum type="arabicPeriod"/>
            </a:pPr>
            <a:r>
              <a:rPr lang="de-CH" sz="800"/>
              <a:t>Data </a:t>
            </a:r>
            <a:r>
              <a:rPr lang="de-CH" sz="800" err="1"/>
              <a:t>overview</a:t>
            </a:r>
            <a:r>
              <a:rPr lang="de-CH" sz="800"/>
              <a:t>, </a:t>
            </a:r>
            <a:r>
              <a:rPr lang="de-CH" sz="800" err="1"/>
              <a:t>visual</a:t>
            </a:r>
            <a:r>
              <a:rPr lang="de-CH" sz="800"/>
              <a:t> </a:t>
            </a:r>
            <a:r>
              <a:rPr lang="de-CH" sz="800" err="1"/>
              <a:t>data</a:t>
            </a:r>
            <a:r>
              <a:rPr lang="de-CH" sz="800"/>
              <a:t> check /UDI/Attributes</a:t>
            </a:r>
          </a:p>
          <a:p>
            <a:pPr marL="228600" indent="-228600">
              <a:buFont typeface="+mj-lt"/>
              <a:buAutoNum type="arabicPeriod"/>
            </a:pPr>
            <a:r>
              <a:rPr lang="de-CH" sz="800"/>
              <a:t>Integrity check, </a:t>
            </a:r>
            <a:r>
              <a:rPr lang="de-CH" sz="800" err="1"/>
              <a:t>validation</a:t>
            </a:r>
            <a:r>
              <a:rPr lang="de-CH" sz="800"/>
              <a:t> check</a:t>
            </a:r>
          </a:p>
          <a:p>
            <a:pPr marL="228600" indent="-228600">
              <a:buFont typeface="+mj-lt"/>
              <a:buAutoNum type="arabicPeriod"/>
            </a:pPr>
            <a:r>
              <a:rPr lang="de-CH" sz="800"/>
              <a:t>Data release</a:t>
            </a:r>
          </a:p>
          <a:p>
            <a:pPr marL="228600" indent="-228600">
              <a:buFont typeface="+mj-lt"/>
              <a:buAutoNum type="arabicPeriod"/>
            </a:pPr>
            <a:r>
              <a:rPr lang="de-CH" sz="800"/>
              <a:t>Excel </a:t>
            </a:r>
            <a:r>
              <a:rPr lang="de-CH" sz="800" err="1"/>
              <a:t>export</a:t>
            </a:r>
            <a:endParaRPr lang="de-CH" sz="800"/>
          </a:p>
          <a:p>
            <a:pPr marL="228600" indent="-228600">
              <a:buFont typeface="+mj-lt"/>
              <a:buAutoNum type="arabicPeriod"/>
            </a:pPr>
            <a:r>
              <a:rPr lang="de-CH" sz="800"/>
              <a:t>XML </a:t>
            </a:r>
            <a:r>
              <a:rPr lang="de-CH" sz="800" err="1"/>
              <a:t>export</a:t>
            </a:r>
            <a:endParaRPr lang="de-CH" sz="800"/>
          </a:p>
          <a:p>
            <a:pPr marL="228600" indent="-228600">
              <a:buFont typeface="+mj-lt"/>
              <a:buAutoNum type="arabicPeriod"/>
            </a:pPr>
            <a:r>
              <a:rPr lang="de-CH" sz="800"/>
              <a:t>Europe IT Consulting Web Service</a:t>
            </a:r>
          </a:p>
          <a:p>
            <a:endParaRPr lang="de-CH"/>
          </a:p>
        </p:txBody>
      </p:sp>
      <p:sp>
        <p:nvSpPr>
          <p:cNvPr id="8" name="Titel 1">
            <a:extLst>
              <a:ext uri="{FF2B5EF4-FFF2-40B4-BE49-F238E27FC236}">
                <a16:creationId xmlns:a16="http://schemas.microsoft.com/office/drawing/2014/main" id="{287CCD4F-54BA-47CE-B2F1-FB57F813C307}"/>
              </a:ext>
            </a:extLst>
          </p:cNvPr>
          <p:cNvSpPr txBox="1">
            <a:spLocks/>
          </p:cNvSpPr>
          <p:nvPr/>
        </p:nvSpPr>
        <p:spPr>
          <a:xfrm>
            <a:off x="2554703" y="195216"/>
            <a:ext cx="5495908" cy="4987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200" b="1">
                <a:solidFill>
                  <a:schemeClr val="bg1"/>
                </a:solidFill>
                <a:latin typeface="+mj-lt"/>
                <a:cs typeface="Arial" panose="020B0604020202020204" pitchFamily="34" charset="0"/>
              </a:rPr>
              <a:t>Agenda </a:t>
            </a:r>
            <a:endParaRPr lang="de-DE" sz="2800">
              <a:solidFill>
                <a:schemeClr val="bg1"/>
              </a:solidFill>
              <a:latin typeface="+mj-lt"/>
              <a:cs typeface="Arial" panose="020B0604020202020204" pitchFamily="34" charset="0"/>
            </a:endParaRPr>
          </a:p>
          <a:p>
            <a:endParaRPr lang="de-DE" sz="2800">
              <a:solidFill>
                <a:schemeClr val="bg1"/>
              </a:solidFill>
              <a:latin typeface="+mj-lt"/>
              <a:cs typeface="Arial" panose="020B0604020202020204" pitchFamily="34" charset="0"/>
            </a:endParaRPr>
          </a:p>
        </p:txBody>
      </p:sp>
      <p:sp>
        <p:nvSpPr>
          <p:cNvPr id="11" name="Ellipse 10">
            <a:extLst>
              <a:ext uri="{FF2B5EF4-FFF2-40B4-BE49-F238E27FC236}">
                <a16:creationId xmlns:a16="http://schemas.microsoft.com/office/drawing/2014/main" id="{7DAB73B1-70C5-4319-BD8F-B505C4881A49}"/>
              </a:ext>
            </a:extLst>
          </p:cNvPr>
          <p:cNvSpPr/>
          <p:nvPr/>
        </p:nvSpPr>
        <p:spPr>
          <a:xfrm>
            <a:off x="3029871" y="804567"/>
            <a:ext cx="520931" cy="498763"/>
          </a:xfrm>
          <a:prstGeom prst="ellipse">
            <a:avLst/>
          </a:prstGeom>
          <a:solidFill>
            <a:schemeClr val="bg1"/>
          </a:solidFill>
          <a:ln w="38100">
            <a:solidFill>
              <a:srgbClr val="A9C7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a:solidFill>
                  <a:srgbClr val="002060"/>
                </a:solidFill>
                <a:latin typeface="Arial" panose="020B0604020202020204" pitchFamily="34" charset="0"/>
                <a:cs typeface="Arial" panose="020B0604020202020204" pitchFamily="34" charset="0"/>
              </a:rPr>
              <a:t>1</a:t>
            </a:r>
          </a:p>
        </p:txBody>
      </p:sp>
      <p:sp>
        <p:nvSpPr>
          <p:cNvPr id="12" name="Ellipse 11">
            <a:extLst>
              <a:ext uri="{FF2B5EF4-FFF2-40B4-BE49-F238E27FC236}">
                <a16:creationId xmlns:a16="http://schemas.microsoft.com/office/drawing/2014/main" id="{B5E3ED53-8CD0-48BC-A668-A74503CCDCA8}"/>
              </a:ext>
            </a:extLst>
          </p:cNvPr>
          <p:cNvSpPr/>
          <p:nvPr/>
        </p:nvSpPr>
        <p:spPr>
          <a:xfrm>
            <a:off x="3029871" y="2198588"/>
            <a:ext cx="520931" cy="498763"/>
          </a:xfrm>
          <a:prstGeom prst="ellipse">
            <a:avLst/>
          </a:prstGeom>
          <a:solidFill>
            <a:schemeClr val="bg1"/>
          </a:solidFill>
          <a:ln w="38100">
            <a:solidFill>
              <a:srgbClr val="A9C7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800">
                <a:solidFill>
                  <a:srgbClr val="002060"/>
                </a:solidFill>
                <a:latin typeface="Arial" panose="020B0604020202020204" pitchFamily="34" charset="0"/>
                <a:cs typeface="Arial" panose="020B0604020202020204" pitchFamily="34" charset="0"/>
              </a:rPr>
              <a:t>2</a:t>
            </a:r>
          </a:p>
        </p:txBody>
      </p:sp>
      <p:sp>
        <p:nvSpPr>
          <p:cNvPr id="13" name="Ellipse 12">
            <a:extLst>
              <a:ext uri="{FF2B5EF4-FFF2-40B4-BE49-F238E27FC236}">
                <a16:creationId xmlns:a16="http://schemas.microsoft.com/office/drawing/2014/main" id="{8709DBBB-A1E8-4CA6-B72A-8446F2EFD809}"/>
              </a:ext>
            </a:extLst>
          </p:cNvPr>
          <p:cNvSpPr/>
          <p:nvPr/>
        </p:nvSpPr>
        <p:spPr>
          <a:xfrm>
            <a:off x="3029869" y="4492336"/>
            <a:ext cx="520931" cy="498763"/>
          </a:xfrm>
          <a:prstGeom prst="ellipse">
            <a:avLst/>
          </a:prstGeom>
          <a:solidFill>
            <a:schemeClr val="bg1"/>
          </a:solidFill>
          <a:ln w="38100">
            <a:solidFill>
              <a:srgbClr val="A9C7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800">
                <a:solidFill>
                  <a:srgbClr val="002060"/>
                </a:solidFill>
                <a:latin typeface="Arial" panose="020B0604020202020204" pitchFamily="34" charset="0"/>
                <a:cs typeface="Arial" panose="020B0604020202020204" pitchFamily="34" charset="0"/>
              </a:rPr>
              <a:t>3</a:t>
            </a:r>
          </a:p>
        </p:txBody>
      </p:sp>
      <p:cxnSp>
        <p:nvCxnSpPr>
          <p:cNvPr id="14" name="Gerade Verbindung mit Pfeil 13">
            <a:extLst>
              <a:ext uri="{FF2B5EF4-FFF2-40B4-BE49-F238E27FC236}">
                <a16:creationId xmlns:a16="http://schemas.microsoft.com/office/drawing/2014/main" id="{F37688E2-8CB3-4EF9-BB4D-AFF01DBB5C63}"/>
              </a:ext>
            </a:extLst>
          </p:cNvPr>
          <p:cNvCxnSpPr>
            <a:cxnSpLocks/>
            <a:stCxn id="11" idx="6"/>
          </p:cNvCxnSpPr>
          <p:nvPr/>
        </p:nvCxnSpPr>
        <p:spPr>
          <a:xfrm>
            <a:off x="3550802" y="1053949"/>
            <a:ext cx="699389" cy="0"/>
          </a:xfrm>
          <a:prstGeom prst="straightConnector1">
            <a:avLst/>
          </a:prstGeom>
          <a:ln w="38100">
            <a:solidFill>
              <a:srgbClr val="A9C7D7"/>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15" name="Gerade Verbindung mit Pfeil 14">
            <a:extLst>
              <a:ext uri="{FF2B5EF4-FFF2-40B4-BE49-F238E27FC236}">
                <a16:creationId xmlns:a16="http://schemas.microsoft.com/office/drawing/2014/main" id="{FFB8F3FB-5F3C-48AC-8BB4-CC9E1943C4D2}"/>
              </a:ext>
            </a:extLst>
          </p:cNvPr>
          <p:cNvCxnSpPr>
            <a:cxnSpLocks/>
            <a:stCxn id="12" idx="6"/>
          </p:cNvCxnSpPr>
          <p:nvPr/>
        </p:nvCxnSpPr>
        <p:spPr>
          <a:xfrm>
            <a:off x="3550802" y="2447970"/>
            <a:ext cx="699389" cy="0"/>
          </a:xfrm>
          <a:prstGeom prst="straightConnector1">
            <a:avLst/>
          </a:prstGeom>
          <a:ln w="38100">
            <a:solidFill>
              <a:srgbClr val="A9C7D7"/>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16" name="Gerade Verbindung mit Pfeil 15">
            <a:extLst>
              <a:ext uri="{FF2B5EF4-FFF2-40B4-BE49-F238E27FC236}">
                <a16:creationId xmlns:a16="http://schemas.microsoft.com/office/drawing/2014/main" id="{6F336E84-70AD-46C2-BA07-7CA1E4296EC2}"/>
              </a:ext>
            </a:extLst>
          </p:cNvPr>
          <p:cNvCxnSpPr>
            <a:cxnSpLocks/>
            <a:stCxn id="13" idx="6"/>
          </p:cNvCxnSpPr>
          <p:nvPr/>
        </p:nvCxnSpPr>
        <p:spPr>
          <a:xfrm>
            <a:off x="3550800" y="4741718"/>
            <a:ext cx="699387" cy="0"/>
          </a:xfrm>
          <a:prstGeom prst="straightConnector1">
            <a:avLst/>
          </a:prstGeom>
          <a:ln w="38100">
            <a:solidFill>
              <a:srgbClr val="A9C7D7"/>
            </a:solidFill>
            <a:headEnd type="none"/>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244766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31B7AA0C-A9EA-45F5-A255-CC48DBFEDEC8}"/>
              </a:ext>
            </a:extLst>
          </p:cNvPr>
          <p:cNvPicPr>
            <a:picLocks noChangeAspect="1"/>
          </p:cNvPicPr>
          <p:nvPr/>
        </p:nvPicPr>
        <p:blipFill>
          <a:blip r:embed="rId2"/>
          <a:stretch>
            <a:fillRect/>
          </a:stretch>
        </p:blipFill>
        <p:spPr>
          <a:xfrm>
            <a:off x="3945951" y="1606162"/>
            <a:ext cx="5100505" cy="2927509"/>
          </a:xfrm>
          <a:prstGeom prst="rect">
            <a:avLst/>
          </a:prstGeom>
          <a:ln w="12700">
            <a:solidFill>
              <a:srgbClr val="2F5597"/>
            </a:solidFill>
          </a:ln>
          <a:effectLst/>
        </p:spPr>
      </p:pic>
      <p:sp>
        <p:nvSpPr>
          <p:cNvPr id="8" name="Inhaltsplatzhalter 6">
            <a:extLst>
              <a:ext uri="{FF2B5EF4-FFF2-40B4-BE49-F238E27FC236}">
                <a16:creationId xmlns:a16="http://schemas.microsoft.com/office/drawing/2014/main" id="{A7456E7F-10D1-4C0A-90FA-14C8584650A9}"/>
              </a:ext>
            </a:extLst>
          </p:cNvPr>
          <p:cNvSpPr>
            <a:spLocks noGrp="1"/>
          </p:cNvSpPr>
          <p:nvPr>
            <p:ph sz="quarter" idx="19"/>
          </p:nvPr>
        </p:nvSpPr>
        <p:spPr>
          <a:xfrm>
            <a:off x="222659" y="1203598"/>
            <a:ext cx="3693508" cy="3455988"/>
          </a:xfrm>
        </p:spPr>
        <p:txBody>
          <a:bodyPr>
            <a:normAutofit/>
          </a:bodyPr>
          <a:lstStyle/>
          <a:p>
            <a:pPr>
              <a:buFont typeface="Arial" panose="020B0604020202020204" pitchFamily="34" charset="0"/>
              <a:buChar char="•"/>
            </a:pPr>
            <a:r>
              <a:rPr lang="en-US"/>
              <a:t>Enter /n/UDI/EU to access the UDI transactions or directly enter the UDI data mass maintenance transaction /UDI/MASS</a:t>
            </a:r>
          </a:p>
          <a:p>
            <a:pPr>
              <a:buFont typeface="Arial" panose="020B0604020202020204" pitchFamily="34" charset="0"/>
              <a:buChar char="•"/>
            </a:pPr>
            <a:r>
              <a:rPr lang="en-US"/>
              <a:t>Select the “Data Area” for the mass change, either “Basic UDI-DI” or “UDI-DI”</a:t>
            </a:r>
          </a:p>
        </p:txBody>
      </p:sp>
      <p:sp>
        <p:nvSpPr>
          <p:cNvPr id="24" name="Rechteck 23">
            <a:extLst>
              <a:ext uri="{FF2B5EF4-FFF2-40B4-BE49-F238E27FC236}">
                <a16:creationId xmlns:a16="http://schemas.microsoft.com/office/drawing/2014/main" id="{64CE230C-2929-449A-A9BE-88AA9755CDBA}"/>
              </a:ext>
            </a:extLst>
          </p:cNvPr>
          <p:cNvSpPr/>
          <p:nvPr/>
        </p:nvSpPr>
        <p:spPr>
          <a:xfrm>
            <a:off x="4034250" y="4212236"/>
            <a:ext cx="3303436" cy="137103"/>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8" name="Textplatzhalter 5">
            <a:extLst>
              <a:ext uri="{FF2B5EF4-FFF2-40B4-BE49-F238E27FC236}">
                <a16:creationId xmlns:a16="http://schemas.microsoft.com/office/drawing/2014/main" id="{097A3AC2-60ED-49C8-B07C-89B133E09027}"/>
              </a:ext>
            </a:extLst>
          </p:cNvPr>
          <p:cNvSpPr>
            <a:spLocks noGrp="1"/>
          </p:cNvSpPr>
          <p:nvPr>
            <p:ph type="body" sz="quarter" idx="18"/>
          </p:nvPr>
        </p:nvSpPr>
        <p:spPr>
          <a:xfrm>
            <a:off x="219267" y="794161"/>
            <a:ext cx="8600883" cy="330544"/>
          </a:xfrm>
        </p:spPr>
        <p:txBody>
          <a:bodyPr>
            <a:normAutofit/>
          </a:bodyPr>
          <a:lstStyle/>
          <a:p>
            <a:r>
              <a:rPr lang="de-DE"/>
              <a:t>2.4 </a:t>
            </a:r>
            <a:r>
              <a:rPr lang="en-US"/>
              <a:t>Mass change in the Add-On</a:t>
            </a:r>
          </a:p>
        </p:txBody>
      </p:sp>
      <p:sp>
        <p:nvSpPr>
          <p:cNvPr id="19" name="Titel 2">
            <a:extLst>
              <a:ext uri="{FF2B5EF4-FFF2-40B4-BE49-F238E27FC236}">
                <a16:creationId xmlns:a16="http://schemas.microsoft.com/office/drawing/2014/main" id="{4D1220C5-5BE9-4999-8588-45C93454DB47}"/>
              </a:ext>
            </a:extLst>
          </p:cNvPr>
          <p:cNvSpPr>
            <a:spLocks noGrp="1"/>
          </p:cNvSpPr>
          <p:nvPr>
            <p:ph type="title"/>
          </p:nvPr>
        </p:nvSpPr>
        <p:spPr>
          <a:xfrm>
            <a:off x="269393" y="78770"/>
            <a:ext cx="7907189" cy="330545"/>
          </a:xfrm>
        </p:spPr>
        <p:txBody>
          <a:bodyPr>
            <a:normAutofit fontScale="90000"/>
          </a:bodyPr>
          <a:lstStyle/>
          <a:p>
            <a:r>
              <a:rPr lang="de-DE"/>
              <a:t>2. </a:t>
            </a:r>
            <a:r>
              <a:rPr lang="en-US"/>
              <a:t>W</a:t>
            </a:r>
            <a:r>
              <a:rPr lang="en-US" sz="1800" b="1"/>
              <a:t>ork processes from the database to data transmission </a:t>
            </a:r>
            <a:endParaRPr lang="de-DE"/>
          </a:p>
        </p:txBody>
      </p:sp>
      <p:sp>
        <p:nvSpPr>
          <p:cNvPr id="10" name="Ellipse 9">
            <a:extLst>
              <a:ext uri="{FF2B5EF4-FFF2-40B4-BE49-F238E27FC236}">
                <a16:creationId xmlns:a16="http://schemas.microsoft.com/office/drawing/2014/main" id="{EF9BA075-5A30-4EE0-A703-2233EEDFCD55}"/>
              </a:ext>
            </a:extLst>
          </p:cNvPr>
          <p:cNvSpPr/>
          <p:nvPr/>
        </p:nvSpPr>
        <p:spPr>
          <a:xfrm>
            <a:off x="7490040" y="4156205"/>
            <a:ext cx="196616" cy="193134"/>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t>1</a:t>
            </a:r>
            <a:endParaRPr lang="en-US"/>
          </a:p>
        </p:txBody>
      </p:sp>
      <p:pic>
        <p:nvPicPr>
          <p:cNvPr id="3" name="Grafik 2">
            <a:extLst>
              <a:ext uri="{FF2B5EF4-FFF2-40B4-BE49-F238E27FC236}">
                <a16:creationId xmlns:a16="http://schemas.microsoft.com/office/drawing/2014/main" id="{FE36BCDA-A0BF-45A7-8356-119FB0336E93}"/>
              </a:ext>
            </a:extLst>
          </p:cNvPr>
          <p:cNvPicPr>
            <a:picLocks noChangeAspect="1"/>
          </p:cNvPicPr>
          <p:nvPr/>
        </p:nvPicPr>
        <p:blipFill>
          <a:blip r:embed="rId3"/>
          <a:stretch>
            <a:fillRect/>
          </a:stretch>
        </p:blipFill>
        <p:spPr>
          <a:xfrm>
            <a:off x="252443" y="2904231"/>
            <a:ext cx="3554061" cy="1472976"/>
          </a:xfrm>
          <a:prstGeom prst="rect">
            <a:avLst/>
          </a:prstGeom>
          <a:ln w="12700">
            <a:solidFill>
              <a:srgbClr val="2F5597"/>
            </a:solidFill>
          </a:ln>
          <a:effectLst/>
        </p:spPr>
      </p:pic>
    </p:spTree>
    <p:extLst>
      <p:ext uri="{BB962C8B-B14F-4D97-AF65-F5344CB8AC3E}">
        <p14:creationId xmlns:p14="http://schemas.microsoft.com/office/powerpoint/2010/main" val="249262263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206C7248-A544-41BB-8076-13596F341D1A}"/>
              </a:ext>
            </a:extLst>
          </p:cNvPr>
          <p:cNvPicPr>
            <a:picLocks noChangeAspect="1"/>
          </p:cNvPicPr>
          <p:nvPr/>
        </p:nvPicPr>
        <p:blipFill>
          <a:blip r:embed="rId3"/>
          <a:stretch>
            <a:fillRect/>
          </a:stretch>
        </p:blipFill>
        <p:spPr>
          <a:xfrm>
            <a:off x="4766857" y="898764"/>
            <a:ext cx="3035923" cy="3837070"/>
          </a:xfrm>
          <a:prstGeom prst="rect">
            <a:avLst/>
          </a:prstGeom>
          <a:ln w="12700">
            <a:solidFill>
              <a:srgbClr val="2F5597"/>
            </a:solidFill>
          </a:ln>
          <a:effectLst/>
        </p:spPr>
      </p:pic>
      <p:sp>
        <p:nvSpPr>
          <p:cNvPr id="11" name="Textplatzhalter 5">
            <a:extLst>
              <a:ext uri="{FF2B5EF4-FFF2-40B4-BE49-F238E27FC236}">
                <a16:creationId xmlns:a16="http://schemas.microsoft.com/office/drawing/2014/main" id="{F4C04A4C-6B27-453E-91D1-E74C1A8BF64F}"/>
              </a:ext>
            </a:extLst>
          </p:cNvPr>
          <p:cNvSpPr>
            <a:spLocks noGrp="1"/>
          </p:cNvSpPr>
          <p:nvPr>
            <p:ph type="body" sz="quarter" idx="18"/>
          </p:nvPr>
        </p:nvSpPr>
        <p:spPr>
          <a:xfrm>
            <a:off x="173085" y="794161"/>
            <a:ext cx="8600883" cy="330544"/>
          </a:xfrm>
        </p:spPr>
        <p:txBody>
          <a:bodyPr>
            <a:normAutofit/>
          </a:bodyPr>
          <a:lstStyle/>
          <a:p>
            <a:r>
              <a:rPr lang="de-DE"/>
              <a:t>2.4 </a:t>
            </a:r>
            <a:r>
              <a:rPr lang="en-US"/>
              <a:t>Mass change in the Add-On</a:t>
            </a:r>
          </a:p>
          <a:p>
            <a:endParaRPr lang="de-DE"/>
          </a:p>
          <a:p>
            <a:endParaRPr lang="de-DE"/>
          </a:p>
        </p:txBody>
      </p:sp>
      <p:sp>
        <p:nvSpPr>
          <p:cNvPr id="5" name="Inhaltsplatzhalter 6">
            <a:extLst>
              <a:ext uri="{FF2B5EF4-FFF2-40B4-BE49-F238E27FC236}">
                <a16:creationId xmlns:a16="http://schemas.microsoft.com/office/drawing/2014/main" id="{0E269DA8-951A-4215-8F29-D205310203B1}"/>
              </a:ext>
            </a:extLst>
          </p:cNvPr>
          <p:cNvSpPr>
            <a:spLocks noGrp="1"/>
          </p:cNvSpPr>
          <p:nvPr>
            <p:ph sz="quarter" idx="19"/>
          </p:nvPr>
        </p:nvSpPr>
        <p:spPr>
          <a:xfrm>
            <a:off x="219267" y="1279846"/>
            <a:ext cx="3693508" cy="3455988"/>
          </a:xfrm>
        </p:spPr>
        <p:txBody>
          <a:bodyPr>
            <a:normAutofit/>
          </a:bodyPr>
          <a:lstStyle/>
          <a:p>
            <a:pPr marL="0" indent="0">
              <a:buNone/>
            </a:pPr>
            <a:r>
              <a:rPr lang="en-US"/>
              <a:t>Select the UDI field that needs to be changed</a:t>
            </a:r>
          </a:p>
        </p:txBody>
      </p:sp>
      <p:sp>
        <p:nvSpPr>
          <p:cNvPr id="12" name="Titel 2">
            <a:extLst>
              <a:ext uri="{FF2B5EF4-FFF2-40B4-BE49-F238E27FC236}">
                <a16:creationId xmlns:a16="http://schemas.microsoft.com/office/drawing/2014/main" id="{F8AE885E-BAD3-4A40-A830-7AB4FFC2113D}"/>
              </a:ext>
            </a:extLst>
          </p:cNvPr>
          <p:cNvSpPr>
            <a:spLocks noGrp="1"/>
          </p:cNvSpPr>
          <p:nvPr>
            <p:ph type="title"/>
          </p:nvPr>
        </p:nvSpPr>
        <p:spPr/>
        <p:txBody>
          <a:bodyPr>
            <a:normAutofit fontScale="90000"/>
          </a:bodyPr>
          <a:lstStyle/>
          <a:p>
            <a:r>
              <a:rPr lang="de-DE"/>
              <a:t>2. </a:t>
            </a:r>
            <a:r>
              <a:rPr lang="en-US"/>
              <a:t>W</a:t>
            </a:r>
            <a:r>
              <a:rPr lang="en-US" sz="1800" b="1"/>
              <a:t>ork processes from the database to data transmission </a:t>
            </a:r>
            <a:endParaRPr lang="de-DE"/>
          </a:p>
        </p:txBody>
      </p:sp>
      <p:sp>
        <p:nvSpPr>
          <p:cNvPr id="6" name="Rechteck 5">
            <a:extLst>
              <a:ext uri="{FF2B5EF4-FFF2-40B4-BE49-F238E27FC236}">
                <a16:creationId xmlns:a16="http://schemas.microsoft.com/office/drawing/2014/main" id="{6FD89FEB-87FB-4632-8108-6E59B254A9C7}"/>
              </a:ext>
            </a:extLst>
          </p:cNvPr>
          <p:cNvSpPr/>
          <p:nvPr/>
        </p:nvSpPr>
        <p:spPr>
          <a:xfrm>
            <a:off x="4766858" y="1390072"/>
            <a:ext cx="3035922" cy="3345761"/>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7" name="Ellipse 6">
            <a:extLst>
              <a:ext uri="{FF2B5EF4-FFF2-40B4-BE49-F238E27FC236}">
                <a16:creationId xmlns:a16="http://schemas.microsoft.com/office/drawing/2014/main" id="{C0E61E3D-73B8-46B1-8C88-53A2A6D9C5C0}"/>
              </a:ext>
            </a:extLst>
          </p:cNvPr>
          <p:cNvSpPr/>
          <p:nvPr/>
        </p:nvSpPr>
        <p:spPr>
          <a:xfrm>
            <a:off x="7095793" y="1125274"/>
            <a:ext cx="196616" cy="193134"/>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t>2</a:t>
            </a:r>
            <a:endParaRPr lang="en-US"/>
          </a:p>
        </p:txBody>
      </p:sp>
    </p:spTree>
    <p:extLst>
      <p:ext uri="{BB962C8B-B14F-4D97-AF65-F5344CB8AC3E}">
        <p14:creationId xmlns:p14="http://schemas.microsoft.com/office/powerpoint/2010/main" val="1854249031"/>
      </p:ext>
    </p:extLst>
  </p:cSld>
  <p:clrMapOvr>
    <a:overrideClrMapping bg1="lt1" tx1="dk1" bg2="lt2" tx2="dk2" accent1="accent1" accent2="accent2" accent3="accent3" accent4="accent4" accent5="accent5" accent6="accent6" hlink="hlink" folHlink="folHlink"/>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5">
            <a:extLst>
              <a:ext uri="{FF2B5EF4-FFF2-40B4-BE49-F238E27FC236}">
                <a16:creationId xmlns:a16="http://schemas.microsoft.com/office/drawing/2014/main" id="{54E040F2-824E-4187-86E8-030FD147EF5F}"/>
              </a:ext>
            </a:extLst>
          </p:cNvPr>
          <p:cNvSpPr>
            <a:spLocks noGrp="1"/>
          </p:cNvSpPr>
          <p:nvPr>
            <p:ph type="body" sz="quarter" idx="18"/>
          </p:nvPr>
        </p:nvSpPr>
        <p:spPr>
          <a:xfrm>
            <a:off x="219267" y="794161"/>
            <a:ext cx="8600883" cy="330544"/>
          </a:xfrm>
        </p:spPr>
        <p:txBody>
          <a:bodyPr>
            <a:normAutofit/>
          </a:bodyPr>
          <a:lstStyle/>
          <a:p>
            <a:r>
              <a:rPr lang="de-DE"/>
              <a:t>2.4 </a:t>
            </a:r>
            <a:r>
              <a:rPr lang="en-US"/>
              <a:t>Mass change in the Add-On</a:t>
            </a:r>
          </a:p>
          <a:p>
            <a:endParaRPr lang="de-DE"/>
          </a:p>
          <a:p>
            <a:endParaRPr lang="de-DE"/>
          </a:p>
        </p:txBody>
      </p:sp>
      <p:sp>
        <p:nvSpPr>
          <p:cNvPr id="12" name="Titel 2">
            <a:extLst>
              <a:ext uri="{FF2B5EF4-FFF2-40B4-BE49-F238E27FC236}">
                <a16:creationId xmlns:a16="http://schemas.microsoft.com/office/drawing/2014/main" id="{17476A21-E317-41F0-8C3B-637D7EBEBD8C}"/>
              </a:ext>
            </a:extLst>
          </p:cNvPr>
          <p:cNvSpPr>
            <a:spLocks noGrp="1"/>
          </p:cNvSpPr>
          <p:nvPr>
            <p:ph type="title"/>
          </p:nvPr>
        </p:nvSpPr>
        <p:spPr>
          <a:xfrm>
            <a:off x="269393" y="78770"/>
            <a:ext cx="7907189" cy="330545"/>
          </a:xfrm>
        </p:spPr>
        <p:txBody>
          <a:bodyPr>
            <a:normAutofit fontScale="90000"/>
          </a:bodyPr>
          <a:lstStyle/>
          <a:p>
            <a:r>
              <a:rPr lang="de-DE"/>
              <a:t>2. </a:t>
            </a:r>
            <a:r>
              <a:rPr lang="en-US"/>
              <a:t>W</a:t>
            </a:r>
            <a:r>
              <a:rPr lang="en-US" sz="1800" b="1"/>
              <a:t>ork processes from the database to data transmission </a:t>
            </a:r>
            <a:endParaRPr lang="de-DE"/>
          </a:p>
        </p:txBody>
      </p:sp>
      <p:sp>
        <p:nvSpPr>
          <p:cNvPr id="8" name="Inhaltsplatzhalter 6">
            <a:extLst>
              <a:ext uri="{FF2B5EF4-FFF2-40B4-BE49-F238E27FC236}">
                <a16:creationId xmlns:a16="http://schemas.microsoft.com/office/drawing/2014/main" id="{B936CAA5-4B12-45AD-8D8C-65BC85DF92BF}"/>
              </a:ext>
            </a:extLst>
          </p:cNvPr>
          <p:cNvSpPr>
            <a:spLocks noGrp="1"/>
          </p:cNvSpPr>
          <p:nvPr>
            <p:ph sz="quarter" idx="19"/>
          </p:nvPr>
        </p:nvSpPr>
        <p:spPr>
          <a:xfrm>
            <a:off x="222659" y="1203598"/>
            <a:ext cx="3693508" cy="3455988"/>
          </a:xfrm>
        </p:spPr>
        <p:txBody>
          <a:bodyPr>
            <a:normAutofit/>
          </a:bodyPr>
          <a:lstStyle/>
          <a:p>
            <a:pPr>
              <a:buFont typeface="Arial" panose="020B0604020202020204" pitchFamily="34" charset="0"/>
              <a:buChar char="•"/>
            </a:pPr>
            <a:r>
              <a:rPr lang="en-US"/>
              <a:t>All affected UDI records will be listed below </a:t>
            </a:r>
          </a:p>
          <a:p>
            <a:pPr>
              <a:buFont typeface="Arial" panose="020B0604020202020204" pitchFamily="34" charset="0"/>
              <a:buChar char="•"/>
            </a:pPr>
            <a:r>
              <a:rPr lang="en-US"/>
              <a:t>In the section “New field value” enter the new value for the mass change </a:t>
            </a:r>
          </a:p>
          <a:p>
            <a:pPr>
              <a:buFont typeface="Arial" panose="020B0604020202020204" pitchFamily="34" charset="0"/>
              <a:buChar char="•"/>
            </a:pPr>
            <a:r>
              <a:rPr lang="en-US"/>
              <a:t>Apply the changes in the test mode </a:t>
            </a:r>
          </a:p>
          <a:p>
            <a:pPr>
              <a:buFont typeface="Arial" panose="020B0604020202020204" pitchFamily="34" charset="0"/>
              <a:buChar char="•"/>
            </a:pPr>
            <a:r>
              <a:rPr lang="en-US"/>
              <a:t>Execute the mass change with                   “Apply changes”</a:t>
            </a:r>
          </a:p>
        </p:txBody>
      </p:sp>
      <p:pic>
        <p:nvPicPr>
          <p:cNvPr id="10" name="Grafik 9">
            <a:extLst>
              <a:ext uri="{FF2B5EF4-FFF2-40B4-BE49-F238E27FC236}">
                <a16:creationId xmlns:a16="http://schemas.microsoft.com/office/drawing/2014/main" id="{42E744B4-4C5B-4760-A2E2-667BC92AEB03}"/>
              </a:ext>
            </a:extLst>
          </p:cNvPr>
          <p:cNvPicPr>
            <a:picLocks noChangeAspect="1"/>
          </p:cNvPicPr>
          <p:nvPr/>
        </p:nvPicPr>
        <p:blipFill>
          <a:blip r:embed="rId2"/>
          <a:stretch>
            <a:fillRect/>
          </a:stretch>
        </p:blipFill>
        <p:spPr>
          <a:xfrm>
            <a:off x="3355496" y="2157411"/>
            <a:ext cx="5416742" cy="2288437"/>
          </a:xfrm>
          <a:prstGeom prst="rect">
            <a:avLst/>
          </a:prstGeom>
          <a:ln w="19050">
            <a:solidFill>
              <a:srgbClr val="2F5597"/>
            </a:solidFill>
          </a:ln>
          <a:effectLst/>
        </p:spPr>
      </p:pic>
      <p:sp>
        <p:nvSpPr>
          <p:cNvPr id="6" name="Rechteck 5">
            <a:extLst>
              <a:ext uri="{FF2B5EF4-FFF2-40B4-BE49-F238E27FC236}">
                <a16:creationId xmlns:a16="http://schemas.microsoft.com/office/drawing/2014/main" id="{C9D4A238-D237-4141-A13E-F0DDD70C5F03}"/>
              </a:ext>
            </a:extLst>
          </p:cNvPr>
          <p:cNvSpPr/>
          <p:nvPr/>
        </p:nvSpPr>
        <p:spPr>
          <a:xfrm>
            <a:off x="3396173" y="2344094"/>
            <a:ext cx="1169479" cy="168197"/>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7" name="Rechteck 6">
            <a:extLst>
              <a:ext uri="{FF2B5EF4-FFF2-40B4-BE49-F238E27FC236}">
                <a16:creationId xmlns:a16="http://schemas.microsoft.com/office/drawing/2014/main" id="{82E04FAE-F005-4628-BE03-6A4FB54499F0}"/>
              </a:ext>
            </a:extLst>
          </p:cNvPr>
          <p:cNvSpPr/>
          <p:nvPr/>
        </p:nvSpPr>
        <p:spPr>
          <a:xfrm>
            <a:off x="6104766" y="2614242"/>
            <a:ext cx="2667473" cy="395087"/>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9" name="Rechteck 8">
            <a:extLst>
              <a:ext uri="{FF2B5EF4-FFF2-40B4-BE49-F238E27FC236}">
                <a16:creationId xmlns:a16="http://schemas.microsoft.com/office/drawing/2014/main" id="{E829B942-084D-4CD6-B641-2EDA418E78AF}"/>
              </a:ext>
            </a:extLst>
          </p:cNvPr>
          <p:cNvSpPr/>
          <p:nvPr/>
        </p:nvSpPr>
        <p:spPr>
          <a:xfrm>
            <a:off x="3396174" y="4017020"/>
            <a:ext cx="5083629" cy="445422"/>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3" name="Rechteck 12">
            <a:extLst>
              <a:ext uri="{FF2B5EF4-FFF2-40B4-BE49-F238E27FC236}">
                <a16:creationId xmlns:a16="http://schemas.microsoft.com/office/drawing/2014/main" id="{300117D4-057C-4181-89C3-FD9A978184A0}"/>
              </a:ext>
            </a:extLst>
          </p:cNvPr>
          <p:cNvSpPr/>
          <p:nvPr/>
        </p:nvSpPr>
        <p:spPr>
          <a:xfrm>
            <a:off x="4605522" y="2344094"/>
            <a:ext cx="568863" cy="168197"/>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4" name="Ellipse 13">
            <a:extLst>
              <a:ext uri="{FF2B5EF4-FFF2-40B4-BE49-F238E27FC236}">
                <a16:creationId xmlns:a16="http://schemas.microsoft.com/office/drawing/2014/main" id="{CA78941B-D273-4E16-BFB2-2F308D4A3416}"/>
              </a:ext>
            </a:extLst>
          </p:cNvPr>
          <p:cNvSpPr/>
          <p:nvPr/>
        </p:nvSpPr>
        <p:spPr>
          <a:xfrm>
            <a:off x="8527712" y="4143164"/>
            <a:ext cx="196616" cy="193134"/>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t>3</a:t>
            </a:r>
            <a:endParaRPr lang="en-US"/>
          </a:p>
        </p:txBody>
      </p:sp>
      <p:sp>
        <p:nvSpPr>
          <p:cNvPr id="15" name="Ellipse 14">
            <a:extLst>
              <a:ext uri="{FF2B5EF4-FFF2-40B4-BE49-F238E27FC236}">
                <a16:creationId xmlns:a16="http://schemas.microsoft.com/office/drawing/2014/main" id="{04C81CFA-A20F-418C-9699-7B60F732A62E}"/>
              </a:ext>
            </a:extLst>
          </p:cNvPr>
          <p:cNvSpPr/>
          <p:nvPr/>
        </p:nvSpPr>
        <p:spPr>
          <a:xfrm>
            <a:off x="7340194" y="3057667"/>
            <a:ext cx="196616" cy="193134"/>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t>4</a:t>
            </a:r>
            <a:endParaRPr lang="en-US"/>
          </a:p>
        </p:txBody>
      </p:sp>
      <p:sp>
        <p:nvSpPr>
          <p:cNvPr id="16" name="Ellipse 15">
            <a:extLst>
              <a:ext uri="{FF2B5EF4-FFF2-40B4-BE49-F238E27FC236}">
                <a16:creationId xmlns:a16="http://schemas.microsoft.com/office/drawing/2014/main" id="{464F7162-0CC4-4F5D-A0C3-A1CFAD831574}"/>
              </a:ext>
            </a:extLst>
          </p:cNvPr>
          <p:cNvSpPr/>
          <p:nvPr/>
        </p:nvSpPr>
        <p:spPr>
          <a:xfrm>
            <a:off x="3980912" y="2559851"/>
            <a:ext cx="196616" cy="193134"/>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t>5</a:t>
            </a:r>
            <a:endParaRPr lang="en-US"/>
          </a:p>
        </p:txBody>
      </p:sp>
      <p:sp>
        <p:nvSpPr>
          <p:cNvPr id="17" name="Ellipse 16">
            <a:extLst>
              <a:ext uri="{FF2B5EF4-FFF2-40B4-BE49-F238E27FC236}">
                <a16:creationId xmlns:a16="http://schemas.microsoft.com/office/drawing/2014/main" id="{A0D931C6-D191-47A5-B2E2-1B08EB96E892}"/>
              </a:ext>
            </a:extLst>
          </p:cNvPr>
          <p:cNvSpPr/>
          <p:nvPr/>
        </p:nvSpPr>
        <p:spPr>
          <a:xfrm>
            <a:off x="4781478" y="2571750"/>
            <a:ext cx="196616" cy="193134"/>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t>6</a:t>
            </a:r>
            <a:endParaRPr lang="en-US"/>
          </a:p>
        </p:txBody>
      </p:sp>
    </p:spTree>
    <p:extLst>
      <p:ext uri="{BB962C8B-B14F-4D97-AF65-F5344CB8AC3E}">
        <p14:creationId xmlns:p14="http://schemas.microsoft.com/office/powerpoint/2010/main" val="4786346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9" grpId="0" animBg="1"/>
      <p:bldP spid="13" grpId="0" animBg="1"/>
      <p:bldP spid="14" grpId="0" animBg="1"/>
      <p:bldP spid="15" grpId="0" animBg="1"/>
      <p:bldP spid="16" grpId="0" animBg="1"/>
      <p:bldP spid="17"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A19744FE-0122-4458-A703-1ED9355A7C5F}"/>
              </a:ext>
            </a:extLst>
          </p:cNvPr>
          <p:cNvSpPr>
            <a:spLocks noGrp="1"/>
          </p:cNvSpPr>
          <p:nvPr>
            <p:ph type="body" sz="quarter" idx="18"/>
          </p:nvPr>
        </p:nvSpPr>
        <p:spPr/>
        <p:txBody>
          <a:bodyPr>
            <a:normAutofit/>
          </a:bodyPr>
          <a:lstStyle/>
          <a:p>
            <a:r>
              <a:rPr lang="de-DE"/>
              <a:t>2.5 </a:t>
            </a:r>
            <a:r>
              <a:rPr lang="en-US"/>
              <a:t>Data overview, Visual inspection /UDI/Attributes</a:t>
            </a:r>
          </a:p>
          <a:p>
            <a:endParaRPr lang="de-DE"/>
          </a:p>
          <a:p>
            <a:endParaRPr lang="de-DE"/>
          </a:p>
        </p:txBody>
      </p:sp>
      <p:sp>
        <p:nvSpPr>
          <p:cNvPr id="3" name="Titel 2">
            <a:extLst>
              <a:ext uri="{FF2B5EF4-FFF2-40B4-BE49-F238E27FC236}">
                <a16:creationId xmlns:a16="http://schemas.microsoft.com/office/drawing/2014/main" id="{17403686-94D3-4A24-BDEB-07854049E7FA}"/>
              </a:ext>
            </a:extLst>
          </p:cNvPr>
          <p:cNvSpPr>
            <a:spLocks noGrp="1"/>
          </p:cNvSpPr>
          <p:nvPr>
            <p:ph type="title"/>
          </p:nvPr>
        </p:nvSpPr>
        <p:spPr/>
        <p:txBody>
          <a:bodyPr>
            <a:normAutofit fontScale="90000"/>
          </a:bodyPr>
          <a:lstStyle/>
          <a:p>
            <a:r>
              <a:rPr lang="de-DE"/>
              <a:t>2. </a:t>
            </a:r>
            <a:r>
              <a:rPr lang="en-US"/>
              <a:t>W</a:t>
            </a:r>
            <a:r>
              <a:rPr lang="en-US" sz="1800" b="1"/>
              <a:t>ork processes from the database to data transmission </a:t>
            </a:r>
            <a:endParaRPr lang="de-DE"/>
          </a:p>
        </p:txBody>
      </p:sp>
      <p:sp>
        <p:nvSpPr>
          <p:cNvPr id="31" name="Rechteck: abgerundete Ecken 30">
            <a:extLst>
              <a:ext uri="{FF2B5EF4-FFF2-40B4-BE49-F238E27FC236}">
                <a16:creationId xmlns:a16="http://schemas.microsoft.com/office/drawing/2014/main" id="{C2E356A7-F0C9-4E37-8904-4CFAE1F864A1}"/>
              </a:ext>
            </a:extLst>
          </p:cNvPr>
          <p:cNvSpPr/>
          <p:nvPr/>
        </p:nvSpPr>
        <p:spPr>
          <a:xfrm>
            <a:off x="5124177" y="1827482"/>
            <a:ext cx="1797627" cy="1936246"/>
          </a:xfrm>
          <a:prstGeom prst="round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sz="1200" b="1">
                <a:solidFill>
                  <a:schemeClr val="tx1"/>
                </a:solidFill>
                <a:latin typeface="Arial" panose="020B0604020202020204" pitchFamily="34" charset="0"/>
                <a:cs typeface="Arial" panose="020B0604020202020204" pitchFamily="34" charset="0"/>
              </a:rPr>
              <a:t>Data </a:t>
            </a:r>
            <a:r>
              <a:rPr lang="de-DE" sz="1200" b="1" err="1">
                <a:solidFill>
                  <a:schemeClr val="tx1"/>
                </a:solidFill>
                <a:latin typeface="Arial" panose="020B0604020202020204" pitchFamily="34" charset="0"/>
                <a:cs typeface="Arial" panose="020B0604020202020204" pitchFamily="34" charset="0"/>
              </a:rPr>
              <a:t>transmission</a:t>
            </a:r>
            <a:endParaRPr lang="de-DE" sz="1200" b="1">
              <a:solidFill>
                <a:schemeClr val="tx1"/>
              </a:solidFill>
              <a:latin typeface="Arial" panose="020B0604020202020204" pitchFamily="34" charset="0"/>
              <a:cs typeface="Arial" panose="020B0604020202020204" pitchFamily="34" charset="0"/>
            </a:endParaRPr>
          </a:p>
          <a:p>
            <a:pPr algn="ctr"/>
            <a:endParaRPr lang="de-DE" sz="1200">
              <a:latin typeface="Arial" panose="020B0604020202020204" pitchFamily="34" charset="0"/>
              <a:cs typeface="Arial" panose="020B0604020202020204" pitchFamily="34" charset="0"/>
            </a:endParaRPr>
          </a:p>
          <a:p>
            <a:pPr algn="ctr"/>
            <a:endParaRPr lang="de-DE" sz="1200">
              <a:latin typeface="Arial" panose="020B0604020202020204" pitchFamily="34" charset="0"/>
              <a:cs typeface="Arial" panose="020B0604020202020204" pitchFamily="34" charset="0"/>
            </a:endParaRPr>
          </a:p>
          <a:p>
            <a:pPr algn="ctr"/>
            <a:endParaRPr lang="de-DE" sz="1200">
              <a:latin typeface="Arial" panose="020B0604020202020204" pitchFamily="34" charset="0"/>
              <a:cs typeface="Arial" panose="020B0604020202020204" pitchFamily="34" charset="0"/>
            </a:endParaRPr>
          </a:p>
          <a:p>
            <a:pPr algn="ctr"/>
            <a:endParaRPr lang="de-DE" sz="1200">
              <a:latin typeface="Arial" panose="020B0604020202020204" pitchFamily="34" charset="0"/>
              <a:cs typeface="Arial" panose="020B0604020202020204" pitchFamily="34" charset="0"/>
            </a:endParaRPr>
          </a:p>
          <a:p>
            <a:pPr algn="ctr"/>
            <a:endParaRPr lang="de-CH" sz="1200">
              <a:latin typeface="Arial" panose="020B0604020202020204" pitchFamily="34" charset="0"/>
              <a:cs typeface="Arial" panose="020B0604020202020204" pitchFamily="34" charset="0"/>
            </a:endParaRPr>
          </a:p>
        </p:txBody>
      </p:sp>
      <p:sp>
        <p:nvSpPr>
          <p:cNvPr id="35" name="Rechteck: abgerundete Ecken 34">
            <a:extLst>
              <a:ext uri="{FF2B5EF4-FFF2-40B4-BE49-F238E27FC236}">
                <a16:creationId xmlns:a16="http://schemas.microsoft.com/office/drawing/2014/main" id="{2F00C498-6C91-4802-B79A-B21A351086B1}"/>
              </a:ext>
            </a:extLst>
          </p:cNvPr>
          <p:cNvSpPr/>
          <p:nvPr/>
        </p:nvSpPr>
        <p:spPr>
          <a:xfrm>
            <a:off x="374876" y="1829725"/>
            <a:ext cx="1620000" cy="776776"/>
          </a:xfrm>
          <a:prstGeom prst="roundRect">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Arial" panose="020B0604020202020204" pitchFamily="34" charset="0"/>
                <a:cs typeface="Arial" panose="020B0604020202020204" pitchFamily="34" charset="0"/>
              </a:rPr>
              <a:t>Product creation in the Add-On</a:t>
            </a:r>
          </a:p>
        </p:txBody>
      </p:sp>
      <p:sp>
        <p:nvSpPr>
          <p:cNvPr id="36" name="Rechteck: abgerundete Ecken 35">
            <a:extLst>
              <a:ext uri="{FF2B5EF4-FFF2-40B4-BE49-F238E27FC236}">
                <a16:creationId xmlns:a16="http://schemas.microsoft.com/office/drawing/2014/main" id="{D66D3841-4BE4-4211-9A3B-E6FBAB054984}"/>
              </a:ext>
            </a:extLst>
          </p:cNvPr>
          <p:cNvSpPr/>
          <p:nvPr/>
        </p:nvSpPr>
        <p:spPr>
          <a:xfrm>
            <a:off x="2053233" y="1838140"/>
            <a:ext cx="1620000" cy="776776"/>
          </a:xfrm>
          <a:prstGeom prst="roundRect">
            <a:avLst/>
          </a:prstGeom>
          <a:solidFill>
            <a:srgbClr val="20386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err="1">
                <a:solidFill>
                  <a:schemeClr val="bg1"/>
                </a:solidFill>
                <a:latin typeface="Arial" panose="020B0604020202020204" pitchFamily="34" charset="0"/>
                <a:cs typeface="Arial" panose="020B0604020202020204" pitchFamily="34" charset="0"/>
              </a:rPr>
              <a:t>Product</a:t>
            </a:r>
            <a:r>
              <a:rPr lang="de-CH" sz="1200">
                <a:solidFill>
                  <a:schemeClr val="bg1"/>
                </a:solidFill>
                <a:latin typeface="Arial" panose="020B0604020202020204" pitchFamily="34" charset="0"/>
                <a:cs typeface="Arial" panose="020B0604020202020204" pitchFamily="34" charset="0"/>
              </a:rPr>
              <a:t> </a:t>
            </a:r>
            <a:r>
              <a:rPr lang="de-CH" sz="1200" err="1">
                <a:solidFill>
                  <a:schemeClr val="bg1"/>
                </a:solidFill>
                <a:latin typeface="Arial" panose="020B0604020202020204" pitchFamily="34" charset="0"/>
                <a:cs typeface="Arial" panose="020B0604020202020204" pitchFamily="34" charset="0"/>
              </a:rPr>
              <a:t>creation</a:t>
            </a:r>
            <a:r>
              <a:rPr lang="de-CH" sz="1200">
                <a:solidFill>
                  <a:schemeClr val="bg1"/>
                </a:solidFill>
                <a:latin typeface="Arial" panose="020B0604020202020204" pitchFamily="34" charset="0"/>
                <a:cs typeface="Arial" panose="020B0604020202020204" pitchFamily="34" charset="0"/>
              </a:rPr>
              <a:t> </a:t>
            </a:r>
            <a:r>
              <a:rPr lang="de-CH" sz="1200" err="1">
                <a:solidFill>
                  <a:schemeClr val="bg1"/>
                </a:solidFill>
                <a:latin typeface="Arial" panose="020B0604020202020204" pitchFamily="34" charset="0"/>
                <a:cs typeface="Arial" panose="020B0604020202020204" pitchFamily="34" charset="0"/>
              </a:rPr>
              <a:t>with</a:t>
            </a:r>
            <a:r>
              <a:rPr lang="de-CH" sz="1200">
                <a:solidFill>
                  <a:schemeClr val="bg1"/>
                </a:solidFill>
                <a:latin typeface="Arial" panose="020B0604020202020204" pitchFamily="34" charset="0"/>
                <a:cs typeface="Arial" panose="020B0604020202020204" pitchFamily="34" charset="0"/>
              </a:rPr>
              <a:t> Excel</a:t>
            </a:r>
          </a:p>
        </p:txBody>
      </p:sp>
      <p:sp>
        <p:nvSpPr>
          <p:cNvPr id="37" name="Rechteck: abgerundete Ecken 36">
            <a:extLst>
              <a:ext uri="{FF2B5EF4-FFF2-40B4-BE49-F238E27FC236}">
                <a16:creationId xmlns:a16="http://schemas.microsoft.com/office/drawing/2014/main" id="{C4BE9CCD-C203-414F-B252-20F9929F8E62}"/>
              </a:ext>
            </a:extLst>
          </p:cNvPr>
          <p:cNvSpPr/>
          <p:nvPr/>
        </p:nvSpPr>
        <p:spPr>
          <a:xfrm>
            <a:off x="1218206" y="2881040"/>
            <a:ext cx="1620000" cy="875128"/>
          </a:xfrm>
          <a:prstGeom prst="roundRect">
            <a:avLst/>
          </a:prstGeom>
          <a:solidFill>
            <a:srgbClr val="20386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a:latin typeface="Arial" panose="020B0604020202020204" pitchFamily="34" charset="0"/>
                <a:cs typeface="Arial" panose="020B0604020202020204" pitchFamily="34" charset="0"/>
              </a:rPr>
              <a:t>Mass </a:t>
            </a:r>
            <a:r>
              <a:rPr lang="de-CH" sz="1200" err="1">
                <a:latin typeface="Arial" panose="020B0604020202020204" pitchFamily="34" charset="0"/>
                <a:cs typeface="Arial" panose="020B0604020202020204" pitchFamily="34" charset="0"/>
              </a:rPr>
              <a:t>change</a:t>
            </a:r>
            <a:r>
              <a:rPr lang="de-CH" sz="1200">
                <a:latin typeface="Arial" panose="020B0604020202020204" pitchFamily="34" charset="0"/>
                <a:cs typeface="Arial" panose="020B0604020202020204" pitchFamily="34" charset="0"/>
              </a:rPr>
              <a:t> </a:t>
            </a:r>
          </a:p>
          <a:p>
            <a:pPr marL="171450" indent="-171450">
              <a:buFont typeface="Arial" panose="020B0604020202020204" pitchFamily="34" charset="0"/>
              <a:buChar char="•"/>
            </a:pPr>
            <a:r>
              <a:rPr lang="de-CH" sz="1200" err="1">
                <a:latin typeface="Arial" panose="020B0604020202020204" pitchFamily="34" charset="0"/>
                <a:cs typeface="Arial" panose="020B0604020202020204" pitchFamily="34" charset="0"/>
              </a:rPr>
              <a:t>with</a:t>
            </a:r>
            <a:r>
              <a:rPr lang="de-CH" sz="1200">
                <a:latin typeface="Arial" panose="020B0604020202020204" pitchFamily="34" charset="0"/>
                <a:cs typeface="Arial" panose="020B0604020202020204" pitchFamily="34" charset="0"/>
              </a:rPr>
              <a:t> Excel</a:t>
            </a:r>
          </a:p>
          <a:p>
            <a:pPr marL="171450" indent="-171450">
              <a:buFont typeface="Arial" panose="020B0604020202020204" pitchFamily="34" charset="0"/>
              <a:buChar char="•"/>
            </a:pPr>
            <a:r>
              <a:rPr lang="de-CH" sz="1200">
                <a:latin typeface="Arial" panose="020B0604020202020204" pitchFamily="34" charset="0"/>
                <a:cs typeface="Arial" panose="020B0604020202020204" pitchFamily="34" charset="0"/>
              </a:rPr>
              <a:t>in </a:t>
            </a:r>
            <a:r>
              <a:rPr lang="de-CH" sz="1200" err="1">
                <a:latin typeface="Arial" panose="020B0604020202020204" pitchFamily="34" charset="0"/>
                <a:cs typeface="Arial" panose="020B0604020202020204" pitchFamily="34" charset="0"/>
              </a:rPr>
              <a:t>the</a:t>
            </a:r>
            <a:r>
              <a:rPr lang="de-CH" sz="1200">
                <a:latin typeface="Arial" panose="020B0604020202020204" pitchFamily="34" charset="0"/>
                <a:cs typeface="Arial" panose="020B0604020202020204" pitchFamily="34" charset="0"/>
              </a:rPr>
              <a:t> Add-On</a:t>
            </a:r>
          </a:p>
        </p:txBody>
      </p:sp>
      <p:sp>
        <p:nvSpPr>
          <p:cNvPr id="38" name="Rechteck: abgerundete Ecken 37">
            <a:extLst>
              <a:ext uri="{FF2B5EF4-FFF2-40B4-BE49-F238E27FC236}">
                <a16:creationId xmlns:a16="http://schemas.microsoft.com/office/drawing/2014/main" id="{ED09656B-C0AC-4936-AD21-246475444A6A}"/>
              </a:ext>
            </a:extLst>
          </p:cNvPr>
          <p:cNvSpPr/>
          <p:nvPr/>
        </p:nvSpPr>
        <p:spPr>
          <a:xfrm>
            <a:off x="3209825" y="2881040"/>
            <a:ext cx="1620000" cy="875128"/>
          </a:xfrm>
          <a:prstGeom prst="roundRect">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b="1">
                <a:latin typeface="Arial" panose="020B0604020202020204" pitchFamily="34" charset="0"/>
                <a:cs typeface="Arial" panose="020B0604020202020204" pitchFamily="34" charset="0"/>
              </a:rPr>
              <a:t>Data </a:t>
            </a:r>
            <a:r>
              <a:rPr lang="de-CH" sz="1200" b="1" err="1">
                <a:latin typeface="Arial" panose="020B0604020202020204" pitchFamily="34" charset="0"/>
                <a:cs typeface="Arial" panose="020B0604020202020204" pitchFamily="34" charset="0"/>
              </a:rPr>
              <a:t>overview</a:t>
            </a:r>
            <a:r>
              <a:rPr lang="de-CH" sz="1200" b="1">
                <a:latin typeface="Arial" panose="020B0604020202020204" pitchFamily="34" charset="0"/>
                <a:cs typeface="Arial" panose="020B0604020202020204" pitchFamily="34" charset="0"/>
              </a:rPr>
              <a:t>,</a:t>
            </a:r>
          </a:p>
          <a:p>
            <a:pPr algn="ctr"/>
            <a:r>
              <a:rPr lang="de-CH" sz="1200" b="1" err="1">
                <a:latin typeface="Arial" panose="020B0604020202020204" pitchFamily="34" charset="0"/>
                <a:cs typeface="Arial" panose="020B0604020202020204" pitchFamily="34" charset="0"/>
              </a:rPr>
              <a:t>visual</a:t>
            </a:r>
            <a:r>
              <a:rPr lang="de-CH" sz="1200" b="1">
                <a:latin typeface="Arial" panose="020B0604020202020204" pitchFamily="34" charset="0"/>
                <a:cs typeface="Arial" panose="020B0604020202020204" pitchFamily="34" charset="0"/>
              </a:rPr>
              <a:t> </a:t>
            </a:r>
            <a:r>
              <a:rPr lang="de-CH" sz="1200" b="1" err="1">
                <a:latin typeface="Arial" panose="020B0604020202020204" pitchFamily="34" charset="0"/>
                <a:cs typeface="Arial" panose="020B0604020202020204" pitchFamily="34" charset="0"/>
              </a:rPr>
              <a:t>data</a:t>
            </a:r>
            <a:r>
              <a:rPr lang="de-CH" sz="1200" b="1">
                <a:latin typeface="Arial" panose="020B0604020202020204" pitchFamily="34" charset="0"/>
                <a:cs typeface="Arial" panose="020B0604020202020204" pitchFamily="34" charset="0"/>
              </a:rPr>
              <a:t> check</a:t>
            </a:r>
          </a:p>
          <a:p>
            <a:pPr algn="ctr"/>
            <a:r>
              <a:rPr lang="de-CH" sz="1200" b="1">
                <a:latin typeface="Arial" panose="020B0604020202020204" pitchFamily="34" charset="0"/>
                <a:cs typeface="Arial" panose="020B0604020202020204" pitchFamily="34" charset="0"/>
              </a:rPr>
              <a:t>/UDI/Attributes</a:t>
            </a:r>
          </a:p>
        </p:txBody>
      </p:sp>
      <p:sp>
        <p:nvSpPr>
          <p:cNvPr id="39" name="Rechteck: abgerundete Ecken 38">
            <a:extLst>
              <a:ext uri="{FF2B5EF4-FFF2-40B4-BE49-F238E27FC236}">
                <a16:creationId xmlns:a16="http://schemas.microsoft.com/office/drawing/2014/main" id="{9A5867D7-3747-4F74-80A8-1B5AF417EA49}"/>
              </a:ext>
            </a:extLst>
          </p:cNvPr>
          <p:cNvSpPr/>
          <p:nvPr/>
        </p:nvSpPr>
        <p:spPr>
          <a:xfrm>
            <a:off x="5222731" y="4115115"/>
            <a:ext cx="1620000" cy="702778"/>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latin typeface="Arial" panose="020B0604020202020204" pitchFamily="34" charset="0"/>
                <a:cs typeface="Arial" panose="020B0604020202020204" pitchFamily="34" charset="0"/>
              </a:rPr>
              <a:t>Data release /</a:t>
            </a:r>
          </a:p>
          <a:p>
            <a:pPr algn="ctr"/>
            <a:r>
              <a:rPr lang="en-US" sz="1200">
                <a:latin typeface="Arial" panose="020B0604020202020204" pitchFamily="34" charset="0"/>
                <a:cs typeface="Arial" panose="020B0604020202020204" pitchFamily="34" charset="0"/>
              </a:rPr>
              <a:t>Lock trigger fields</a:t>
            </a:r>
          </a:p>
        </p:txBody>
      </p:sp>
      <p:sp>
        <p:nvSpPr>
          <p:cNvPr id="40" name="Rechteck: abgerundete Ecken 39">
            <a:extLst>
              <a:ext uri="{FF2B5EF4-FFF2-40B4-BE49-F238E27FC236}">
                <a16:creationId xmlns:a16="http://schemas.microsoft.com/office/drawing/2014/main" id="{1F9F01A8-FA07-42C7-AF3A-103F301FB65B}"/>
              </a:ext>
            </a:extLst>
          </p:cNvPr>
          <p:cNvSpPr/>
          <p:nvPr/>
        </p:nvSpPr>
        <p:spPr>
          <a:xfrm>
            <a:off x="5222731" y="2687416"/>
            <a:ext cx="1620000" cy="314633"/>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a:latin typeface="Arial" panose="020B0604020202020204" pitchFamily="34" charset="0"/>
                <a:cs typeface="Arial" panose="020B0604020202020204" pitchFamily="34" charset="0"/>
              </a:rPr>
              <a:t>XML </a:t>
            </a:r>
            <a:r>
              <a:rPr lang="de-CH" sz="1200" err="1">
                <a:latin typeface="Arial" panose="020B0604020202020204" pitchFamily="34" charset="0"/>
                <a:cs typeface="Arial" panose="020B0604020202020204" pitchFamily="34" charset="0"/>
              </a:rPr>
              <a:t>export</a:t>
            </a:r>
            <a:endParaRPr lang="de-CH" sz="1200">
              <a:latin typeface="Arial" panose="020B0604020202020204" pitchFamily="34" charset="0"/>
              <a:cs typeface="Arial" panose="020B0604020202020204" pitchFamily="34" charset="0"/>
            </a:endParaRPr>
          </a:p>
        </p:txBody>
      </p:sp>
      <p:sp>
        <p:nvSpPr>
          <p:cNvPr id="41" name="Rechteck: abgerundete Ecken 40">
            <a:extLst>
              <a:ext uri="{FF2B5EF4-FFF2-40B4-BE49-F238E27FC236}">
                <a16:creationId xmlns:a16="http://schemas.microsoft.com/office/drawing/2014/main" id="{8E2A35B4-08DC-4C68-80B1-B6FA91906473}"/>
              </a:ext>
            </a:extLst>
          </p:cNvPr>
          <p:cNvSpPr/>
          <p:nvPr/>
        </p:nvSpPr>
        <p:spPr>
          <a:xfrm>
            <a:off x="3209824" y="4115115"/>
            <a:ext cx="1620000" cy="702778"/>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a:latin typeface="Arial" panose="020B0604020202020204" pitchFamily="34" charset="0"/>
                <a:cs typeface="Arial" panose="020B0604020202020204" pitchFamily="34" charset="0"/>
              </a:rPr>
              <a:t>Integrity check</a:t>
            </a:r>
          </a:p>
          <a:p>
            <a:pPr algn="ctr"/>
            <a:r>
              <a:rPr lang="de-CH" sz="1200">
                <a:latin typeface="Arial" panose="020B0604020202020204" pitchFamily="34" charset="0"/>
                <a:cs typeface="Arial" panose="020B0604020202020204" pitchFamily="34" charset="0"/>
              </a:rPr>
              <a:t>Validation check</a:t>
            </a:r>
          </a:p>
        </p:txBody>
      </p:sp>
      <p:sp>
        <p:nvSpPr>
          <p:cNvPr id="43" name="Rechteck: abgerundete Ecken 42">
            <a:extLst>
              <a:ext uri="{FF2B5EF4-FFF2-40B4-BE49-F238E27FC236}">
                <a16:creationId xmlns:a16="http://schemas.microsoft.com/office/drawing/2014/main" id="{5B9B524D-B2AF-4C3A-9818-2DA5A726A8D0}"/>
              </a:ext>
            </a:extLst>
          </p:cNvPr>
          <p:cNvSpPr/>
          <p:nvPr/>
        </p:nvSpPr>
        <p:spPr>
          <a:xfrm>
            <a:off x="8531932" y="1949789"/>
            <a:ext cx="322128" cy="1761413"/>
          </a:xfrm>
          <a:prstGeom prst="round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CH" sz="1350" b="1"/>
              <a:t>E</a:t>
            </a:r>
          </a:p>
          <a:p>
            <a:r>
              <a:rPr lang="de-CH" sz="1350" b="1"/>
              <a:t>U</a:t>
            </a:r>
          </a:p>
          <a:p>
            <a:r>
              <a:rPr lang="de-CH" sz="1350" b="1"/>
              <a:t>D</a:t>
            </a:r>
          </a:p>
          <a:p>
            <a:r>
              <a:rPr lang="de-CH" sz="1350" b="1"/>
              <a:t>A</a:t>
            </a:r>
          </a:p>
          <a:p>
            <a:r>
              <a:rPr lang="de-CH" sz="1350" b="1"/>
              <a:t>M</a:t>
            </a:r>
          </a:p>
          <a:p>
            <a:r>
              <a:rPr lang="de-CH" sz="1350" b="1"/>
              <a:t>E</a:t>
            </a:r>
          </a:p>
          <a:p>
            <a:r>
              <a:rPr lang="de-CH" sz="1350" b="1"/>
              <a:t>D</a:t>
            </a:r>
          </a:p>
        </p:txBody>
      </p:sp>
      <p:sp>
        <p:nvSpPr>
          <p:cNvPr id="44" name="Rechteck: abgerundete Ecken 43">
            <a:extLst>
              <a:ext uri="{FF2B5EF4-FFF2-40B4-BE49-F238E27FC236}">
                <a16:creationId xmlns:a16="http://schemas.microsoft.com/office/drawing/2014/main" id="{87B16B71-40C1-4B47-96E8-5F15754C1997}"/>
              </a:ext>
            </a:extLst>
          </p:cNvPr>
          <p:cNvSpPr/>
          <p:nvPr/>
        </p:nvSpPr>
        <p:spPr>
          <a:xfrm>
            <a:off x="5221830" y="2249178"/>
            <a:ext cx="1620000" cy="314633"/>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a:latin typeface="Arial" panose="020B0604020202020204" pitchFamily="34" charset="0"/>
                <a:cs typeface="Arial" panose="020B0604020202020204" pitchFamily="34" charset="0"/>
              </a:rPr>
              <a:t>Excel </a:t>
            </a:r>
            <a:r>
              <a:rPr lang="de-CH" sz="1200" err="1">
                <a:latin typeface="Arial" panose="020B0604020202020204" pitchFamily="34" charset="0"/>
                <a:cs typeface="Arial" panose="020B0604020202020204" pitchFamily="34" charset="0"/>
              </a:rPr>
              <a:t>export</a:t>
            </a:r>
            <a:endParaRPr lang="de-CH" sz="1200">
              <a:latin typeface="Arial" panose="020B0604020202020204" pitchFamily="34" charset="0"/>
              <a:cs typeface="Arial" panose="020B0604020202020204" pitchFamily="34" charset="0"/>
            </a:endParaRPr>
          </a:p>
        </p:txBody>
      </p:sp>
      <p:sp>
        <p:nvSpPr>
          <p:cNvPr id="45" name="Rechteck: abgerundete Ecken 44">
            <a:extLst>
              <a:ext uri="{FF2B5EF4-FFF2-40B4-BE49-F238E27FC236}">
                <a16:creationId xmlns:a16="http://schemas.microsoft.com/office/drawing/2014/main" id="{646486A8-D8A3-4FA5-875E-0F3F80A7D1A8}"/>
              </a:ext>
            </a:extLst>
          </p:cNvPr>
          <p:cNvSpPr/>
          <p:nvPr/>
        </p:nvSpPr>
        <p:spPr>
          <a:xfrm>
            <a:off x="5222731" y="3123064"/>
            <a:ext cx="1620000" cy="408087"/>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200">
              <a:latin typeface="Arial" panose="020B0604020202020204" pitchFamily="34" charset="0"/>
              <a:cs typeface="Arial" panose="020B0604020202020204" pitchFamily="34" charset="0"/>
            </a:endParaRPr>
          </a:p>
        </p:txBody>
      </p:sp>
      <p:sp>
        <p:nvSpPr>
          <p:cNvPr id="54" name="Rechteck: abgerundete Ecken 53">
            <a:extLst>
              <a:ext uri="{FF2B5EF4-FFF2-40B4-BE49-F238E27FC236}">
                <a16:creationId xmlns:a16="http://schemas.microsoft.com/office/drawing/2014/main" id="{C90BCC80-CC53-4FAB-90F5-99AED375928F}"/>
              </a:ext>
            </a:extLst>
          </p:cNvPr>
          <p:cNvSpPr/>
          <p:nvPr/>
        </p:nvSpPr>
        <p:spPr>
          <a:xfrm>
            <a:off x="374876" y="1139292"/>
            <a:ext cx="3298357" cy="415894"/>
          </a:xfrm>
          <a:prstGeom prst="roundRect">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solidFill>
                  <a:schemeClr val="bg1"/>
                </a:solidFill>
                <a:latin typeface="Arial" panose="020B0604020202020204" pitchFamily="34" charset="0"/>
                <a:cs typeface="Arial" panose="020B0604020202020204" pitchFamily="34" charset="0"/>
              </a:rPr>
              <a:t>UDI relevant </a:t>
            </a:r>
            <a:r>
              <a:rPr lang="de-DE" sz="1200" err="1">
                <a:solidFill>
                  <a:schemeClr val="bg1"/>
                </a:solidFill>
                <a:latin typeface="Arial" panose="020B0604020202020204" pitchFamily="34" charset="0"/>
                <a:cs typeface="Arial" panose="020B0604020202020204" pitchFamily="34" charset="0"/>
              </a:rPr>
              <a:t>marking</a:t>
            </a:r>
            <a:endParaRPr lang="de-DE" sz="1200">
              <a:solidFill>
                <a:schemeClr val="bg1"/>
              </a:solidFill>
              <a:latin typeface="Arial" panose="020B0604020202020204" pitchFamily="34" charset="0"/>
              <a:cs typeface="Arial" panose="020B0604020202020204" pitchFamily="34" charset="0"/>
            </a:endParaRPr>
          </a:p>
        </p:txBody>
      </p:sp>
      <p:cxnSp>
        <p:nvCxnSpPr>
          <p:cNvPr id="8" name="Gerade Verbindung mit Pfeil 7">
            <a:extLst>
              <a:ext uri="{FF2B5EF4-FFF2-40B4-BE49-F238E27FC236}">
                <a16:creationId xmlns:a16="http://schemas.microsoft.com/office/drawing/2014/main" id="{7F8FBB42-5E6F-494A-9FA9-D776E43B375D}"/>
              </a:ext>
            </a:extLst>
          </p:cNvPr>
          <p:cNvCxnSpPr>
            <a:cxnSpLocks/>
            <a:endCxn id="35" idx="0"/>
          </p:cNvCxnSpPr>
          <p:nvPr/>
        </p:nvCxnSpPr>
        <p:spPr>
          <a:xfrm>
            <a:off x="1184876" y="1555186"/>
            <a:ext cx="0" cy="274539"/>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0" name="Gerade Verbindung mit Pfeil 9">
            <a:extLst>
              <a:ext uri="{FF2B5EF4-FFF2-40B4-BE49-F238E27FC236}">
                <a16:creationId xmlns:a16="http://schemas.microsoft.com/office/drawing/2014/main" id="{3079ADE2-81AA-4647-AA7F-C4E7527E5280}"/>
              </a:ext>
            </a:extLst>
          </p:cNvPr>
          <p:cNvCxnSpPr>
            <a:cxnSpLocks/>
            <a:endCxn id="36" idx="0"/>
          </p:cNvCxnSpPr>
          <p:nvPr/>
        </p:nvCxnSpPr>
        <p:spPr>
          <a:xfrm>
            <a:off x="2863233" y="1550979"/>
            <a:ext cx="0" cy="28716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69" name="Gerade Verbindung mit Pfeil 68">
            <a:extLst>
              <a:ext uri="{FF2B5EF4-FFF2-40B4-BE49-F238E27FC236}">
                <a16:creationId xmlns:a16="http://schemas.microsoft.com/office/drawing/2014/main" id="{1B16878B-8423-441F-856F-52AE4DCDB29D}"/>
              </a:ext>
            </a:extLst>
          </p:cNvPr>
          <p:cNvCxnSpPr>
            <a:cxnSpLocks/>
          </p:cNvCxnSpPr>
          <p:nvPr/>
        </p:nvCxnSpPr>
        <p:spPr>
          <a:xfrm>
            <a:off x="1548144" y="2606501"/>
            <a:ext cx="0" cy="266124"/>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1" name="Gerade Verbindung mit Pfeil 70">
            <a:extLst>
              <a:ext uri="{FF2B5EF4-FFF2-40B4-BE49-F238E27FC236}">
                <a16:creationId xmlns:a16="http://schemas.microsoft.com/office/drawing/2014/main" id="{EB808EBE-B377-40AD-94B2-C1CD1E859C23}"/>
              </a:ext>
            </a:extLst>
          </p:cNvPr>
          <p:cNvCxnSpPr/>
          <p:nvPr/>
        </p:nvCxnSpPr>
        <p:spPr>
          <a:xfrm>
            <a:off x="2534971" y="2636056"/>
            <a:ext cx="0" cy="244984"/>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5" name="Gerade Verbindung mit Pfeil 74">
            <a:extLst>
              <a:ext uri="{FF2B5EF4-FFF2-40B4-BE49-F238E27FC236}">
                <a16:creationId xmlns:a16="http://schemas.microsoft.com/office/drawing/2014/main" id="{71D0F3A7-5FF8-4078-9F7D-F8BB0FEDE112}"/>
              </a:ext>
            </a:extLst>
          </p:cNvPr>
          <p:cNvCxnSpPr>
            <a:cxnSpLocks/>
            <a:stCxn id="37" idx="3"/>
            <a:endCxn id="38" idx="1"/>
          </p:cNvCxnSpPr>
          <p:nvPr/>
        </p:nvCxnSpPr>
        <p:spPr>
          <a:xfrm>
            <a:off x="2838206" y="3318604"/>
            <a:ext cx="371619"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7" name="Gerade Verbindung mit Pfeil 76">
            <a:extLst>
              <a:ext uri="{FF2B5EF4-FFF2-40B4-BE49-F238E27FC236}">
                <a16:creationId xmlns:a16="http://schemas.microsoft.com/office/drawing/2014/main" id="{3EA88A85-494A-4551-8527-12C496D561A3}"/>
              </a:ext>
            </a:extLst>
          </p:cNvPr>
          <p:cNvCxnSpPr>
            <a:cxnSpLocks/>
            <a:stCxn id="38" idx="2"/>
            <a:endCxn id="41" idx="0"/>
          </p:cNvCxnSpPr>
          <p:nvPr/>
        </p:nvCxnSpPr>
        <p:spPr>
          <a:xfrm flipH="1">
            <a:off x="4019824" y="3756168"/>
            <a:ext cx="1" cy="35894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9" name="Gerade Verbindung mit Pfeil 78">
            <a:extLst>
              <a:ext uri="{FF2B5EF4-FFF2-40B4-BE49-F238E27FC236}">
                <a16:creationId xmlns:a16="http://schemas.microsoft.com/office/drawing/2014/main" id="{EE89B85E-1B80-4056-9B33-499490C7AC53}"/>
              </a:ext>
            </a:extLst>
          </p:cNvPr>
          <p:cNvCxnSpPr>
            <a:cxnSpLocks/>
            <a:stCxn id="41" idx="3"/>
            <a:endCxn id="39" idx="1"/>
          </p:cNvCxnSpPr>
          <p:nvPr/>
        </p:nvCxnSpPr>
        <p:spPr>
          <a:xfrm>
            <a:off x="4829824" y="4466504"/>
            <a:ext cx="392907"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81" name="Gerade Verbindung mit Pfeil 80">
            <a:extLst>
              <a:ext uri="{FF2B5EF4-FFF2-40B4-BE49-F238E27FC236}">
                <a16:creationId xmlns:a16="http://schemas.microsoft.com/office/drawing/2014/main" id="{BD62FE4F-238A-4316-8DF4-8E2F26C7E1ED}"/>
              </a:ext>
            </a:extLst>
          </p:cNvPr>
          <p:cNvCxnSpPr>
            <a:cxnSpLocks/>
            <a:stCxn id="39" idx="0"/>
          </p:cNvCxnSpPr>
          <p:nvPr/>
        </p:nvCxnSpPr>
        <p:spPr>
          <a:xfrm flipH="1" flipV="1">
            <a:off x="6024969" y="3763728"/>
            <a:ext cx="7762" cy="35138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86" name="Textfeld 85">
            <a:extLst>
              <a:ext uri="{FF2B5EF4-FFF2-40B4-BE49-F238E27FC236}">
                <a16:creationId xmlns:a16="http://schemas.microsoft.com/office/drawing/2014/main" id="{BE02670F-8114-4463-936A-9D2672146D41}"/>
              </a:ext>
            </a:extLst>
          </p:cNvPr>
          <p:cNvSpPr txBox="1"/>
          <p:nvPr/>
        </p:nvSpPr>
        <p:spPr>
          <a:xfrm>
            <a:off x="5222731" y="3117396"/>
            <a:ext cx="1634256" cy="646331"/>
          </a:xfrm>
          <a:prstGeom prst="rect">
            <a:avLst/>
          </a:prstGeom>
          <a:noFill/>
        </p:spPr>
        <p:txBody>
          <a:bodyPr wrap="square" rtlCol="0">
            <a:spAutoFit/>
          </a:bodyPr>
          <a:lstStyle/>
          <a:p>
            <a:pPr algn="ctr"/>
            <a:r>
              <a:rPr lang="en-US" sz="1200">
                <a:solidFill>
                  <a:schemeClr val="bg1"/>
                </a:solidFill>
                <a:latin typeface="Arial" panose="020B0604020202020204" pitchFamily="34" charset="0"/>
                <a:cs typeface="Arial" panose="020B0604020202020204" pitchFamily="34" charset="0"/>
              </a:rPr>
              <a:t>Europe IT Consulting Web Service</a:t>
            </a:r>
          </a:p>
          <a:p>
            <a:pPr algn="ctr"/>
            <a:endParaRPr lang="en-US" sz="1200">
              <a:solidFill>
                <a:schemeClr val="bg1"/>
              </a:solidFill>
              <a:latin typeface="Arial" panose="020B0604020202020204" pitchFamily="34" charset="0"/>
              <a:cs typeface="Arial" panose="020B0604020202020204" pitchFamily="34" charset="0"/>
            </a:endParaRPr>
          </a:p>
        </p:txBody>
      </p:sp>
      <p:cxnSp>
        <p:nvCxnSpPr>
          <p:cNvPr id="104" name="Gerade Verbindung mit Pfeil 103">
            <a:extLst>
              <a:ext uri="{FF2B5EF4-FFF2-40B4-BE49-F238E27FC236}">
                <a16:creationId xmlns:a16="http://schemas.microsoft.com/office/drawing/2014/main" id="{98A2D59C-096A-46B5-8EBF-CAAECD1A9BCB}"/>
              </a:ext>
            </a:extLst>
          </p:cNvPr>
          <p:cNvCxnSpPr>
            <a:cxnSpLocks/>
            <a:stCxn id="40" idx="3"/>
            <a:endCxn id="43" idx="1"/>
          </p:cNvCxnSpPr>
          <p:nvPr/>
        </p:nvCxnSpPr>
        <p:spPr>
          <a:xfrm flipV="1">
            <a:off x="6842731" y="2830496"/>
            <a:ext cx="1689201" cy="1423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06" name="Verbinder: gewinkelt 105">
            <a:extLst>
              <a:ext uri="{FF2B5EF4-FFF2-40B4-BE49-F238E27FC236}">
                <a16:creationId xmlns:a16="http://schemas.microsoft.com/office/drawing/2014/main" id="{7F8C2BBE-4ED8-4524-9F9D-68F561918F36}"/>
              </a:ext>
            </a:extLst>
          </p:cNvPr>
          <p:cNvCxnSpPr>
            <a:cxnSpLocks/>
            <a:stCxn id="44" idx="3"/>
          </p:cNvCxnSpPr>
          <p:nvPr/>
        </p:nvCxnSpPr>
        <p:spPr>
          <a:xfrm flipV="1">
            <a:off x="6841830" y="2133831"/>
            <a:ext cx="1690102" cy="272664"/>
          </a:xfrm>
          <a:prstGeom prst="bentConnector3">
            <a:avLst>
              <a:gd name="adj1" fmla="val 19466"/>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08" name="Verbinder: gewinkelt 107">
            <a:extLst>
              <a:ext uri="{FF2B5EF4-FFF2-40B4-BE49-F238E27FC236}">
                <a16:creationId xmlns:a16="http://schemas.microsoft.com/office/drawing/2014/main" id="{ADDCFB2A-B92B-402C-8E9F-2C24F61DFD77}"/>
              </a:ext>
            </a:extLst>
          </p:cNvPr>
          <p:cNvCxnSpPr>
            <a:cxnSpLocks/>
          </p:cNvCxnSpPr>
          <p:nvPr/>
        </p:nvCxnSpPr>
        <p:spPr>
          <a:xfrm>
            <a:off x="6841830" y="3318604"/>
            <a:ext cx="1660625" cy="177230"/>
          </a:xfrm>
          <a:prstGeom prst="bentConnector3">
            <a:avLst>
              <a:gd name="adj1" fmla="val 21105"/>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53" name="Rechteck: abgerundete Ecken 52">
            <a:extLst>
              <a:ext uri="{FF2B5EF4-FFF2-40B4-BE49-F238E27FC236}">
                <a16:creationId xmlns:a16="http://schemas.microsoft.com/office/drawing/2014/main" id="{DC1BB485-83A3-4556-8949-E18D80FCAA63}"/>
              </a:ext>
            </a:extLst>
          </p:cNvPr>
          <p:cNvSpPr/>
          <p:nvPr/>
        </p:nvSpPr>
        <p:spPr>
          <a:xfrm>
            <a:off x="7385220" y="1940928"/>
            <a:ext cx="784325" cy="484748"/>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a:t>3rd Party</a:t>
            </a:r>
          </a:p>
        </p:txBody>
      </p:sp>
      <p:sp>
        <p:nvSpPr>
          <p:cNvPr id="46" name="Rechteck: abgerundete Ecken 45">
            <a:extLst>
              <a:ext uri="{FF2B5EF4-FFF2-40B4-BE49-F238E27FC236}">
                <a16:creationId xmlns:a16="http://schemas.microsoft.com/office/drawing/2014/main" id="{55F6C6E1-DD30-43DE-BD84-8F53864D115C}"/>
              </a:ext>
            </a:extLst>
          </p:cNvPr>
          <p:cNvSpPr/>
          <p:nvPr/>
        </p:nvSpPr>
        <p:spPr>
          <a:xfrm>
            <a:off x="7392257" y="3254377"/>
            <a:ext cx="784325" cy="484748"/>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err="1"/>
              <a:t>WebService</a:t>
            </a:r>
            <a:endParaRPr lang="de-DE" sz="800"/>
          </a:p>
          <a:p>
            <a:pPr algn="ctr"/>
            <a:r>
              <a:rPr lang="de-DE" sz="800"/>
              <a:t>(SSL</a:t>
            </a:r>
            <a:r>
              <a:rPr lang="de-DE" sz="900"/>
              <a:t>)</a:t>
            </a:r>
          </a:p>
        </p:txBody>
      </p:sp>
      <p:sp>
        <p:nvSpPr>
          <p:cNvPr id="48" name="Rechteck: abgerundete Ecken 47">
            <a:extLst>
              <a:ext uri="{FF2B5EF4-FFF2-40B4-BE49-F238E27FC236}">
                <a16:creationId xmlns:a16="http://schemas.microsoft.com/office/drawing/2014/main" id="{E166C7F1-E948-4DCE-95F4-24D33AEBBFBE}"/>
              </a:ext>
            </a:extLst>
          </p:cNvPr>
          <p:cNvSpPr/>
          <p:nvPr/>
        </p:nvSpPr>
        <p:spPr>
          <a:xfrm>
            <a:off x="7388977" y="2597194"/>
            <a:ext cx="784325" cy="484748"/>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err="1"/>
              <a:t>WebTrader</a:t>
            </a:r>
            <a:endParaRPr lang="de-DE" sz="800"/>
          </a:p>
        </p:txBody>
      </p:sp>
    </p:spTree>
    <p:extLst>
      <p:ext uri="{BB962C8B-B14F-4D97-AF65-F5344CB8AC3E}">
        <p14:creationId xmlns:p14="http://schemas.microsoft.com/office/powerpoint/2010/main" val="78294764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E5023BB3-E066-41B6-839A-2B59BA7BAD17}"/>
              </a:ext>
            </a:extLst>
          </p:cNvPr>
          <p:cNvPicPr>
            <a:picLocks noChangeAspect="1"/>
          </p:cNvPicPr>
          <p:nvPr/>
        </p:nvPicPr>
        <p:blipFill>
          <a:blip r:embed="rId2"/>
          <a:stretch>
            <a:fillRect/>
          </a:stretch>
        </p:blipFill>
        <p:spPr>
          <a:xfrm>
            <a:off x="4222987" y="1239455"/>
            <a:ext cx="4438806" cy="3034586"/>
          </a:xfrm>
          <a:prstGeom prst="rect">
            <a:avLst/>
          </a:prstGeom>
          <a:ln w="19050">
            <a:solidFill>
              <a:srgbClr val="2F5597"/>
            </a:solidFill>
          </a:ln>
          <a:effectLst/>
        </p:spPr>
      </p:pic>
      <p:sp>
        <p:nvSpPr>
          <p:cNvPr id="13" name="Textplatzhalter 5">
            <a:extLst>
              <a:ext uri="{FF2B5EF4-FFF2-40B4-BE49-F238E27FC236}">
                <a16:creationId xmlns:a16="http://schemas.microsoft.com/office/drawing/2014/main" id="{994881E5-A204-4FC2-B0B6-8E94E22EA67F}"/>
              </a:ext>
            </a:extLst>
          </p:cNvPr>
          <p:cNvSpPr>
            <a:spLocks noGrp="1"/>
          </p:cNvSpPr>
          <p:nvPr>
            <p:ph type="body" sz="quarter" idx="18"/>
          </p:nvPr>
        </p:nvSpPr>
        <p:spPr>
          <a:xfrm>
            <a:off x="219267" y="794161"/>
            <a:ext cx="8600883" cy="330544"/>
          </a:xfrm>
        </p:spPr>
        <p:txBody>
          <a:bodyPr>
            <a:normAutofit/>
          </a:bodyPr>
          <a:lstStyle/>
          <a:p>
            <a:r>
              <a:rPr lang="de-DE"/>
              <a:t>2.5 </a:t>
            </a:r>
            <a:r>
              <a:rPr lang="en-US"/>
              <a:t>Data overview, visual data check /UDI/Attributes</a:t>
            </a:r>
          </a:p>
          <a:p>
            <a:endParaRPr lang="de-DE"/>
          </a:p>
          <a:p>
            <a:endParaRPr lang="de-DE"/>
          </a:p>
        </p:txBody>
      </p:sp>
      <p:sp>
        <p:nvSpPr>
          <p:cNvPr id="14" name="Titel 2">
            <a:extLst>
              <a:ext uri="{FF2B5EF4-FFF2-40B4-BE49-F238E27FC236}">
                <a16:creationId xmlns:a16="http://schemas.microsoft.com/office/drawing/2014/main" id="{F2BE1D3C-C57F-4B26-ADD5-D10C2BCE8E5F}"/>
              </a:ext>
            </a:extLst>
          </p:cNvPr>
          <p:cNvSpPr>
            <a:spLocks noGrp="1"/>
          </p:cNvSpPr>
          <p:nvPr>
            <p:ph type="title"/>
          </p:nvPr>
        </p:nvSpPr>
        <p:spPr>
          <a:xfrm>
            <a:off x="269393" y="78770"/>
            <a:ext cx="7907189" cy="330545"/>
          </a:xfrm>
        </p:spPr>
        <p:txBody>
          <a:bodyPr>
            <a:normAutofit fontScale="90000"/>
          </a:bodyPr>
          <a:lstStyle/>
          <a:p>
            <a:r>
              <a:rPr lang="de-DE"/>
              <a:t>2. </a:t>
            </a:r>
            <a:r>
              <a:rPr lang="en-US"/>
              <a:t>W</a:t>
            </a:r>
            <a:r>
              <a:rPr lang="en-US" sz="1800" b="1"/>
              <a:t>ork processes from the database to data transmission </a:t>
            </a:r>
            <a:endParaRPr lang="de-DE"/>
          </a:p>
        </p:txBody>
      </p:sp>
      <p:sp>
        <p:nvSpPr>
          <p:cNvPr id="10" name="Inhaltsplatzhalter 6">
            <a:extLst>
              <a:ext uri="{FF2B5EF4-FFF2-40B4-BE49-F238E27FC236}">
                <a16:creationId xmlns:a16="http://schemas.microsoft.com/office/drawing/2014/main" id="{CBB82244-2063-4981-8BE7-11B357FB60C1}"/>
              </a:ext>
            </a:extLst>
          </p:cNvPr>
          <p:cNvSpPr>
            <a:spLocks noGrp="1"/>
          </p:cNvSpPr>
          <p:nvPr>
            <p:ph sz="quarter" idx="19"/>
          </p:nvPr>
        </p:nvSpPr>
        <p:spPr>
          <a:xfrm>
            <a:off x="219267" y="1203598"/>
            <a:ext cx="3693508" cy="3455988"/>
          </a:xfrm>
          <a:ln w="19050">
            <a:noFill/>
          </a:ln>
          <a:effectLst/>
        </p:spPr>
        <p:txBody>
          <a:bodyPr>
            <a:normAutofit/>
          </a:bodyPr>
          <a:lstStyle/>
          <a:p>
            <a:pPr>
              <a:buFont typeface="Arial" panose="020B0604020202020204" pitchFamily="34" charset="0"/>
              <a:buChar char="•"/>
            </a:pPr>
            <a:r>
              <a:rPr lang="en-US"/>
              <a:t>Enter /n/UDI/EU to access the UDI transactions or directly enter the UDI overview transaction /UDI/ATTRIBUTES</a:t>
            </a:r>
          </a:p>
          <a:p>
            <a:pPr>
              <a:buFont typeface="Arial" panose="020B0604020202020204" pitchFamily="34" charset="0"/>
              <a:buChar char="•"/>
            </a:pPr>
            <a:r>
              <a:rPr lang="en-US"/>
              <a:t>Select the data area that you want to be see, either “Show Basic UDI Data” or “Show UDI-DI Data” and execute</a:t>
            </a:r>
          </a:p>
        </p:txBody>
      </p:sp>
      <p:sp>
        <p:nvSpPr>
          <p:cNvPr id="9" name="Ellipse 8">
            <a:extLst>
              <a:ext uri="{FF2B5EF4-FFF2-40B4-BE49-F238E27FC236}">
                <a16:creationId xmlns:a16="http://schemas.microsoft.com/office/drawing/2014/main" id="{868B2F9D-8C55-49FA-A196-0D7ECA62BD26}"/>
              </a:ext>
            </a:extLst>
          </p:cNvPr>
          <p:cNvSpPr/>
          <p:nvPr/>
        </p:nvSpPr>
        <p:spPr>
          <a:xfrm>
            <a:off x="4603871" y="1357111"/>
            <a:ext cx="196616" cy="193134"/>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t>2</a:t>
            </a:r>
            <a:endParaRPr lang="en-US"/>
          </a:p>
        </p:txBody>
      </p:sp>
      <p:sp>
        <p:nvSpPr>
          <p:cNvPr id="11" name="Ellipse 10">
            <a:extLst>
              <a:ext uri="{FF2B5EF4-FFF2-40B4-BE49-F238E27FC236}">
                <a16:creationId xmlns:a16="http://schemas.microsoft.com/office/drawing/2014/main" id="{A5FC7A20-3FF3-45BC-8831-3D2655C4EBD0}"/>
              </a:ext>
            </a:extLst>
          </p:cNvPr>
          <p:cNvSpPr/>
          <p:nvPr/>
        </p:nvSpPr>
        <p:spPr>
          <a:xfrm>
            <a:off x="5229839" y="1711212"/>
            <a:ext cx="196616" cy="193134"/>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t>1</a:t>
            </a:r>
            <a:endParaRPr lang="en-US"/>
          </a:p>
        </p:txBody>
      </p:sp>
      <p:sp>
        <p:nvSpPr>
          <p:cNvPr id="12" name="Rechteck 11">
            <a:extLst>
              <a:ext uri="{FF2B5EF4-FFF2-40B4-BE49-F238E27FC236}">
                <a16:creationId xmlns:a16="http://schemas.microsoft.com/office/drawing/2014/main" id="{FD194FB1-BE8B-4AF4-B195-B5D55A93F172}"/>
              </a:ext>
            </a:extLst>
          </p:cNvPr>
          <p:cNvSpPr/>
          <p:nvPr/>
        </p:nvSpPr>
        <p:spPr>
          <a:xfrm>
            <a:off x="4309200" y="1729892"/>
            <a:ext cx="854911" cy="131144"/>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5" name="Rechteck 14">
            <a:extLst>
              <a:ext uri="{FF2B5EF4-FFF2-40B4-BE49-F238E27FC236}">
                <a16:creationId xmlns:a16="http://schemas.microsoft.com/office/drawing/2014/main" id="{116B6A9B-1DA6-46BB-8E1F-9CBD5148B177}"/>
              </a:ext>
            </a:extLst>
          </p:cNvPr>
          <p:cNvSpPr/>
          <p:nvPr/>
        </p:nvSpPr>
        <p:spPr>
          <a:xfrm>
            <a:off x="4280806" y="1419101"/>
            <a:ext cx="132623" cy="131144"/>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3" name="Grafik 2">
            <a:extLst>
              <a:ext uri="{FF2B5EF4-FFF2-40B4-BE49-F238E27FC236}">
                <a16:creationId xmlns:a16="http://schemas.microsoft.com/office/drawing/2014/main" id="{BA16C7A9-F054-40D3-A313-B14ED21C1F0B}"/>
              </a:ext>
            </a:extLst>
          </p:cNvPr>
          <p:cNvPicPr>
            <a:picLocks noChangeAspect="1"/>
          </p:cNvPicPr>
          <p:nvPr/>
        </p:nvPicPr>
        <p:blipFill>
          <a:blip r:embed="rId3"/>
          <a:stretch>
            <a:fillRect/>
          </a:stretch>
        </p:blipFill>
        <p:spPr>
          <a:xfrm>
            <a:off x="366259" y="2718629"/>
            <a:ext cx="3399524" cy="1327843"/>
          </a:xfrm>
          <a:prstGeom prst="rect">
            <a:avLst/>
          </a:prstGeom>
          <a:ln w="19050">
            <a:solidFill>
              <a:srgbClr val="2F5597"/>
            </a:solidFill>
          </a:ln>
          <a:effectLst/>
        </p:spPr>
      </p:pic>
    </p:spTree>
    <p:extLst>
      <p:ext uri="{BB962C8B-B14F-4D97-AF65-F5344CB8AC3E}">
        <p14:creationId xmlns:p14="http://schemas.microsoft.com/office/powerpoint/2010/main" val="38063342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12" grpId="0" animBg="1"/>
      <p:bldP spid="15"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6" name="Textplatzhalter 5">
            <a:extLst>
              <a:ext uri="{FF2B5EF4-FFF2-40B4-BE49-F238E27FC236}">
                <a16:creationId xmlns:a16="http://schemas.microsoft.com/office/drawing/2014/main" id="{F8EA009E-6988-417B-AA33-A3221D4DE665}"/>
              </a:ext>
            </a:extLst>
          </p:cNvPr>
          <p:cNvSpPr>
            <a:spLocks noGrp="1"/>
          </p:cNvSpPr>
          <p:nvPr>
            <p:ph type="body" sz="quarter" idx="18"/>
          </p:nvPr>
        </p:nvSpPr>
        <p:spPr/>
        <p:txBody>
          <a:bodyPr>
            <a:normAutofit/>
          </a:bodyPr>
          <a:lstStyle/>
          <a:p>
            <a:r>
              <a:rPr lang="de-DE"/>
              <a:t>2.5 </a:t>
            </a:r>
            <a:r>
              <a:rPr lang="en-US"/>
              <a:t>Data overview, visual data check /UDI/Attributes</a:t>
            </a:r>
          </a:p>
          <a:p>
            <a:endParaRPr lang="de-DE"/>
          </a:p>
          <a:p>
            <a:endParaRPr lang="de-DE"/>
          </a:p>
        </p:txBody>
      </p:sp>
      <p:sp>
        <p:nvSpPr>
          <p:cNvPr id="9" name="Inhaltsplatzhalter 6">
            <a:extLst>
              <a:ext uri="{FF2B5EF4-FFF2-40B4-BE49-F238E27FC236}">
                <a16:creationId xmlns:a16="http://schemas.microsoft.com/office/drawing/2014/main" id="{527B0853-7766-4A2D-BD49-DDE8941FFC00}"/>
              </a:ext>
            </a:extLst>
          </p:cNvPr>
          <p:cNvSpPr>
            <a:spLocks noGrp="1"/>
          </p:cNvSpPr>
          <p:nvPr>
            <p:ph sz="quarter" idx="19"/>
          </p:nvPr>
        </p:nvSpPr>
        <p:spPr>
          <a:xfrm>
            <a:off x="222659" y="1203598"/>
            <a:ext cx="3694248" cy="3455988"/>
          </a:xfrm>
        </p:spPr>
        <p:txBody>
          <a:bodyPr>
            <a:normAutofit/>
          </a:bodyPr>
          <a:lstStyle/>
          <a:p>
            <a:pPr>
              <a:buFont typeface="Arial" panose="020B0604020202020204" pitchFamily="34" charset="0"/>
              <a:buChar char="•"/>
            </a:pPr>
            <a:r>
              <a:rPr lang="en-US"/>
              <a:t>All UDI data of the selected data area will be displayed </a:t>
            </a:r>
          </a:p>
          <a:p>
            <a:pPr>
              <a:buFont typeface="Arial" panose="020B0604020202020204" pitchFamily="34" charset="0"/>
              <a:buChar char="•"/>
            </a:pPr>
            <a:r>
              <a:rPr lang="en-US"/>
              <a:t>Further options, such as the data validation, release and saving are available </a:t>
            </a:r>
          </a:p>
        </p:txBody>
      </p:sp>
      <p:sp>
        <p:nvSpPr>
          <p:cNvPr id="17" name="Titel 2">
            <a:extLst>
              <a:ext uri="{FF2B5EF4-FFF2-40B4-BE49-F238E27FC236}">
                <a16:creationId xmlns:a16="http://schemas.microsoft.com/office/drawing/2014/main" id="{2D47D1DC-633F-48B1-B0E1-1FFE9E650A0E}"/>
              </a:ext>
            </a:extLst>
          </p:cNvPr>
          <p:cNvSpPr>
            <a:spLocks noGrp="1"/>
          </p:cNvSpPr>
          <p:nvPr>
            <p:ph type="title"/>
          </p:nvPr>
        </p:nvSpPr>
        <p:spPr/>
        <p:txBody>
          <a:bodyPr>
            <a:normAutofit fontScale="90000"/>
          </a:bodyPr>
          <a:lstStyle/>
          <a:p>
            <a:r>
              <a:rPr lang="de-DE"/>
              <a:t>2. </a:t>
            </a:r>
            <a:r>
              <a:rPr lang="en-US"/>
              <a:t>W</a:t>
            </a:r>
            <a:r>
              <a:rPr lang="en-US" sz="1800" b="1"/>
              <a:t>ork processes from the database to data transmission </a:t>
            </a:r>
            <a:endParaRPr lang="de-DE"/>
          </a:p>
        </p:txBody>
      </p:sp>
      <p:pic>
        <p:nvPicPr>
          <p:cNvPr id="3" name="Grafik 2">
            <a:extLst>
              <a:ext uri="{FF2B5EF4-FFF2-40B4-BE49-F238E27FC236}">
                <a16:creationId xmlns:a16="http://schemas.microsoft.com/office/drawing/2014/main" id="{BCDC7DBA-8CFA-4C28-8FB3-AB55E84F3B75}"/>
              </a:ext>
            </a:extLst>
          </p:cNvPr>
          <p:cNvPicPr>
            <a:picLocks noChangeAspect="1"/>
          </p:cNvPicPr>
          <p:nvPr/>
        </p:nvPicPr>
        <p:blipFill>
          <a:blip r:embed="rId3"/>
          <a:stretch>
            <a:fillRect/>
          </a:stretch>
        </p:blipFill>
        <p:spPr>
          <a:xfrm>
            <a:off x="1637923" y="2151734"/>
            <a:ext cx="7394713" cy="2558678"/>
          </a:xfrm>
          <a:prstGeom prst="rect">
            <a:avLst/>
          </a:prstGeom>
          <a:ln w="19050">
            <a:solidFill>
              <a:srgbClr val="2F5597"/>
            </a:solidFill>
          </a:ln>
          <a:effectLst/>
        </p:spPr>
      </p:pic>
      <p:sp>
        <p:nvSpPr>
          <p:cNvPr id="19" name="Rechteck 18">
            <a:extLst>
              <a:ext uri="{FF2B5EF4-FFF2-40B4-BE49-F238E27FC236}">
                <a16:creationId xmlns:a16="http://schemas.microsoft.com/office/drawing/2014/main" id="{5C21513C-0B28-478A-A946-BCAF91F945A6}"/>
              </a:ext>
            </a:extLst>
          </p:cNvPr>
          <p:cNvSpPr/>
          <p:nvPr/>
        </p:nvSpPr>
        <p:spPr>
          <a:xfrm>
            <a:off x="3323599" y="2342012"/>
            <a:ext cx="4731071" cy="193134"/>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0" name="Ellipse 9">
            <a:extLst>
              <a:ext uri="{FF2B5EF4-FFF2-40B4-BE49-F238E27FC236}">
                <a16:creationId xmlns:a16="http://schemas.microsoft.com/office/drawing/2014/main" id="{F32B2B0C-3555-4CD5-97B9-A2CE53500FC1}"/>
              </a:ext>
            </a:extLst>
          </p:cNvPr>
          <p:cNvSpPr/>
          <p:nvPr/>
        </p:nvSpPr>
        <p:spPr>
          <a:xfrm>
            <a:off x="6922007" y="2072056"/>
            <a:ext cx="196616" cy="193134"/>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t>3</a:t>
            </a:r>
            <a:endParaRPr lang="en-US"/>
          </a:p>
        </p:txBody>
      </p:sp>
    </p:spTree>
    <p:extLst>
      <p:ext uri="{BB962C8B-B14F-4D97-AF65-F5344CB8AC3E}">
        <p14:creationId xmlns:p14="http://schemas.microsoft.com/office/powerpoint/2010/main" val="302677592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0"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5ED80781-56A3-4F6F-907E-4C5FD6563C10}"/>
              </a:ext>
            </a:extLst>
          </p:cNvPr>
          <p:cNvPicPr>
            <a:picLocks noChangeAspect="1"/>
          </p:cNvPicPr>
          <p:nvPr/>
        </p:nvPicPr>
        <p:blipFill>
          <a:blip r:embed="rId2"/>
          <a:stretch>
            <a:fillRect/>
          </a:stretch>
        </p:blipFill>
        <p:spPr>
          <a:xfrm>
            <a:off x="1977857" y="1124705"/>
            <a:ext cx="5188285" cy="3546656"/>
          </a:xfrm>
          <a:prstGeom prst="rect">
            <a:avLst/>
          </a:prstGeom>
          <a:ln w="19050">
            <a:solidFill>
              <a:srgbClr val="2F5597"/>
            </a:solidFill>
          </a:ln>
          <a:effectLst/>
        </p:spPr>
      </p:pic>
      <p:sp>
        <p:nvSpPr>
          <p:cNvPr id="28" name="Textplatzhalter 5">
            <a:extLst>
              <a:ext uri="{FF2B5EF4-FFF2-40B4-BE49-F238E27FC236}">
                <a16:creationId xmlns:a16="http://schemas.microsoft.com/office/drawing/2014/main" id="{6620D9C1-8533-46FF-999C-31AFD3C3352A}"/>
              </a:ext>
            </a:extLst>
          </p:cNvPr>
          <p:cNvSpPr>
            <a:spLocks noGrp="1"/>
          </p:cNvSpPr>
          <p:nvPr>
            <p:ph type="body" sz="quarter" idx="18"/>
          </p:nvPr>
        </p:nvSpPr>
        <p:spPr>
          <a:xfrm>
            <a:off x="191743" y="608202"/>
            <a:ext cx="8600883" cy="330544"/>
          </a:xfrm>
          <a:effectLst/>
        </p:spPr>
        <p:txBody>
          <a:bodyPr>
            <a:normAutofit/>
          </a:bodyPr>
          <a:lstStyle/>
          <a:p>
            <a:r>
              <a:rPr lang="de-DE"/>
              <a:t>2.5 </a:t>
            </a:r>
            <a:r>
              <a:rPr lang="en-US"/>
              <a:t>Data overview, visual data check /UDI/Attributes</a:t>
            </a:r>
          </a:p>
          <a:p>
            <a:endParaRPr lang="de-DE"/>
          </a:p>
          <a:p>
            <a:endParaRPr lang="de-DE"/>
          </a:p>
        </p:txBody>
      </p:sp>
      <p:sp>
        <p:nvSpPr>
          <p:cNvPr id="29" name="Titel 2">
            <a:extLst>
              <a:ext uri="{FF2B5EF4-FFF2-40B4-BE49-F238E27FC236}">
                <a16:creationId xmlns:a16="http://schemas.microsoft.com/office/drawing/2014/main" id="{A5BDEBA0-16BB-428A-BC90-106FCB998062}"/>
              </a:ext>
            </a:extLst>
          </p:cNvPr>
          <p:cNvSpPr>
            <a:spLocks noGrp="1"/>
          </p:cNvSpPr>
          <p:nvPr>
            <p:ph type="title"/>
          </p:nvPr>
        </p:nvSpPr>
        <p:spPr>
          <a:xfrm>
            <a:off x="269393" y="78770"/>
            <a:ext cx="7907189" cy="330545"/>
          </a:xfrm>
        </p:spPr>
        <p:txBody>
          <a:bodyPr>
            <a:normAutofit fontScale="90000"/>
          </a:bodyPr>
          <a:lstStyle/>
          <a:p>
            <a:r>
              <a:rPr lang="de-DE"/>
              <a:t>2. </a:t>
            </a:r>
            <a:r>
              <a:rPr lang="en-US"/>
              <a:t>W</a:t>
            </a:r>
            <a:r>
              <a:rPr lang="en-US" sz="1800" b="1"/>
              <a:t>ork processes from the database to data transmission </a:t>
            </a:r>
            <a:endParaRPr lang="de-DE"/>
          </a:p>
        </p:txBody>
      </p:sp>
      <p:sp>
        <p:nvSpPr>
          <p:cNvPr id="31" name="Rechteck 30">
            <a:extLst>
              <a:ext uri="{FF2B5EF4-FFF2-40B4-BE49-F238E27FC236}">
                <a16:creationId xmlns:a16="http://schemas.microsoft.com/office/drawing/2014/main" id="{A9214B21-7BF8-43E6-A4C5-23A451B4EE50}"/>
              </a:ext>
            </a:extLst>
          </p:cNvPr>
          <p:cNvSpPr/>
          <p:nvPr/>
        </p:nvSpPr>
        <p:spPr>
          <a:xfrm>
            <a:off x="2002938" y="1343032"/>
            <a:ext cx="196617" cy="166519"/>
          </a:xfrm>
          <a:prstGeom prst="rect">
            <a:avLst/>
          </a:prstGeom>
          <a:no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32" name="Rechteck 31">
            <a:extLst>
              <a:ext uri="{FF2B5EF4-FFF2-40B4-BE49-F238E27FC236}">
                <a16:creationId xmlns:a16="http://schemas.microsoft.com/office/drawing/2014/main" id="{FCC02B46-C67A-457D-B401-695B9EF343A9}"/>
              </a:ext>
            </a:extLst>
          </p:cNvPr>
          <p:cNvSpPr/>
          <p:nvPr/>
        </p:nvSpPr>
        <p:spPr>
          <a:xfrm>
            <a:off x="3342662" y="1715318"/>
            <a:ext cx="895383" cy="169612"/>
          </a:xfrm>
          <a:prstGeom prst="rect">
            <a:avLst/>
          </a:prstGeom>
          <a:no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9" name="Ellipse 18">
            <a:extLst>
              <a:ext uri="{FF2B5EF4-FFF2-40B4-BE49-F238E27FC236}">
                <a16:creationId xmlns:a16="http://schemas.microsoft.com/office/drawing/2014/main" id="{35CEB8BE-CA01-45DF-84B3-914EF1F86ECC}"/>
              </a:ext>
            </a:extLst>
          </p:cNvPr>
          <p:cNvSpPr/>
          <p:nvPr/>
        </p:nvSpPr>
        <p:spPr>
          <a:xfrm>
            <a:off x="4393877" y="1691795"/>
            <a:ext cx="196616" cy="193134"/>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a:t>1</a:t>
            </a:r>
            <a:endParaRPr lang="en-US" sz="1000"/>
          </a:p>
        </p:txBody>
      </p:sp>
      <p:sp>
        <p:nvSpPr>
          <p:cNvPr id="20" name="Ellipse 19">
            <a:extLst>
              <a:ext uri="{FF2B5EF4-FFF2-40B4-BE49-F238E27FC236}">
                <a16:creationId xmlns:a16="http://schemas.microsoft.com/office/drawing/2014/main" id="{1872BC11-7138-428D-8F39-71AFDA564401}"/>
              </a:ext>
            </a:extLst>
          </p:cNvPr>
          <p:cNvSpPr/>
          <p:nvPr/>
        </p:nvSpPr>
        <p:spPr>
          <a:xfrm>
            <a:off x="1695474" y="1343031"/>
            <a:ext cx="196616" cy="166519"/>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a:t>2</a:t>
            </a:r>
            <a:endParaRPr lang="en-US" sz="1000"/>
          </a:p>
        </p:txBody>
      </p:sp>
    </p:spTree>
    <p:extLst>
      <p:ext uri="{BB962C8B-B14F-4D97-AF65-F5344CB8AC3E}">
        <p14:creationId xmlns:p14="http://schemas.microsoft.com/office/powerpoint/2010/main" val="37092853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2" grpId="0" animBg="1"/>
      <p:bldP spid="19" grpId="0" animBg="1"/>
      <p:bldP spid="20"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platzhalter 5">
            <a:extLst>
              <a:ext uri="{FF2B5EF4-FFF2-40B4-BE49-F238E27FC236}">
                <a16:creationId xmlns:a16="http://schemas.microsoft.com/office/drawing/2014/main" id="{6620D9C1-8533-46FF-999C-31AFD3C3352A}"/>
              </a:ext>
            </a:extLst>
          </p:cNvPr>
          <p:cNvSpPr>
            <a:spLocks noGrp="1"/>
          </p:cNvSpPr>
          <p:nvPr>
            <p:ph type="body" sz="quarter" idx="18"/>
          </p:nvPr>
        </p:nvSpPr>
        <p:spPr>
          <a:xfrm>
            <a:off x="191052" y="631564"/>
            <a:ext cx="8600883" cy="330544"/>
          </a:xfrm>
          <a:effectLst/>
        </p:spPr>
        <p:txBody>
          <a:bodyPr>
            <a:normAutofit/>
          </a:bodyPr>
          <a:lstStyle/>
          <a:p>
            <a:r>
              <a:rPr lang="de-DE"/>
              <a:t>2.5 </a:t>
            </a:r>
            <a:r>
              <a:rPr lang="en-US"/>
              <a:t>Data overview, visual data check /UDI/Attributes</a:t>
            </a:r>
          </a:p>
          <a:p>
            <a:endParaRPr lang="de-DE"/>
          </a:p>
          <a:p>
            <a:endParaRPr lang="de-DE"/>
          </a:p>
        </p:txBody>
      </p:sp>
      <p:sp>
        <p:nvSpPr>
          <p:cNvPr id="29" name="Titel 2">
            <a:extLst>
              <a:ext uri="{FF2B5EF4-FFF2-40B4-BE49-F238E27FC236}">
                <a16:creationId xmlns:a16="http://schemas.microsoft.com/office/drawing/2014/main" id="{A5BDEBA0-16BB-428A-BC90-106FCB998062}"/>
              </a:ext>
            </a:extLst>
          </p:cNvPr>
          <p:cNvSpPr>
            <a:spLocks noGrp="1"/>
          </p:cNvSpPr>
          <p:nvPr>
            <p:ph type="title"/>
          </p:nvPr>
        </p:nvSpPr>
        <p:spPr>
          <a:xfrm>
            <a:off x="269393" y="78770"/>
            <a:ext cx="7907189" cy="330545"/>
          </a:xfrm>
        </p:spPr>
        <p:txBody>
          <a:bodyPr>
            <a:normAutofit fontScale="90000"/>
          </a:bodyPr>
          <a:lstStyle/>
          <a:p>
            <a:r>
              <a:rPr lang="de-DE"/>
              <a:t>2. </a:t>
            </a:r>
            <a:r>
              <a:rPr lang="en-US"/>
              <a:t>W</a:t>
            </a:r>
            <a:r>
              <a:rPr lang="en-US" sz="1800" b="1"/>
              <a:t>ork processes from the database to data transmission </a:t>
            </a:r>
            <a:endParaRPr lang="de-DE"/>
          </a:p>
        </p:txBody>
      </p:sp>
      <p:pic>
        <p:nvPicPr>
          <p:cNvPr id="4" name="Grafik 3">
            <a:extLst>
              <a:ext uri="{FF2B5EF4-FFF2-40B4-BE49-F238E27FC236}">
                <a16:creationId xmlns:a16="http://schemas.microsoft.com/office/drawing/2014/main" id="{F5F7CFB5-6AC3-4641-BC49-B451BF76F074}"/>
              </a:ext>
            </a:extLst>
          </p:cNvPr>
          <p:cNvPicPr>
            <a:picLocks noChangeAspect="1"/>
          </p:cNvPicPr>
          <p:nvPr/>
        </p:nvPicPr>
        <p:blipFill rotWithShape="1">
          <a:blip r:embed="rId2"/>
          <a:srcRect r="14010"/>
          <a:stretch/>
        </p:blipFill>
        <p:spPr>
          <a:xfrm>
            <a:off x="269393" y="1242708"/>
            <a:ext cx="7301753" cy="2669831"/>
          </a:xfrm>
          <a:prstGeom prst="rect">
            <a:avLst/>
          </a:prstGeom>
          <a:ln w="19050">
            <a:solidFill>
              <a:srgbClr val="2F5597"/>
            </a:solidFill>
          </a:ln>
          <a:effectLst/>
        </p:spPr>
      </p:pic>
      <p:cxnSp>
        <p:nvCxnSpPr>
          <p:cNvPr id="12" name="Gerade Verbindung mit Pfeil 11">
            <a:extLst>
              <a:ext uri="{FF2B5EF4-FFF2-40B4-BE49-F238E27FC236}">
                <a16:creationId xmlns:a16="http://schemas.microsoft.com/office/drawing/2014/main" id="{8CD3D7B5-BC98-459F-936C-0F9E36314A16}"/>
              </a:ext>
            </a:extLst>
          </p:cNvPr>
          <p:cNvCxnSpPr>
            <a:cxnSpLocks/>
          </p:cNvCxnSpPr>
          <p:nvPr/>
        </p:nvCxnSpPr>
        <p:spPr>
          <a:xfrm flipV="1">
            <a:off x="1964628" y="1630229"/>
            <a:ext cx="238541" cy="639447"/>
          </a:xfrm>
          <a:prstGeom prst="straightConnector1">
            <a:avLst/>
          </a:prstGeom>
          <a:ln>
            <a:solidFill>
              <a:srgbClr val="FF0000"/>
            </a:solidFill>
            <a:tailEnd type="triangle"/>
          </a:ln>
        </p:spPr>
        <p:style>
          <a:lnRef idx="3">
            <a:schemeClr val="accent1"/>
          </a:lnRef>
          <a:fillRef idx="0">
            <a:schemeClr val="accent1"/>
          </a:fillRef>
          <a:effectRef idx="2">
            <a:schemeClr val="accent1"/>
          </a:effectRef>
          <a:fontRef idx="minor">
            <a:schemeClr val="tx1"/>
          </a:fontRef>
        </p:style>
      </p:cxnSp>
      <p:pic>
        <p:nvPicPr>
          <p:cNvPr id="6" name="Grafik 5">
            <a:extLst>
              <a:ext uri="{FF2B5EF4-FFF2-40B4-BE49-F238E27FC236}">
                <a16:creationId xmlns:a16="http://schemas.microsoft.com/office/drawing/2014/main" id="{D922DDFF-0EA6-4A30-9739-259AE763A195}"/>
              </a:ext>
            </a:extLst>
          </p:cNvPr>
          <p:cNvPicPr>
            <a:picLocks noChangeAspect="1"/>
          </p:cNvPicPr>
          <p:nvPr/>
        </p:nvPicPr>
        <p:blipFill>
          <a:blip r:embed="rId3"/>
          <a:stretch>
            <a:fillRect/>
          </a:stretch>
        </p:blipFill>
        <p:spPr>
          <a:xfrm>
            <a:off x="269392" y="1230961"/>
            <a:ext cx="7301753" cy="2746719"/>
          </a:xfrm>
          <a:prstGeom prst="rect">
            <a:avLst/>
          </a:prstGeom>
          <a:ln w="19050">
            <a:solidFill>
              <a:srgbClr val="2F5597"/>
            </a:solidFill>
          </a:ln>
          <a:effectLst/>
        </p:spPr>
      </p:pic>
      <p:sp>
        <p:nvSpPr>
          <p:cNvPr id="2" name="Rechteck 1">
            <a:extLst>
              <a:ext uri="{FF2B5EF4-FFF2-40B4-BE49-F238E27FC236}">
                <a16:creationId xmlns:a16="http://schemas.microsoft.com/office/drawing/2014/main" id="{26DFE3FC-9367-4D25-89A4-5B156E72D85C}"/>
              </a:ext>
            </a:extLst>
          </p:cNvPr>
          <p:cNvSpPr/>
          <p:nvPr/>
        </p:nvSpPr>
        <p:spPr>
          <a:xfrm>
            <a:off x="269393" y="1630229"/>
            <a:ext cx="436578" cy="236744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Inhaltsplatzhalter 4">
            <a:extLst>
              <a:ext uri="{FF2B5EF4-FFF2-40B4-BE49-F238E27FC236}">
                <a16:creationId xmlns:a16="http://schemas.microsoft.com/office/drawing/2014/main" id="{31971D13-65B2-4CD7-94A8-A6807F187BD2}"/>
              </a:ext>
            </a:extLst>
          </p:cNvPr>
          <p:cNvSpPr>
            <a:spLocks noGrp="1"/>
          </p:cNvSpPr>
          <p:nvPr>
            <p:ph sz="quarter" idx="19"/>
          </p:nvPr>
        </p:nvSpPr>
        <p:spPr/>
        <p:txBody>
          <a:bodyPr/>
          <a:lstStyle/>
          <a:p>
            <a:endParaRPr lang="en-GB"/>
          </a:p>
        </p:txBody>
      </p:sp>
    </p:spTree>
    <p:extLst>
      <p:ext uri="{BB962C8B-B14F-4D97-AF65-F5344CB8AC3E}">
        <p14:creationId xmlns:p14="http://schemas.microsoft.com/office/powerpoint/2010/main" val="23324462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platzhalter 5">
            <a:extLst>
              <a:ext uri="{FF2B5EF4-FFF2-40B4-BE49-F238E27FC236}">
                <a16:creationId xmlns:a16="http://schemas.microsoft.com/office/drawing/2014/main" id="{6620D9C1-8533-46FF-999C-31AFD3C3352A}"/>
              </a:ext>
            </a:extLst>
          </p:cNvPr>
          <p:cNvSpPr>
            <a:spLocks noGrp="1"/>
          </p:cNvSpPr>
          <p:nvPr>
            <p:ph type="body" sz="quarter" idx="18"/>
          </p:nvPr>
        </p:nvSpPr>
        <p:spPr>
          <a:xfrm>
            <a:off x="173598" y="617254"/>
            <a:ext cx="8600883" cy="330544"/>
          </a:xfrm>
          <a:effectLst/>
        </p:spPr>
        <p:txBody>
          <a:bodyPr>
            <a:normAutofit/>
          </a:bodyPr>
          <a:lstStyle/>
          <a:p>
            <a:r>
              <a:rPr lang="de-DE"/>
              <a:t>2.5 </a:t>
            </a:r>
            <a:r>
              <a:rPr lang="en-US"/>
              <a:t>Data overview, visual data check /UDI/Attributes</a:t>
            </a:r>
          </a:p>
          <a:p>
            <a:endParaRPr lang="de-DE"/>
          </a:p>
          <a:p>
            <a:endParaRPr lang="de-DE"/>
          </a:p>
        </p:txBody>
      </p:sp>
      <p:sp>
        <p:nvSpPr>
          <p:cNvPr id="29" name="Titel 2">
            <a:extLst>
              <a:ext uri="{FF2B5EF4-FFF2-40B4-BE49-F238E27FC236}">
                <a16:creationId xmlns:a16="http://schemas.microsoft.com/office/drawing/2014/main" id="{A5BDEBA0-16BB-428A-BC90-106FCB998062}"/>
              </a:ext>
            </a:extLst>
          </p:cNvPr>
          <p:cNvSpPr>
            <a:spLocks noGrp="1"/>
          </p:cNvSpPr>
          <p:nvPr>
            <p:ph type="title"/>
          </p:nvPr>
        </p:nvSpPr>
        <p:spPr>
          <a:xfrm>
            <a:off x="269393" y="78770"/>
            <a:ext cx="7907189" cy="330545"/>
          </a:xfrm>
        </p:spPr>
        <p:txBody>
          <a:bodyPr>
            <a:normAutofit fontScale="90000"/>
          </a:bodyPr>
          <a:lstStyle/>
          <a:p>
            <a:r>
              <a:rPr lang="de-DE"/>
              <a:t>2. </a:t>
            </a:r>
            <a:r>
              <a:rPr lang="en-US"/>
              <a:t>W</a:t>
            </a:r>
            <a:r>
              <a:rPr lang="en-US" sz="1800" b="1"/>
              <a:t>ork processes from the database to data transmission </a:t>
            </a:r>
            <a:endParaRPr lang="de-DE"/>
          </a:p>
        </p:txBody>
      </p:sp>
      <p:pic>
        <p:nvPicPr>
          <p:cNvPr id="8" name="Grafik 7">
            <a:extLst>
              <a:ext uri="{FF2B5EF4-FFF2-40B4-BE49-F238E27FC236}">
                <a16:creationId xmlns:a16="http://schemas.microsoft.com/office/drawing/2014/main" id="{70FF1C42-C3E1-458A-A3F0-627A3A03C7D6}"/>
              </a:ext>
            </a:extLst>
          </p:cNvPr>
          <p:cNvPicPr>
            <a:picLocks noChangeAspect="1"/>
          </p:cNvPicPr>
          <p:nvPr/>
        </p:nvPicPr>
        <p:blipFill rotWithShape="1">
          <a:blip r:embed="rId2"/>
          <a:srcRect b="2244"/>
          <a:stretch/>
        </p:blipFill>
        <p:spPr>
          <a:xfrm>
            <a:off x="219267" y="1225188"/>
            <a:ext cx="8495807" cy="3124152"/>
          </a:xfrm>
          <a:prstGeom prst="rect">
            <a:avLst/>
          </a:prstGeom>
          <a:ln w="19050">
            <a:solidFill>
              <a:srgbClr val="2F5597"/>
            </a:solidFill>
          </a:ln>
          <a:effectLst/>
        </p:spPr>
      </p:pic>
      <p:cxnSp>
        <p:nvCxnSpPr>
          <p:cNvPr id="3" name="Gerade Verbindung mit Pfeil 2">
            <a:extLst>
              <a:ext uri="{FF2B5EF4-FFF2-40B4-BE49-F238E27FC236}">
                <a16:creationId xmlns:a16="http://schemas.microsoft.com/office/drawing/2014/main" id="{D61DBCBD-3EA2-4DE5-A3C1-E510E77DEF0F}"/>
              </a:ext>
            </a:extLst>
          </p:cNvPr>
          <p:cNvCxnSpPr>
            <a:cxnSpLocks/>
          </p:cNvCxnSpPr>
          <p:nvPr/>
        </p:nvCxnSpPr>
        <p:spPr>
          <a:xfrm flipV="1">
            <a:off x="3811382" y="1665377"/>
            <a:ext cx="384370" cy="604299"/>
          </a:xfrm>
          <a:prstGeom prst="straightConnector1">
            <a:avLst/>
          </a:prstGeom>
          <a:ln w="38100">
            <a:solidFill>
              <a:srgbClr val="FF0000"/>
            </a:solidFill>
            <a:tailEnd type="triangle"/>
          </a:ln>
        </p:spPr>
        <p:style>
          <a:lnRef idx="3">
            <a:schemeClr val="accent2"/>
          </a:lnRef>
          <a:fillRef idx="0">
            <a:schemeClr val="accent2"/>
          </a:fillRef>
          <a:effectRef idx="2">
            <a:schemeClr val="accent2"/>
          </a:effectRef>
          <a:fontRef idx="minor">
            <a:schemeClr val="tx1"/>
          </a:fontRef>
        </p:style>
      </p:cxnSp>
      <p:pic>
        <p:nvPicPr>
          <p:cNvPr id="9" name="Grafik 8">
            <a:extLst>
              <a:ext uri="{FF2B5EF4-FFF2-40B4-BE49-F238E27FC236}">
                <a16:creationId xmlns:a16="http://schemas.microsoft.com/office/drawing/2014/main" id="{5CF20F0E-E62D-40A4-82D1-EDD52D5D78EA}"/>
              </a:ext>
            </a:extLst>
          </p:cNvPr>
          <p:cNvPicPr>
            <a:picLocks noChangeAspect="1"/>
          </p:cNvPicPr>
          <p:nvPr/>
        </p:nvPicPr>
        <p:blipFill rotWithShape="1">
          <a:blip r:embed="rId3"/>
          <a:srcRect l="-337" t="3278" r="337"/>
          <a:stretch/>
        </p:blipFill>
        <p:spPr>
          <a:xfrm>
            <a:off x="2659506" y="2370158"/>
            <a:ext cx="4715533" cy="1759879"/>
          </a:xfrm>
          <a:prstGeom prst="rect">
            <a:avLst/>
          </a:prstGeom>
          <a:ln w="19050">
            <a:solidFill>
              <a:srgbClr val="2F5597"/>
            </a:solidFill>
          </a:ln>
          <a:effectLst/>
        </p:spPr>
      </p:pic>
      <p:pic>
        <p:nvPicPr>
          <p:cNvPr id="11" name="Grafik 10">
            <a:extLst>
              <a:ext uri="{FF2B5EF4-FFF2-40B4-BE49-F238E27FC236}">
                <a16:creationId xmlns:a16="http://schemas.microsoft.com/office/drawing/2014/main" id="{E51F7F62-3594-4275-ABBC-64EAD243566A}"/>
              </a:ext>
            </a:extLst>
          </p:cNvPr>
          <p:cNvPicPr>
            <a:picLocks noChangeAspect="1"/>
          </p:cNvPicPr>
          <p:nvPr/>
        </p:nvPicPr>
        <p:blipFill rotWithShape="1">
          <a:blip r:embed="rId4"/>
          <a:srcRect r="2690"/>
          <a:stretch/>
        </p:blipFill>
        <p:spPr>
          <a:xfrm>
            <a:off x="173598" y="1225187"/>
            <a:ext cx="8692220" cy="3157329"/>
          </a:xfrm>
          <a:prstGeom prst="rect">
            <a:avLst/>
          </a:prstGeom>
          <a:ln w="19050">
            <a:solidFill>
              <a:srgbClr val="2F5597"/>
            </a:solidFill>
          </a:ln>
          <a:effectLst/>
        </p:spPr>
      </p:pic>
      <p:sp>
        <p:nvSpPr>
          <p:cNvPr id="13" name="Rechteck 12">
            <a:extLst>
              <a:ext uri="{FF2B5EF4-FFF2-40B4-BE49-F238E27FC236}">
                <a16:creationId xmlns:a16="http://schemas.microsoft.com/office/drawing/2014/main" id="{0EC30D7A-5C5E-4F05-81C4-E1B08B60497B}"/>
              </a:ext>
            </a:extLst>
          </p:cNvPr>
          <p:cNvSpPr/>
          <p:nvPr/>
        </p:nvSpPr>
        <p:spPr>
          <a:xfrm>
            <a:off x="5332620" y="1665377"/>
            <a:ext cx="416173" cy="271713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Rechteck 16">
            <a:extLst>
              <a:ext uri="{FF2B5EF4-FFF2-40B4-BE49-F238E27FC236}">
                <a16:creationId xmlns:a16="http://schemas.microsoft.com/office/drawing/2014/main" id="{4F8693C4-4DE4-4CDF-8581-1BFE37463973}"/>
              </a:ext>
            </a:extLst>
          </p:cNvPr>
          <p:cNvSpPr/>
          <p:nvPr/>
        </p:nvSpPr>
        <p:spPr>
          <a:xfrm>
            <a:off x="686406" y="1725432"/>
            <a:ext cx="1325274" cy="2657083"/>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57104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7"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A19744FE-0122-4458-A703-1ED9355A7C5F}"/>
              </a:ext>
            </a:extLst>
          </p:cNvPr>
          <p:cNvSpPr>
            <a:spLocks noGrp="1"/>
          </p:cNvSpPr>
          <p:nvPr>
            <p:ph type="body" sz="quarter" idx="18"/>
          </p:nvPr>
        </p:nvSpPr>
        <p:spPr/>
        <p:txBody>
          <a:bodyPr>
            <a:normAutofit/>
          </a:bodyPr>
          <a:lstStyle/>
          <a:p>
            <a:r>
              <a:rPr lang="de-DE"/>
              <a:t>2.6 </a:t>
            </a:r>
            <a:r>
              <a:rPr lang="en-US"/>
              <a:t>Integrity check, Validation check</a:t>
            </a:r>
          </a:p>
          <a:p>
            <a:endParaRPr lang="en-US"/>
          </a:p>
          <a:p>
            <a:endParaRPr lang="de-DE"/>
          </a:p>
          <a:p>
            <a:endParaRPr lang="de-DE"/>
          </a:p>
        </p:txBody>
      </p:sp>
      <p:sp>
        <p:nvSpPr>
          <p:cNvPr id="3" name="Titel 2">
            <a:extLst>
              <a:ext uri="{FF2B5EF4-FFF2-40B4-BE49-F238E27FC236}">
                <a16:creationId xmlns:a16="http://schemas.microsoft.com/office/drawing/2014/main" id="{17403686-94D3-4A24-BDEB-07854049E7FA}"/>
              </a:ext>
            </a:extLst>
          </p:cNvPr>
          <p:cNvSpPr>
            <a:spLocks noGrp="1"/>
          </p:cNvSpPr>
          <p:nvPr>
            <p:ph type="title"/>
          </p:nvPr>
        </p:nvSpPr>
        <p:spPr/>
        <p:txBody>
          <a:bodyPr>
            <a:normAutofit fontScale="90000"/>
          </a:bodyPr>
          <a:lstStyle/>
          <a:p>
            <a:r>
              <a:rPr lang="de-DE"/>
              <a:t>2. </a:t>
            </a:r>
            <a:r>
              <a:rPr lang="en-US"/>
              <a:t>W</a:t>
            </a:r>
            <a:r>
              <a:rPr lang="en-US" sz="1800" b="1"/>
              <a:t>ork processes from the database to data transmission </a:t>
            </a:r>
            <a:endParaRPr lang="de-DE"/>
          </a:p>
        </p:txBody>
      </p:sp>
      <p:sp>
        <p:nvSpPr>
          <p:cNvPr id="31" name="Rechteck: abgerundete Ecken 30">
            <a:extLst>
              <a:ext uri="{FF2B5EF4-FFF2-40B4-BE49-F238E27FC236}">
                <a16:creationId xmlns:a16="http://schemas.microsoft.com/office/drawing/2014/main" id="{C2E356A7-F0C9-4E37-8904-4CFAE1F864A1}"/>
              </a:ext>
            </a:extLst>
          </p:cNvPr>
          <p:cNvSpPr/>
          <p:nvPr/>
        </p:nvSpPr>
        <p:spPr>
          <a:xfrm>
            <a:off x="5124177" y="1827482"/>
            <a:ext cx="1797627" cy="1936246"/>
          </a:xfrm>
          <a:prstGeom prst="round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sz="1200" b="1">
                <a:solidFill>
                  <a:schemeClr val="tx1"/>
                </a:solidFill>
                <a:latin typeface="Arial" panose="020B0604020202020204" pitchFamily="34" charset="0"/>
                <a:cs typeface="Arial" panose="020B0604020202020204" pitchFamily="34" charset="0"/>
              </a:rPr>
              <a:t>Data </a:t>
            </a:r>
            <a:r>
              <a:rPr lang="de-DE" sz="1200" b="1" err="1">
                <a:solidFill>
                  <a:schemeClr val="tx1"/>
                </a:solidFill>
                <a:latin typeface="Arial" panose="020B0604020202020204" pitchFamily="34" charset="0"/>
                <a:cs typeface="Arial" panose="020B0604020202020204" pitchFamily="34" charset="0"/>
              </a:rPr>
              <a:t>transmission</a:t>
            </a:r>
            <a:endParaRPr lang="de-DE" sz="1200" b="1">
              <a:solidFill>
                <a:schemeClr val="tx1"/>
              </a:solidFill>
              <a:latin typeface="Arial" panose="020B0604020202020204" pitchFamily="34" charset="0"/>
              <a:cs typeface="Arial" panose="020B0604020202020204" pitchFamily="34" charset="0"/>
            </a:endParaRPr>
          </a:p>
          <a:p>
            <a:pPr algn="ctr"/>
            <a:endParaRPr lang="de-DE" sz="1200">
              <a:latin typeface="Arial" panose="020B0604020202020204" pitchFamily="34" charset="0"/>
              <a:cs typeface="Arial" panose="020B0604020202020204" pitchFamily="34" charset="0"/>
            </a:endParaRPr>
          </a:p>
          <a:p>
            <a:pPr algn="ctr"/>
            <a:endParaRPr lang="de-DE" sz="1200">
              <a:latin typeface="Arial" panose="020B0604020202020204" pitchFamily="34" charset="0"/>
              <a:cs typeface="Arial" panose="020B0604020202020204" pitchFamily="34" charset="0"/>
            </a:endParaRPr>
          </a:p>
          <a:p>
            <a:pPr algn="ctr"/>
            <a:endParaRPr lang="de-DE" sz="1200">
              <a:latin typeface="Arial" panose="020B0604020202020204" pitchFamily="34" charset="0"/>
              <a:cs typeface="Arial" panose="020B0604020202020204" pitchFamily="34" charset="0"/>
            </a:endParaRPr>
          </a:p>
          <a:p>
            <a:pPr algn="ctr"/>
            <a:endParaRPr lang="de-DE" sz="1200">
              <a:latin typeface="Arial" panose="020B0604020202020204" pitchFamily="34" charset="0"/>
              <a:cs typeface="Arial" panose="020B0604020202020204" pitchFamily="34" charset="0"/>
            </a:endParaRPr>
          </a:p>
          <a:p>
            <a:pPr algn="ctr"/>
            <a:endParaRPr lang="de-CH" sz="1200">
              <a:latin typeface="Arial" panose="020B0604020202020204" pitchFamily="34" charset="0"/>
              <a:cs typeface="Arial" panose="020B0604020202020204" pitchFamily="34" charset="0"/>
            </a:endParaRPr>
          </a:p>
        </p:txBody>
      </p:sp>
      <p:sp>
        <p:nvSpPr>
          <p:cNvPr id="35" name="Rechteck: abgerundete Ecken 34">
            <a:extLst>
              <a:ext uri="{FF2B5EF4-FFF2-40B4-BE49-F238E27FC236}">
                <a16:creationId xmlns:a16="http://schemas.microsoft.com/office/drawing/2014/main" id="{2F00C498-6C91-4802-B79A-B21A351086B1}"/>
              </a:ext>
            </a:extLst>
          </p:cNvPr>
          <p:cNvSpPr/>
          <p:nvPr/>
        </p:nvSpPr>
        <p:spPr>
          <a:xfrm>
            <a:off x="374876" y="1829725"/>
            <a:ext cx="1620000" cy="776776"/>
          </a:xfrm>
          <a:prstGeom prst="roundRect">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Arial" panose="020B0604020202020204" pitchFamily="34" charset="0"/>
                <a:cs typeface="Arial" panose="020B0604020202020204" pitchFamily="34" charset="0"/>
              </a:rPr>
              <a:t>Product creation in the Add-On</a:t>
            </a:r>
          </a:p>
        </p:txBody>
      </p:sp>
      <p:sp>
        <p:nvSpPr>
          <p:cNvPr id="36" name="Rechteck: abgerundete Ecken 35">
            <a:extLst>
              <a:ext uri="{FF2B5EF4-FFF2-40B4-BE49-F238E27FC236}">
                <a16:creationId xmlns:a16="http://schemas.microsoft.com/office/drawing/2014/main" id="{D66D3841-4BE4-4211-9A3B-E6FBAB054984}"/>
              </a:ext>
            </a:extLst>
          </p:cNvPr>
          <p:cNvSpPr/>
          <p:nvPr/>
        </p:nvSpPr>
        <p:spPr>
          <a:xfrm>
            <a:off x="2053233" y="1838140"/>
            <a:ext cx="1620000" cy="776776"/>
          </a:xfrm>
          <a:prstGeom prst="roundRect">
            <a:avLst/>
          </a:prstGeom>
          <a:solidFill>
            <a:srgbClr val="20386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err="1">
                <a:solidFill>
                  <a:schemeClr val="bg1"/>
                </a:solidFill>
                <a:latin typeface="Arial" panose="020B0604020202020204" pitchFamily="34" charset="0"/>
                <a:cs typeface="Arial" panose="020B0604020202020204" pitchFamily="34" charset="0"/>
              </a:rPr>
              <a:t>Product</a:t>
            </a:r>
            <a:r>
              <a:rPr lang="de-CH" sz="1200">
                <a:solidFill>
                  <a:schemeClr val="bg1"/>
                </a:solidFill>
                <a:latin typeface="Arial" panose="020B0604020202020204" pitchFamily="34" charset="0"/>
                <a:cs typeface="Arial" panose="020B0604020202020204" pitchFamily="34" charset="0"/>
              </a:rPr>
              <a:t> </a:t>
            </a:r>
            <a:r>
              <a:rPr lang="de-CH" sz="1200" err="1">
                <a:solidFill>
                  <a:schemeClr val="bg1"/>
                </a:solidFill>
                <a:latin typeface="Arial" panose="020B0604020202020204" pitchFamily="34" charset="0"/>
                <a:cs typeface="Arial" panose="020B0604020202020204" pitchFamily="34" charset="0"/>
              </a:rPr>
              <a:t>creation</a:t>
            </a:r>
            <a:r>
              <a:rPr lang="de-CH" sz="1200">
                <a:solidFill>
                  <a:schemeClr val="bg1"/>
                </a:solidFill>
                <a:latin typeface="Arial" panose="020B0604020202020204" pitchFamily="34" charset="0"/>
                <a:cs typeface="Arial" panose="020B0604020202020204" pitchFamily="34" charset="0"/>
              </a:rPr>
              <a:t> </a:t>
            </a:r>
            <a:r>
              <a:rPr lang="de-CH" sz="1200" err="1">
                <a:solidFill>
                  <a:schemeClr val="bg1"/>
                </a:solidFill>
                <a:latin typeface="Arial" panose="020B0604020202020204" pitchFamily="34" charset="0"/>
                <a:cs typeface="Arial" panose="020B0604020202020204" pitchFamily="34" charset="0"/>
              </a:rPr>
              <a:t>with</a:t>
            </a:r>
            <a:r>
              <a:rPr lang="de-CH" sz="1200">
                <a:solidFill>
                  <a:schemeClr val="bg1"/>
                </a:solidFill>
                <a:latin typeface="Arial" panose="020B0604020202020204" pitchFamily="34" charset="0"/>
                <a:cs typeface="Arial" panose="020B0604020202020204" pitchFamily="34" charset="0"/>
              </a:rPr>
              <a:t> Excel</a:t>
            </a:r>
          </a:p>
        </p:txBody>
      </p:sp>
      <p:sp>
        <p:nvSpPr>
          <p:cNvPr id="37" name="Rechteck: abgerundete Ecken 36">
            <a:extLst>
              <a:ext uri="{FF2B5EF4-FFF2-40B4-BE49-F238E27FC236}">
                <a16:creationId xmlns:a16="http://schemas.microsoft.com/office/drawing/2014/main" id="{C4BE9CCD-C203-414F-B252-20F9929F8E62}"/>
              </a:ext>
            </a:extLst>
          </p:cNvPr>
          <p:cNvSpPr/>
          <p:nvPr/>
        </p:nvSpPr>
        <p:spPr>
          <a:xfrm>
            <a:off x="1218206" y="2881040"/>
            <a:ext cx="1620000" cy="875128"/>
          </a:xfrm>
          <a:prstGeom prst="roundRect">
            <a:avLst/>
          </a:prstGeom>
          <a:solidFill>
            <a:srgbClr val="20386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a:latin typeface="Arial" panose="020B0604020202020204" pitchFamily="34" charset="0"/>
                <a:cs typeface="Arial" panose="020B0604020202020204" pitchFamily="34" charset="0"/>
              </a:rPr>
              <a:t>Mass </a:t>
            </a:r>
            <a:r>
              <a:rPr lang="de-CH" sz="1200" err="1">
                <a:latin typeface="Arial" panose="020B0604020202020204" pitchFamily="34" charset="0"/>
                <a:cs typeface="Arial" panose="020B0604020202020204" pitchFamily="34" charset="0"/>
              </a:rPr>
              <a:t>change</a:t>
            </a:r>
            <a:r>
              <a:rPr lang="de-CH" sz="1200">
                <a:latin typeface="Arial" panose="020B0604020202020204" pitchFamily="34" charset="0"/>
                <a:cs typeface="Arial" panose="020B0604020202020204" pitchFamily="34" charset="0"/>
              </a:rPr>
              <a:t> </a:t>
            </a:r>
          </a:p>
          <a:p>
            <a:pPr marL="171450" indent="-171450">
              <a:buFont typeface="Arial" panose="020B0604020202020204" pitchFamily="34" charset="0"/>
              <a:buChar char="•"/>
            </a:pPr>
            <a:r>
              <a:rPr lang="de-CH" sz="1200" err="1">
                <a:latin typeface="Arial" panose="020B0604020202020204" pitchFamily="34" charset="0"/>
                <a:cs typeface="Arial" panose="020B0604020202020204" pitchFamily="34" charset="0"/>
              </a:rPr>
              <a:t>with</a:t>
            </a:r>
            <a:r>
              <a:rPr lang="de-CH" sz="1200">
                <a:latin typeface="Arial" panose="020B0604020202020204" pitchFamily="34" charset="0"/>
                <a:cs typeface="Arial" panose="020B0604020202020204" pitchFamily="34" charset="0"/>
              </a:rPr>
              <a:t> Excel</a:t>
            </a:r>
          </a:p>
          <a:p>
            <a:pPr marL="171450" indent="-171450">
              <a:buFont typeface="Arial" panose="020B0604020202020204" pitchFamily="34" charset="0"/>
              <a:buChar char="•"/>
            </a:pPr>
            <a:r>
              <a:rPr lang="de-CH" sz="1200">
                <a:latin typeface="Arial" panose="020B0604020202020204" pitchFamily="34" charset="0"/>
                <a:cs typeface="Arial" panose="020B0604020202020204" pitchFamily="34" charset="0"/>
              </a:rPr>
              <a:t>in </a:t>
            </a:r>
            <a:r>
              <a:rPr lang="de-CH" sz="1200" err="1">
                <a:latin typeface="Arial" panose="020B0604020202020204" pitchFamily="34" charset="0"/>
                <a:cs typeface="Arial" panose="020B0604020202020204" pitchFamily="34" charset="0"/>
              </a:rPr>
              <a:t>the</a:t>
            </a:r>
            <a:r>
              <a:rPr lang="de-CH" sz="1200">
                <a:latin typeface="Arial" panose="020B0604020202020204" pitchFamily="34" charset="0"/>
                <a:cs typeface="Arial" panose="020B0604020202020204" pitchFamily="34" charset="0"/>
              </a:rPr>
              <a:t> Add-On</a:t>
            </a:r>
          </a:p>
        </p:txBody>
      </p:sp>
      <p:sp>
        <p:nvSpPr>
          <p:cNvPr id="38" name="Rechteck: abgerundete Ecken 37">
            <a:extLst>
              <a:ext uri="{FF2B5EF4-FFF2-40B4-BE49-F238E27FC236}">
                <a16:creationId xmlns:a16="http://schemas.microsoft.com/office/drawing/2014/main" id="{ED09656B-C0AC-4936-AD21-246475444A6A}"/>
              </a:ext>
            </a:extLst>
          </p:cNvPr>
          <p:cNvSpPr/>
          <p:nvPr/>
        </p:nvSpPr>
        <p:spPr>
          <a:xfrm>
            <a:off x="3209825" y="2881040"/>
            <a:ext cx="1620000" cy="875128"/>
          </a:xfrm>
          <a:prstGeom prst="roundRect">
            <a:avLst/>
          </a:prstGeom>
          <a:solidFill>
            <a:srgbClr val="20386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a:latin typeface="Arial" panose="020B0604020202020204" pitchFamily="34" charset="0"/>
                <a:cs typeface="Arial" panose="020B0604020202020204" pitchFamily="34" charset="0"/>
              </a:rPr>
              <a:t>Data </a:t>
            </a:r>
            <a:r>
              <a:rPr lang="de-CH" sz="1200" err="1">
                <a:latin typeface="Arial" panose="020B0604020202020204" pitchFamily="34" charset="0"/>
                <a:cs typeface="Arial" panose="020B0604020202020204" pitchFamily="34" charset="0"/>
              </a:rPr>
              <a:t>overview</a:t>
            </a:r>
            <a:r>
              <a:rPr lang="de-CH" sz="1200">
                <a:latin typeface="Arial" panose="020B0604020202020204" pitchFamily="34" charset="0"/>
                <a:cs typeface="Arial" panose="020B0604020202020204" pitchFamily="34" charset="0"/>
              </a:rPr>
              <a:t>,</a:t>
            </a:r>
          </a:p>
          <a:p>
            <a:pPr algn="ctr"/>
            <a:r>
              <a:rPr lang="de-CH" sz="1200" err="1">
                <a:latin typeface="Arial" panose="020B0604020202020204" pitchFamily="34" charset="0"/>
                <a:cs typeface="Arial" panose="020B0604020202020204" pitchFamily="34" charset="0"/>
              </a:rPr>
              <a:t>visual</a:t>
            </a:r>
            <a:r>
              <a:rPr lang="de-CH" sz="1200">
                <a:latin typeface="Arial" panose="020B0604020202020204" pitchFamily="34" charset="0"/>
                <a:cs typeface="Arial" panose="020B0604020202020204" pitchFamily="34" charset="0"/>
              </a:rPr>
              <a:t> </a:t>
            </a:r>
            <a:r>
              <a:rPr lang="de-CH" sz="1200" err="1">
                <a:latin typeface="Arial" panose="020B0604020202020204" pitchFamily="34" charset="0"/>
                <a:cs typeface="Arial" panose="020B0604020202020204" pitchFamily="34" charset="0"/>
              </a:rPr>
              <a:t>data</a:t>
            </a:r>
            <a:r>
              <a:rPr lang="de-CH" sz="1200">
                <a:latin typeface="Arial" panose="020B0604020202020204" pitchFamily="34" charset="0"/>
                <a:cs typeface="Arial" panose="020B0604020202020204" pitchFamily="34" charset="0"/>
              </a:rPr>
              <a:t> check</a:t>
            </a:r>
          </a:p>
          <a:p>
            <a:pPr algn="ctr"/>
            <a:r>
              <a:rPr lang="de-CH" sz="1200">
                <a:latin typeface="Arial" panose="020B0604020202020204" pitchFamily="34" charset="0"/>
                <a:cs typeface="Arial" panose="020B0604020202020204" pitchFamily="34" charset="0"/>
              </a:rPr>
              <a:t>/UDI/Attributes</a:t>
            </a:r>
          </a:p>
        </p:txBody>
      </p:sp>
      <p:sp>
        <p:nvSpPr>
          <p:cNvPr id="39" name="Rechteck: abgerundete Ecken 38">
            <a:extLst>
              <a:ext uri="{FF2B5EF4-FFF2-40B4-BE49-F238E27FC236}">
                <a16:creationId xmlns:a16="http://schemas.microsoft.com/office/drawing/2014/main" id="{9A5867D7-3747-4F74-80A8-1B5AF417EA49}"/>
              </a:ext>
            </a:extLst>
          </p:cNvPr>
          <p:cNvSpPr/>
          <p:nvPr/>
        </p:nvSpPr>
        <p:spPr>
          <a:xfrm>
            <a:off x="5222731" y="4115115"/>
            <a:ext cx="1620000" cy="702778"/>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latin typeface="Arial" panose="020B0604020202020204" pitchFamily="34" charset="0"/>
                <a:cs typeface="Arial" panose="020B0604020202020204" pitchFamily="34" charset="0"/>
              </a:rPr>
              <a:t>Data release /</a:t>
            </a:r>
          </a:p>
          <a:p>
            <a:pPr algn="ctr"/>
            <a:r>
              <a:rPr lang="en-US" sz="1200">
                <a:latin typeface="Arial" panose="020B0604020202020204" pitchFamily="34" charset="0"/>
                <a:cs typeface="Arial" panose="020B0604020202020204" pitchFamily="34" charset="0"/>
              </a:rPr>
              <a:t>Lock trigger fields</a:t>
            </a:r>
          </a:p>
        </p:txBody>
      </p:sp>
      <p:sp>
        <p:nvSpPr>
          <p:cNvPr id="40" name="Rechteck: abgerundete Ecken 39">
            <a:extLst>
              <a:ext uri="{FF2B5EF4-FFF2-40B4-BE49-F238E27FC236}">
                <a16:creationId xmlns:a16="http://schemas.microsoft.com/office/drawing/2014/main" id="{1F9F01A8-FA07-42C7-AF3A-103F301FB65B}"/>
              </a:ext>
            </a:extLst>
          </p:cNvPr>
          <p:cNvSpPr/>
          <p:nvPr/>
        </p:nvSpPr>
        <p:spPr>
          <a:xfrm>
            <a:off x="5222731" y="2687416"/>
            <a:ext cx="1620000" cy="314633"/>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a:latin typeface="Arial" panose="020B0604020202020204" pitchFamily="34" charset="0"/>
                <a:cs typeface="Arial" panose="020B0604020202020204" pitchFamily="34" charset="0"/>
              </a:rPr>
              <a:t>XML </a:t>
            </a:r>
            <a:r>
              <a:rPr lang="de-CH" sz="1200" err="1">
                <a:latin typeface="Arial" panose="020B0604020202020204" pitchFamily="34" charset="0"/>
                <a:cs typeface="Arial" panose="020B0604020202020204" pitchFamily="34" charset="0"/>
              </a:rPr>
              <a:t>export</a:t>
            </a:r>
            <a:endParaRPr lang="de-CH" sz="1200">
              <a:latin typeface="Arial" panose="020B0604020202020204" pitchFamily="34" charset="0"/>
              <a:cs typeface="Arial" panose="020B0604020202020204" pitchFamily="34" charset="0"/>
            </a:endParaRPr>
          </a:p>
        </p:txBody>
      </p:sp>
      <p:sp>
        <p:nvSpPr>
          <p:cNvPr id="41" name="Rechteck: abgerundete Ecken 40">
            <a:extLst>
              <a:ext uri="{FF2B5EF4-FFF2-40B4-BE49-F238E27FC236}">
                <a16:creationId xmlns:a16="http://schemas.microsoft.com/office/drawing/2014/main" id="{8E2A35B4-08DC-4C68-80B1-B6FA91906473}"/>
              </a:ext>
            </a:extLst>
          </p:cNvPr>
          <p:cNvSpPr/>
          <p:nvPr/>
        </p:nvSpPr>
        <p:spPr>
          <a:xfrm>
            <a:off x="3209824" y="4115115"/>
            <a:ext cx="1620000" cy="702778"/>
          </a:xfrm>
          <a:prstGeom prst="roundRect">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b="1">
                <a:latin typeface="Arial" panose="020B0604020202020204" pitchFamily="34" charset="0"/>
                <a:cs typeface="Arial" panose="020B0604020202020204" pitchFamily="34" charset="0"/>
              </a:rPr>
              <a:t>Integrity check</a:t>
            </a:r>
          </a:p>
          <a:p>
            <a:pPr algn="ctr"/>
            <a:r>
              <a:rPr lang="de-CH" sz="1200" b="1">
                <a:latin typeface="Arial" panose="020B0604020202020204" pitchFamily="34" charset="0"/>
                <a:cs typeface="Arial" panose="020B0604020202020204" pitchFamily="34" charset="0"/>
              </a:rPr>
              <a:t>Validation check</a:t>
            </a:r>
          </a:p>
        </p:txBody>
      </p:sp>
      <p:sp>
        <p:nvSpPr>
          <p:cNvPr id="43" name="Rechteck: abgerundete Ecken 42">
            <a:extLst>
              <a:ext uri="{FF2B5EF4-FFF2-40B4-BE49-F238E27FC236}">
                <a16:creationId xmlns:a16="http://schemas.microsoft.com/office/drawing/2014/main" id="{5B9B524D-B2AF-4C3A-9818-2DA5A726A8D0}"/>
              </a:ext>
            </a:extLst>
          </p:cNvPr>
          <p:cNvSpPr/>
          <p:nvPr/>
        </p:nvSpPr>
        <p:spPr>
          <a:xfrm>
            <a:off x="8531932" y="1949789"/>
            <a:ext cx="322128" cy="1761413"/>
          </a:xfrm>
          <a:prstGeom prst="round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CH" sz="1350" b="1"/>
              <a:t>E</a:t>
            </a:r>
          </a:p>
          <a:p>
            <a:r>
              <a:rPr lang="de-CH" sz="1350" b="1"/>
              <a:t>U</a:t>
            </a:r>
          </a:p>
          <a:p>
            <a:r>
              <a:rPr lang="de-CH" sz="1350" b="1"/>
              <a:t>D</a:t>
            </a:r>
          </a:p>
          <a:p>
            <a:r>
              <a:rPr lang="de-CH" sz="1350" b="1"/>
              <a:t>A</a:t>
            </a:r>
          </a:p>
          <a:p>
            <a:r>
              <a:rPr lang="de-CH" sz="1350" b="1"/>
              <a:t>M</a:t>
            </a:r>
          </a:p>
          <a:p>
            <a:r>
              <a:rPr lang="de-CH" sz="1350" b="1"/>
              <a:t>E</a:t>
            </a:r>
          </a:p>
          <a:p>
            <a:r>
              <a:rPr lang="de-CH" sz="1350" b="1"/>
              <a:t>D</a:t>
            </a:r>
          </a:p>
        </p:txBody>
      </p:sp>
      <p:sp>
        <p:nvSpPr>
          <p:cNvPr id="44" name="Rechteck: abgerundete Ecken 43">
            <a:extLst>
              <a:ext uri="{FF2B5EF4-FFF2-40B4-BE49-F238E27FC236}">
                <a16:creationId xmlns:a16="http://schemas.microsoft.com/office/drawing/2014/main" id="{87B16B71-40C1-4B47-96E8-5F15754C1997}"/>
              </a:ext>
            </a:extLst>
          </p:cNvPr>
          <p:cNvSpPr/>
          <p:nvPr/>
        </p:nvSpPr>
        <p:spPr>
          <a:xfrm>
            <a:off x="5221830" y="2249178"/>
            <a:ext cx="1620000" cy="314633"/>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a:latin typeface="Arial" panose="020B0604020202020204" pitchFamily="34" charset="0"/>
                <a:cs typeface="Arial" panose="020B0604020202020204" pitchFamily="34" charset="0"/>
              </a:rPr>
              <a:t>Excel </a:t>
            </a:r>
            <a:r>
              <a:rPr lang="de-CH" sz="1200" err="1">
                <a:latin typeface="Arial" panose="020B0604020202020204" pitchFamily="34" charset="0"/>
                <a:cs typeface="Arial" panose="020B0604020202020204" pitchFamily="34" charset="0"/>
              </a:rPr>
              <a:t>export</a:t>
            </a:r>
            <a:endParaRPr lang="de-CH" sz="1200">
              <a:latin typeface="Arial" panose="020B0604020202020204" pitchFamily="34" charset="0"/>
              <a:cs typeface="Arial" panose="020B0604020202020204" pitchFamily="34" charset="0"/>
            </a:endParaRPr>
          </a:p>
        </p:txBody>
      </p:sp>
      <p:sp>
        <p:nvSpPr>
          <p:cNvPr id="45" name="Rechteck: abgerundete Ecken 44">
            <a:extLst>
              <a:ext uri="{FF2B5EF4-FFF2-40B4-BE49-F238E27FC236}">
                <a16:creationId xmlns:a16="http://schemas.microsoft.com/office/drawing/2014/main" id="{646486A8-D8A3-4FA5-875E-0F3F80A7D1A8}"/>
              </a:ext>
            </a:extLst>
          </p:cNvPr>
          <p:cNvSpPr/>
          <p:nvPr/>
        </p:nvSpPr>
        <p:spPr>
          <a:xfrm>
            <a:off x="5222731" y="3123064"/>
            <a:ext cx="1620000" cy="408087"/>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200">
              <a:latin typeface="Arial" panose="020B0604020202020204" pitchFamily="34" charset="0"/>
              <a:cs typeface="Arial" panose="020B0604020202020204" pitchFamily="34" charset="0"/>
            </a:endParaRPr>
          </a:p>
        </p:txBody>
      </p:sp>
      <p:sp>
        <p:nvSpPr>
          <p:cNvPr id="54" name="Rechteck: abgerundete Ecken 53">
            <a:extLst>
              <a:ext uri="{FF2B5EF4-FFF2-40B4-BE49-F238E27FC236}">
                <a16:creationId xmlns:a16="http://schemas.microsoft.com/office/drawing/2014/main" id="{C90BCC80-CC53-4FAB-90F5-99AED375928F}"/>
              </a:ext>
            </a:extLst>
          </p:cNvPr>
          <p:cNvSpPr/>
          <p:nvPr/>
        </p:nvSpPr>
        <p:spPr>
          <a:xfrm>
            <a:off x="374876" y="1139292"/>
            <a:ext cx="3298357" cy="415894"/>
          </a:xfrm>
          <a:prstGeom prst="roundRect">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solidFill>
                  <a:schemeClr val="bg1"/>
                </a:solidFill>
                <a:latin typeface="Arial" panose="020B0604020202020204" pitchFamily="34" charset="0"/>
                <a:cs typeface="Arial" panose="020B0604020202020204" pitchFamily="34" charset="0"/>
              </a:rPr>
              <a:t>UDI relevant </a:t>
            </a:r>
            <a:r>
              <a:rPr lang="de-DE" sz="1200" err="1">
                <a:solidFill>
                  <a:schemeClr val="bg1"/>
                </a:solidFill>
                <a:latin typeface="Arial" panose="020B0604020202020204" pitchFamily="34" charset="0"/>
                <a:cs typeface="Arial" panose="020B0604020202020204" pitchFamily="34" charset="0"/>
              </a:rPr>
              <a:t>marking</a:t>
            </a:r>
            <a:endParaRPr lang="de-DE" sz="1200">
              <a:solidFill>
                <a:schemeClr val="bg1"/>
              </a:solidFill>
              <a:latin typeface="Arial" panose="020B0604020202020204" pitchFamily="34" charset="0"/>
              <a:cs typeface="Arial" panose="020B0604020202020204" pitchFamily="34" charset="0"/>
            </a:endParaRPr>
          </a:p>
        </p:txBody>
      </p:sp>
      <p:cxnSp>
        <p:nvCxnSpPr>
          <p:cNvPr id="8" name="Gerade Verbindung mit Pfeil 7">
            <a:extLst>
              <a:ext uri="{FF2B5EF4-FFF2-40B4-BE49-F238E27FC236}">
                <a16:creationId xmlns:a16="http://schemas.microsoft.com/office/drawing/2014/main" id="{7F8FBB42-5E6F-494A-9FA9-D776E43B375D}"/>
              </a:ext>
            </a:extLst>
          </p:cNvPr>
          <p:cNvCxnSpPr>
            <a:cxnSpLocks/>
            <a:endCxn id="35" idx="0"/>
          </p:cNvCxnSpPr>
          <p:nvPr/>
        </p:nvCxnSpPr>
        <p:spPr>
          <a:xfrm>
            <a:off x="1184876" y="1555186"/>
            <a:ext cx="0" cy="274539"/>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0" name="Gerade Verbindung mit Pfeil 9">
            <a:extLst>
              <a:ext uri="{FF2B5EF4-FFF2-40B4-BE49-F238E27FC236}">
                <a16:creationId xmlns:a16="http://schemas.microsoft.com/office/drawing/2014/main" id="{3079ADE2-81AA-4647-AA7F-C4E7527E5280}"/>
              </a:ext>
            </a:extLst>
          </p:cNvPr>
          <p:cNvCxnSpPr>
            <a:cxnSpLocks/>
            <a:endCxn id="36" idx="0"/>
          </p:cNvCxnSpPr>
          <p:nvPr/>
        </p:nvCxnSpPr>
        <p:spPr>
          <a:xfrm>
            <a:off x="2863233" y="1550979"/>
            <a:ext cx="0" cy="28716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69" name="Gerade Verbindung mit Pfeil 68">
            <a:extLst>
              <a:ext uri="{FF2B5EF4-FFF2-40B4-BE49-F238E27FC236}">
                <a16:creationId xmlns:a16="http://schemas.microsoft.com/office/drawing/2014/main" id="{1B16878B-8423-441F-856F-52AE4DCDB29D}"/>
              </a:ext>
            </a:extLst>
          </p:cNvPr>
          <p:cNvCxnSpPr>
            <a:cxnSpLocks/>
          </p:cNvCxnSpPr>
          <p:nvPr/>
        </p:nvCxnSpPr>
        <p:spPr>
          <a:xfrm>
            <a:off x="1548144" y="2606501"/>
            <a:ext cx="0" cy="266124"/>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1" name="Gerade Verbindung mit Pfeil 70">
            <a:extLst>
              <a:ext uri="{FF2B5EF4-FFF2-40B4-BE49-F238E27FC236}">
                <a16:creationId xmlns:a16="http://schemas.microsoft.com/office/drawing/2014/main" id="{EB808EBE-B377-40AD-94B2-C1CD1E859C23}"/>
              </a:ext>
            </a:extLst>
          </p:cNvPr>
          <p:cNvCxnSpPr/>
          <p:nvPr/>
        </p:nvCxnSpPr>
        <p:spPr>
          <a:xfrm>
            <a:off x="2534971" y="2636056"/>
            <a:ext cx="0" cy="244984"/>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5" name="Gerade Verbindung mit Pfeil 74">
            <a:extLst>
              <a:ext uri="{FF2B5EF4-FFF2-40B4-BE49-F238E27FC236}">
                <a16:creationId xmlns:a16="http://schemas.microsoft.com/office/drawing/2014/main" id="{71D0F3A7-5FF8-4078-9F7D-F8BB0FEDE112}"/>
              </a:ext>
            </a:extLst>
          </p:cNvPr>
          <p:cNvCxnSpPr>
            <a:cxnSpLocks/>
            <a:stCxn id="37" idx="3"/>
            <a:endCxn id="38" idx="1"/>
          </p:cNvCxnSpPr>
          <p:nvPr/>
        </p:nvCxnSpPr>
        <p:spPr>
          <a:xfrm>
            <a:off x="2838206" y="3318604"/>
            <a:ext cx="371619"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7" name="Gerade Verbindung mit Pfeil 76">
            <a:extLst>
              <a:ext uri="{FF2B5EF4-FFF2-40B4-BE49-F238E27FC236}">
                <a16:creationId xmlns:a16="http://schemas.microsoft.com/office/drawing/2014/main" id="{3EA88A85-494A-4551-8527-12C496D561A3}"/>
              </a:ext>
            </a:extLst>
          </p:cNvPr>
          <p:cNvCxnSpPr>
            <a:cxnSpLocks/>
            <a:stCxn id="38" idx="2"/>
            <a:endCxn id="41" idx="0"/>
          </p:cNvCxnSpPr>
          <p:nvPr/>
        </p:nvCxnSpPr>
        <p:spPr>
          <a:xfrm flipH="1">
            <a:off x="4019824" y="3756168"/>
            <a:ext cx="1" cy="35894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9" name="Gerade Verbindung mit Pfeil 78">
            <a:extLst>
              <a:ext uri="{FF2B5EF4-FFF2-40B4-BE49-F238E27FC236}">
                <a16:creationId xmlns:a16="http://schemas.microsoft.com/office/drawing/2014/main" id="{EE89B85E-1B80-4056-9B33-499490C7AC53}"/>
              </a:ext>
            </a:extLst>
          </p:cNvPr>
          <p:cNvCxnSpPr>
            <a:cxnSpLocks/>
            <a:stCxn id="41" idx="3"/>
            <a:endCxn id="39" idx="1"/>
          </p:cNvCxnSpPr>
          <p:nvPr/>
        </p:nvCxnSpPr>
        <p:spPr>
          <a:xfrm>
            <a:off x="4829824" y="4466504"/>
            <a:ext cx="392907"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81" name="Gerade Verbindung mit Pfeil 80">
            <a:extLst>
              <a:ext uri="{FF2B5EF4-FFF2-40B4-BE49-F238E27FC236}">
                <a16:creationId xmlns:a16="http://schemas.microsoft.com/office/drawing/2014/main" id="{BD62FE4F-238A-4316-8DF4-8E2F26C7E1ED}"/>
              </a:ext>
            </a:extLst>
          </p:cNvPr>
          <p:cNvCxnSpPr>
            <a:cxnSpLocks/>
            <a:stCxn id="39" idx="0"/>
          </p:cNvCxnSpPr>
          <p:nvPr/>
        </p:nvCxnSpPr>
        <p:spPr>
          <a:xfrm flipH="1" flipV="1">
            <a:off x="6024969" y="3763728"/>
            <a:ext cx="7762" cy="35138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86" name="Textfeld 85">
            <a:extLst>
              <a:ext uri="{FF2B5EF4-FFF2-40B4-BE49-F238E27FC236}">
                <a16:creationId xmlns:a16="http://schemas.microsoft.com/office/drawing/2014/main" id="{BE02670F-8114-4463-936A-9D2672146D41}"/>
              </a:ext>
            </a:extLst>
          </p:cNvPr>
          <p:cNvSpPr txBox="1"/>
          <p:nvPr/>
        </p:nvSpPr>
        <p:spPr>
          <a:xfrm>
            <a:off x="5222731" y="3117396"/>
            <a:ext cx="1634256" cy="646331"/>
          </a:xfrm>
          <a:prstGeom prst="rect">
            <a:avLst/>
          </a:prstGeom>
          <a:noFill/>
        </p:spPr>
        <p:txBody>
          <a:bodyPr wrap="square" rtlCol="0">
            <a:spAutoFit/>
          </a:bodyPr>
          <a:lstStyle/>
          <a:p>
            <a:pPr algn="ctr"/>
            <a:r>
              <a:rPr lang="en-US" sz="1200">
                <a:solidFill>
                  <a:schemeClr val="bg1"/>
                </a:solidFill>
                <a:latin typeface="Arial" panose="020B0604020202020204" pitchFamily="34" charset="0"/>
                <a:cs typeface="Arial" panose="020B0604020202020204" pitchFamily="34" charset="0"/>
              </a:rPr>
              <a:t>Europe IT Consulting Web Service</a:t>
            </a:r>
          </a:p>
          <a:p>
            <a:pPr algn="ctr"/>
            <a:endParaRPr lang="en-US" sz="1200">
              <a:solidFill>
                <a:schemeClr val="bg1"/>
              </a:solidFill>
              <a:latin typeface="Arial" panose="020B0604020202020204" pitchFamily="34" charset="0"/>
              <a:cs typeface="Arial" panose="020B0604020202020204" pitchFamily="34" charset="0"/>
            </a:endParaRPr>
          </a:p>
        </p:txBody>
      </p:sp>
      <p:cxnSp>
        <p:nvCxnSpPr>
          <p:cNvPr id="104" name="Gerade Verbindung mit Pfeil 103">
            <a:extLst>
              <a:ext uri="{FF2B5EF4-FFF2-40B4-BE49-F238E27FC236}">
                <a16:creationId xmlns:a16="http://schemas.microsoft.com/office/drawing/2014/main" id="{98A2D59C-096A-46B5-8EBF-CAAECD1A9BCB}"/>
              </a:ext>
            </a:extLst>
          </p:cNvPr>
          <p:cNvCxnSpPr>
            <a:cxnSpLocks/>
            <a:stCxn id="40" idx="3"/>
            <a:endCxn id="43" idx="1"/>
          </p:cNvCxnSpPr>
          <p:nvPr/>
        </p:nvCxnSpPr>
        <p:spPr>
          <a:xfrm flipV="1">
            <a:off x="6842731" y="2830496"/>
            <a:ext cx="1689201" cy="1423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06" name="Verbinder: gewinkelt 105">
            <a:extLst>
              <a:ext uri="{FF2B5EF4-FFF2-40B4-BE49-F238E27FC236}">
                <a16:creationId xmlns:a16="http://schemas.microsoft.com/office/drawing/2014/main" id="{7F8C2BBE-4ED8-4524-9F9D-68F561918F36}"/>
              </a:ext>
            </a:extLst>
          </p:cNvPr>
          <p:cNvCxnSpPr>
            <a:cxnSpLocks/>
            <a:stCxn id="44" idx="3"/>
          </p:cNvCxnSpPr>
          <p:nvPr/>
        </p:nvCxnSpPr>
        <p:spPr>
          <a:xfrm flipV="1">
            <a:off x="6841830" y="2133831"/>
            <a:ext cx="1690102" cy="272664"/>
          </a:xfrm>
          <a:prstGeom prst="bentConnector3">
            <a:avLst>
              <a:gd name="adj1" fmla="val 19466"/>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08" name="Verbinder: gewinkelt 107">
            <a:extLst>
              <a:ext uri="{FF2B5EF4-FFF2-40B4-BE49-F238E27FC236}">
                <a16:creationId xmlns:a16="http://schemas.microsoft.com/office/drawing/2014/main" id="{ADDCFB2A-B92B-402C-8E9F-2C24F61DFD77}"/>
              </a:ext>
            </a:extLst>
          </p:cNvPr>
          <p:cNvCxnSpPr>
            <a:cxnSpLocks/>
          </p:cNvCxnSpPr>
          <p:nvPr/>
        </p:nvCxnSpPr>
        <p:spPr>
          <a:xfrm>
            <a:off x="6841830" y="3318604"/>
            <a:ext cx="1660625" cy="177230"/>
          </a:xfrm>
          <a:prstGeom prst="bentConnector3">
            <a:avLst>
              <a:gd name="adj1" fmla="val 21105"/>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53" name="Rechteck: abgerundete Ecken 52">
            <a:extLst>
              <a:ext uri="{FF2B5EF4-FFF2-40B4-BE49-F238E27FC236}">
                <a16:creationId xmlns:a16="http://schemas.microsoft.com/office/drawing/2014/main" id="{DC1BB485-83A3-4556-8949-E18D80FCAA63}"/>
              </a:ext>
            </a:extLst>
          </p:cNvPr>
          <p:cNvSpPr/>
          <p:nvPr/>
        </p:nvSpPr>
        <p:spPr>
          <a:xfrm>
            <a:off x="7385220" y="1940928"/>
            <a:ext cx="784325" cy="484748"/>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a:t>3rd Party</a:t>
            </a:r>
          </a:p>
        </p:txBody>
      </p:sp>
      <p:sp>
        <p:nvSpPr>
          <p:cNvPr id="46" name="Rechteck: abgerundete Ecken 45">
            <a:extLst>
              <a:ext uri="{FF2B5EF4-FFF2-40B4-BE49-F238E27FC236}">
                <a16:creationId xmlns:a16="http://schemas.microsoft.com/office/drawing/2014/main" id="{55F6C6E1-DD30-43DE-BD84-8F53864D115C}"/>
              </a:ext>
            </a:extLst>
          </p:cNvPr>
          <p:cNvSpPr/>
          <p:nvPr/>
        </p:nvSpPr>
        <p:spPr>
          <a:xfrm>
            <a:off x="7392257" y="3254377"/>
            <a:ext cx="784325" cy="484748"/>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err="1"/>
              <a:t>WebService</a:t>
            </a:r>
            <a:endParaRPr lang="de-DE" sz="800"/>
          </a:p>
          <a:p>
            <a:pPr algn="ctr"/>
            <a:r>
              <a:rPr lang="de-DE" sz="800"/>
              <a:t>(SSL</a:t>
            </a:r>
            <a:r>
              <a:rPr lang="de-DE" sz="900"/>
              <a:t>)</a:t>
            </a:r>
          </a:p>
        </p:txBody>
      </p:sp>
      <p:sp>
        <p:nvSpPr>
          <p:cNvPr id="48" name="Rechteck: abgerundete Ecken 47">
            <a:extLst>
              <a:ext uri="{FF2B5EF4-FFF2-40B4-BE49-F238E27FC236}">
                <a16:creationId xmlns:a16="http://schemas.microsoft.com/office/drawing/2014/main" id="{E166C7F1-E948-4DCE-95F4-24D33AEBBFBE}"/>
              </a:ext>
            </a:extLst>
          </p:cNvPr>
          <p:cNvSpPr/>
          <p:nvPr/>
        </p:nvSpPr>
        <p:spPr>
          <a:xfrm>
            <a:off x="7388977" y="2597194"/>
            <a:ext cx="784325" cy="484748"/>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err="1"/>
              <a:t>WebTrader</a:t>
            </a:r>
            <a:endParaRPr lang="de-DE" sz="800"/>
          </a:p>
        </p:txBody>
      </p:sp>
    </p:spTree>
    <p:extLst>
      <p:ext uri="{BB962C8B-B14F-4D97-AF65-F5344CB8AC3E}">
        <p14:creationId xmlns:p14="http://schemas.microsoft.com/office/powerpoint/2010/main" val="22680864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D941A56-5691-49DD-9983-B3865746CD56}"/>
              </a:ext>
            </a:extLst>
          </p:cNvPr>
          <p:cNvSpPr>
            <a:spLocks noGrp="1"/>
          </p:cNvSpPr>
          <p:nvPr>
            <p:ph type="title"/>
          </p:nvPr>
        </p:nvSpPr>
        <p:spPr/>
        <p:txBody>
          <a:bodyPr>
            <a:normAutofit fontScale="90000"/>
          </a:bodyPr>
          <a:lstStyle/>
          <a:p>
            <a:r>
              <a:rPr lang="de-DE"/>
              <a:t>1. </a:t>
            </a:r>
            <a:r>
              <a:rPr lang="de-DE" err="1"/>
              <a:t>Introduction</a:t>
            </a:r>
            <a:r>
              <a:rPr lang="de-DE"/>
              <a:t> </a:t>
            </a:r>
          </a:p>
        </p:txBody>
      </p:sp>
      <p:sp>
        <p:nvSpPr>
          <p:cNvPr id="6" name="Textplatzhalter 5">
            <a:extLst>
              <a:ext uri="{FF2B5EF4-FFF2-40B4-BE49-F238E27FC236}">
                <a16:creationId xmlns:a16="http://schemas.microsoft.com/office/drawing/2014/main" id="{800756C1-160C-445C-A46D-3BFD7A86B16A}"/>
              </a:ext>
            </a:extLst>
          </p:cNvPr>
          <p:cNvSpPr>
            <a:spLocks noGrp="1"/>
          </p:cNvSpPr>
          <p:nvPr>
            <p:ph type="body" sz="quarter" idx="18"/>
          </p:nvPr>
        </p:nvSpPr>
        <p:spPr>
          <a:xfrm>
            <a:off x="2235042" y="1366438"/>
            <a:ext cx="4538983" cy="330544"/>
          </a:xfrm>
        </p:spPr>
        <p:txBody>
          <a:bodyPr/>
          <a:lstStyle/>
          <a:p>
            <a:r>
              <a:rPr lang="de-DE">
                <a:solidFill>
                  <a:srgbClr val="FF0000"/>
                </a:solidFill>
              </a:rPr>
              <a:t>PLEASE ACTIVATE THE PRESENTATION MODE !</a:t>
            </a:r>
          </a:p>
          <a:p>
            <a:endParaRPr lang="de-DE">
              <a:solidFill>
                <a:srgbClr val="FF0000"/>
              </a:solidFill>
            </a:endParaRPr>
          </a:p>
          <a:p>
            <a:endParaRPr lang="de-DE">
              <a:solidFill>
                <a:srgbClr val="FF0000"/>
              </a:solidFill>
            </a:endParaRPr>
          </a:p>
        </p:txBody>
      </p:sp>
      <p:pic>
        <p:nvPicPr>
          <p:cNvPr id="10" name="Grafik 9" descr="Klassenzimmer mit einfarbiger Füllung">
            <a:extLst>
              <a:ext uri="{FF2B5EF4-FFF2-40B4-BE49-F238E27FC236}">
                <a16:creationId xmlns:a16="http://schemas.microsoft.com/office/drawing/2014/main" id="{43F7D41A-A60B-4705-8E7E-755501F6602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026230" y="1822191"/>
            <a:ext cx="2261118" cy="2261118"/>
          </a:xfrm>
          <a:prstGeom prst="rect">
            <a:avLst/>
          </a:prstGeom>
        </p:spPr>
      </p:pic>
    </p:spTree>
    <p:extLst>
      <p:ext uri="{BB962C8B-B14F-4D97-AF65-F5344CB8AC3E}">
        <p14:creationId xmlns:p14="http://schemas.microsoft.com/office/powerpoint/2010/main" val="64772814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0639A550-7636-491B-985F-68917E3A446C}"/>
              </a:ext>
            </a:extLst>
          </p:cNvPr>
          <p:cNvPicPr>
            <a:picLocks noChangeAspect="1"/>
          </p:cNvPicPr>
          <p:nvPr/>
        </p:nvPicPr>
        <p:blipFill>
          <a:blip r:embed="rId2"/>
          <a:stretch>
            <a:fillRect/>
          </a:stretch>
        </p:blipFill>
        <p:spPr>
          <a:xfrm>
            <a:off x="3836316" y="959433"/>
            <a:ext cx="5011516" cy="3307718"/>
          </a:xfrm>
          <a:prstGeom prst="rect">
            <a:avLst/>
          </a:prstGeom>
          <a:ln w="19050">
            <a:solidFill>
              <a:srgbClr val="2F5597"/>
            </a:solidFill>
          </a:ln>
          <a:effectLst/>
        </p:spPr>
      </p:pic>
      <p:sp>
        <p:nvSpPr>
          <p:cNvPr id="10" name="Inhaltsplatzhalter 6">
            <a:extLst>
              <a:ext uri="{FF2B5EF4-FFF2-40B4-BE49-F238E27FC236}">
                <a16:creationId xmlns:a16="http://schemas.microsoft.com/office/drawing/2014/main" id="{1654A0EB-E4AD-45F9-9DEC-C47CC9A8A467}"/>
              </a:ext>
            </a:extLst>
          </p:cNvPr>
          <p:cNvSpPr>
            <a:spLocks noGrp="1"/>
          </p:cNvSpPr>
          <p:nvPr>
            <p:ph sz="quarter" idx="19"/>
          </p:nvPr>
        </p:nvSpPr>
        <p:spPr>
          <a:xfrm>
            <a:off x="222659" y="1203598"/>
            <a:ext cx="3693508" cy="3455988"/>
          </a:xfrm>
        </p:spPr>
        <p:txBody>
          <a:bodyPr>
            <a:normAutofit/>
          </a:bodyPr>
          <a:lstStyle/>
          <a:p>
            <a:pPr>
              <a:buFont typeface="Arial" panose="020B0604020202020204" pitchFamily="34" charset="0"/>
              <a:buChar char="•"/>
            </a:pPr>
            <a:r>
              <a:rPr lang="en-US"/>
              <a:t>Enter /n/UDI/EU to access the UDI transactions or directly enter the UDI mass integrity transaction /UDI/INTEGRITY_MASS</a:t>
            </a:r>
          </a:p>
          <a:p>
            <a:pPr>
              <a:buFont typeface="Arial" panose="020B0604020202020204" pitchFamily="34" charset="0"/>
              <a:buChar char="•"/>
            </a:pPr>
            <a:r>
              <a:rPr lang="en-US"/>
              <a:t>Execute the transaction to check the integrity of all UDI data </a:t>
            </a:r>
          </a:p>
        </p:txBody>
      </p:sp>
      <p:sp>
        <p:nvSpPr>
          <p:cNvPr id="13" name="Textplatzhalter 5">
            <a:extLst>
              <a:ext uri="{FF2B5EF4-FFF2-40B4-BE49-F238E27FC236}">
                <a16:creationId xmlns:a16="http://schemas.microsoft.com/office/drawing/2014/main" id="{ECB51D32-7566-4870-8FA5-D42DFFA709F5}"/>
              </a:ext>
            </a:extLst>
          </p:cNvPr>
          <p:cNvSpPr>
            <a:spLocks noGrp="1"/>
          </p:cNvSpPr>
          <p:nvPr>
            <p:ph type="body" sz="quarter" idx="18"/>
          </p:nvPr>
        </p:nvSpPr>
        <p:spPr>
          <a:xfrm>
            <a:off x="219267" y="794161"/>
            <a:ext cx="8600883" cy="330544"/>
          </a:xfrm>
        </p:spPr>
        <p:txBody>
          <a:bodyPr>
            <a:normAutofit/>
          </a:bodyPr>
          <a:lstStyle/>
          <a:p>
            <a:r>
              <a:rPr lang="de-DE"/>
              <a:t>2.6 </a:t>
            </a:r>
            <a:r>
              <a:rPr lang="en-US"/>
              <a:t>Integrity check, Validation check</a:t>
            </a:r>
          </a:p>
        </p:txBody>
      </p:sp>
      <p:sp>
        <p:nvSpPr>
          <p:cNvPr id="14" name="Titel 2">
            <a:extLst>
              <a:ext uri="{FF2B5EF4-FFF2-40B4-BE49-F238E27FC236}">
                <a16:creationId xmlns:a16="http://schemas.microsoft.com/office/drawing/2014/main" id="{7E57B964-AC1F-486E-8D31-E38B2D139DD7}"/>
              </a:ext>
            </a:extLst>
          </p:cNvPr>
          <p:cNvSpPr>
            <a:spLocks noGrp="1"/>
          </p:cNvSpPr>
          <p:nvPr>
            <p:ph type="title"/>
          </p:nvPr>
        </p:nvSpPr>
        <p:spPr>
          <a:xfrm>
            <a:off x="269393" y="78770"/>
            <a:ext cx="7907189" cy="330545"/>
          </a:xfrm>
        </p:spPr>
        <p:txBody>
          <a:bodyPr>
            <a:normAutofit fontScale="90000"/>
          </a:bodyPr>
          <a:lstStyle/>
          <a:p>
            <a:r>
              <a:rPr lang="de-DE"/>
              <a:t>2. </a:t>
            </a:r>
            <a:r>
              <a:rPr lang="en-US"/>
              <a:t>W</a:t>
            </a:r>
            <a:r>
              <a:rPr lang="en-US" sz="1800" b="1"/>
              <a:t>ork processes from the database to data transmission </a:t>
            </a:r>
            <a:endParaRPr lang="de-DE"/>
          </a:p>
        </p:txBody>
      </p:sp>
      <p:sp>
        <p:nvSpPr>
          <p:cNvPr id="22" name="Rechteck 21">
            <a:extLst>
              <a:ext uri="{FF2B5EF4-FFF2-40B4-BE49-F238E27FC236}">
                <a16:creationId xmlns:a16="http://schemas.microsoft.com/office/drawing/2014/main" id="{5CB53CF6-B939-4CF5-B01A-98C36E6C7FEB}"/>
              </a:ext>
            </a:extLst>
          </p:cNvPr>
          <p:cNvSpPr/>
          <p:nvPr/>
        </p:nvSpPr>
        <p:spPr>
          <a:xfrm>
            <a:off x="3859155" y="1135246"/>
            <a:ext cx="196616" cy="193134"/>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3" name="Ellipse 22">
            <a:extLst>
              <a:ext uri="{FF2B5EF4-FFF2-40B4-BE49-F238E27FC236}">
                <a16:creationId xmlns:a16="http://schemas.microsoft.com/office/drawing/2014/main" id="{099FAF26-B274-43C4-AC51-C502752691FF}"/>
              </a:ext>
            </a:extLst>
          </p:cNvPr>
          <p:cNvSpPr/>
          <p:nvPr/>
        </p:nvSpPr>
        <p:spPr>
          <a:xfrm>
            <a:off x="4199238" y="1135246"/>
            <a:ext cx="196616" cy="193134"/>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a:t>1</a:t>
            </a:r>
            <a:endParaRPr lang="en-US" sz="1000"/>
          </a:p>
        </p:txBody>
      </p:sp>
      <p:pic>
        <p:nvPicPr>
          <p:cNvPr id="7" name="Grafik 6">
            <a:extLst>
              <a:ext uri="{FF2B5EF4-FFF2-40B4-BE49-F238E27FC236}">
                <a16:creationId xmlns:a16="http://schemas.microsoft.com/office/drawing/2014/main" id="{69AEB7F5-538F-4B46-BC09-4450315976CA}"/>
              </a:ext>
            </a:extLst>
          </p:cNvPr>
          <p:cNvPicPr>
            <a:picLocks noChangeAspect="1"/>
          </p:cNvPicPr>
          <p:nvPr/>
        </p:nvPicPr>
        <p:blipFill rotWithShape="1">
          <a:blip r:embed="rId3"/>
          <a:srcRect t="1794"/>
          <a:stretch/>
        </p:blipFill>
        <p:spPr>
          <a:xfrm>
            <a:off x="269393" y="2888745"/>
            <a:ext cx="3383630" cy="1378406"/>
          </a:xfrm>
          <a:prstGeom prst="rect">
            <a:avLst/>
          </a:prstGeom>
          <a:ln w="19050">
            <a:solidFill>
              <a:srgbClr val="2F5597"/>
            </a:solidFill>
          </a:ln>
          <a:effectLst/>
        </p:spPr>
      </p:pic>
    </p:spTree>
    <p:extLst>
      <p:ext uri="{BB962C8B-B14F-4D97-AF65-F5344CB8AC3E}">
        <p14:creationId xmlns:p14="http://schemas.microsoft.com/office/powerpoint/2010/main" val="71814297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platzhalter 5">
            <a:extLst>
              <a:ext uri="{FF2B5EF4-FFF2-40B4-BE49-F238E27FC236}">
                <a16:creationId xmlns:a16="http://schemas.microsoft.com/office/drawing/2014/main" id="{C58A6553-0255-4090-BD0D-AB14FA4D2F29}"/>
              </a:ext>
            </a:extLst>
          </p:cNvPr>
          <p:cNvSpPr>
            <a:spLocks noGrp="1"/>
          </p:cNvSpPr>
          <p:nvPr>
            <p:ph type="body" sz="quarter" idx="18"/>
          </p:nvPr>
        </p:nvSpPr>
        <p:spPr>
          <a:xfrm>
            <a:off x="186490" y="618232"/>
            <a:ext cx="8600883" cy="330544"/>
          </a:xfrm>
        </p:spPr>
        <p:txBody>
          <a:bodyPr>
            <a:normAutofit/>
          </a:bodyPr>
          <a:lstStyle/>
          <a:p>
            <a:r>
              <a:rPr lang="de-DE"/>
              <a:t>2.6 </a:t>
            </a:r>
            <a:r>
              <a:rPr lang="en-US"/>
              <a:t>Integrity check, Validation check</a:t>
            </a:r>
          </a:p>
          <a:p>
            <a:endParaRPr lang="en-US"/>
          </a:p>
          <a:p>
            <a:endParaRPr lang="de-DE"/>
          </a:p>
          <a:p>
            <a:endParaRPr lang="de-DE"/>
          </a:p>
        </p:txBody>
      </p:sp>
      <p:sp>
        <p:nvSpPr>
          <p:cNvPr id="23" name="Titel 2">
            <a:extLst>
              <a:ext uri="{FF2B5EF4-FFF2-40B4-BE49-F238E27FC236}">
                <a16:creationId xmlns:a16="http://schemas.microsoft.com/office/drawing/2014/main" id="{3961DF40-277E-4DEC-B9D8-C5B4BBBB0935}"/>
              </a:ext>
            </a:extLst>
          </p:cNvPr>
          <p:cNvSpPr>
            <a:spLocks noGrp="1"/>
          </p:cNvSpPr>
          <p:nvPr>
            <p:ph type="title"/>
          </p:nvPr>
        </p:nvSpPr>
        <p:spPr>
          <a:xfrm>
            <a:off x="269393" y="78770"/>
            <a:ext cx="7907189" cy="330545"/>
          </a:xfrm>
        </p:spPr>
        <p:txBody>
          <a:bodyPr>
            <a:normAutofit fontScale="90000"/>
          </a:bodyPr>
          <a:lstStyle/>
          <a:p>
            <a:r>
              <a:rPr lang="de-DE"/>
              <a:t>2. </a:t>
            </a:r>
            <a:r>
              <a:rPr lang="en-US"/>
              <a:t>W</a:t>
            </a:r>
            <a:r>
              <a:rPr lang="en-US" sz="1800" b="1"/>
              <a:t>ork processes from the database to data transmission </a:t>
            </a:r>
            <a:endParaRPr lang="de-DE"/>
          </a:p>
        </p:txBody>
      </p:sp>
      <p:sp>
        <p:nvSpPr>
          <p:cNvPr id="19" name="Inhaltsplatzhalter 6">
            <a:extLst>
              <a:ext uri="{FF2B5EF4-FFF2-40B4-BE49-F238E27FC236}">
                <a16:creationId xmlns:a16="http://schemas.microsoft.com/office/drawing/2014/main" id="{7372B78E-EAEA-4433-8E1E-460979286880}"/>
              </a:ext>
            </a:extLst>
          </p:cNvPr>
          <p:cNvSpPr>
            <a:spLocks noGrp="1"/>
          </p:cNvSpPr>
          <p:nvPr>
            <p:ph sz="quarter" idx="19"/>
          </p:nvPr>
        </p:nvSpPr>
        <p:spPr>
          <a:xfrm>
            <a:off x="222659" y="1203598"/>
            <a:ext cx="8614768" cy="3455988"/>
          </a:xfrm>
        </p:spPr>
        <p:txBody>
          <a:bodyPr>
            <a:normAutofit/>
          </a:bodyPr>
          <a:lstStyle/>
          <a:p>
            <a:pPr>
              <a:buFont typeface="Arial" panose="020B0604020202020204" pitchFamily="34" charset="0"/>
              <a:buChar char="•"/>
            </a:pPr>
            <a:r>
              <a:rPr lang="en-US"/>
              <a:t>Check which datasets are not integrated and show different UDI values in EUDAMED and FDA </a:t>
            </a:r>
          </a:p>
          <a:p>
            <a:pPr>
              <a:buFont typeface="Arial" panose="020B0604020202020204" pitchFamily="34" charset="0"/>
              <a:buChar char="•"/>
            </a:pPr>
            <a:r>
              <a:rPr lang="en-US"/>
              <a:t>Select the datasets with integrity issues and determine which value to take over  </a:t>
            </a:r>
          </a:p>
          <a:p>
            <a:pPr>
              <a:buFont typeface="Arial" panose="020B0604020202020204" pitchFamily="34" charset="0"/>
              <a:buChar char="•"/>
            </a:pPr>
            <a:r>
              <a:rPr lang="en-US"/>
              <a:t>Validate the UDI data and save </a:t>
            </a:r>
          </a:p>
        </p:txBody>
      </p:sp>
      <p:pic>
        <p:nvPicPr>
          <p:cNvPr id="3" name="Grafik 2">
            <a:extLst>
              <a:ext uri="{FF2B5EF4-FFF2-40B4-BE49-F238E27FC236}">
                <a16:creationId xmlns:a16="http://schemas.microsoft.com/office/drawing/2014/main" id="{29BEE9CE-8634-4D1A-B6BA-BBAD193482EA}"/>
              </a:ext>
            </a:extLst>
          </p:cNvPr>
          <p:cNvPicPr>
            <a:picLocks noChangeAspect="1"/>
          </p:cNvPicPr>
          <p:nvPr/>
        </p:nvPicPr>
        <p:blipFill rotWithShape="1">
          <a:blip r:embed="rId2"/>
          <a:srcRect r="14045"/>
          <a:stretch/>
        </p:blipFill>
        <p:spPr>
          <a:xfrm>
            <a:off x="289296" y="2571750"/>
            <a:ext cx="8530854" cy="1110268"/>
          </a:xfrm>
          <a:prstGeom prst="rect">
            <a:avLst/>
          </a:prstGeom>
          <a:ln w="19050">
            <a:solidFill>
              <a:srgbClr val="2F5597"/>
            </a:solidFill>
          </a:ln>
          <a:effectLst/>
        </p:spPr>
      </p:pic>
      <p:sp>
        <p:nvSpPr>
          <p:cNvPr id="20" name="Rechteck 19">
            <a:extLst>
              <a:ext uri="{FF2B5EF4-FFF2-40B4-BE49-F238E27FC236}">
                <a16:creationId xmlns:a16="http://schemas.microsoft.com/office/drawing/2014/main" id="{2B4987A6-EB73-40DD-AB1B-50594ABD093F}"/>
              </a:ext>
            </a:extLst>
          </p:cNvPr>
          <p:cNvSpPr/>
          <p:nvPr/>
        </p:nvSpPr>
        <p:spPr>
          <a:xfrm>
            <a:off x="716518" y="3514592"/>
            <a:ext cx="6625978" cy="16742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4" name="Rechteck 23">
            <a:extLst>
              <a:ext uri="{FF2B5EF4-FFF2-40B4-BE49-F238E27FC236}">
                <a16:creationId xmlns:a16="http://schemas.microsoft.com/office/drawing/2014/main" id="{D82C32C0-1A6B-499A-B69B-72C38ECD43D8}"/>
              </a:ext>
            </a:extLst>
          </p:cNvPr>
          <p:cNvSpPr/>
          <p:nvPr/>
        </p:nvSpPr>
        <p:spPr>
          <a:xfrm>
            <a:off x="3898891" y="2984494"/>
            <a:ext cx="446817" cy="15034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5" name="Rechteck 24">
            <a:extLst>
              <a:ext uri="{FF2B5EF4-FFF2-40B4-BE49-F238E27FC236}">
                <a16:creationId xmlns:a16="http://schemas.microsoft.com/office/drawing/2014/main" id="{B76B0BC4-83D4-4470-A3AB-B77EB1C76594}"/>
              </a:ext>
            </a:extLst>
          </p:cNvPr>
          <p:cNvSpPr/>
          <p:nvPr/>
        </p:nvSpPr>
        <p:spPr>
          <a:xfrm>
            <a:off x="3223208" y="2990102"/>
            <a:ext cx="675684" cy="144731"/>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6" name="Rechteck 25">
            <a:extLst>
              <a:ext uri="{FF2B5EF4-FFF2-40B4-BE49-F238E27FC236}">
                <a16:creationId xmlns:a16="http://schemas.microsoft.com/office/drawing/2014/main" id="{C61EEEE5-F9D1-4646-B356-170B7258D732}"/>
              </a:ext>
            </a:extLst>
          </p:cNvPr>
          <p:cNvSpPr/>
          <p:nvPr/>
        </p:nvSpPr>
        <p:spPr>
          <a:xfrm>
            <a:off x="4409517" y="2984493"/>
            <a:ext cx="358915" cy="15591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7" name="Ellipse 26">
            <a:extLst>
              <a:ext uri="{FF2B5EF4-FFF2-40B4-BE49-F238E27FC236}">
                <a16:creationId xmlns:a16="http://schemas.microsoft.com/office/drawing/2014/main" id="{B6CCECCD-4946-4894-8213-C52A8DEF08ED}"/>
              </a:ext>
            </a:extLst>
          </p:cNvPr>
          <p:cNvSpPr/>
          <p:nvPr/>
        </p:nvSpPr>
        <p:spPr>
          <a:xfrm>
            <a:off x="404599" y="3501738"/>
            <a:ext cx="196616" cy="193134"/>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a:t>2</a:t>
            </a:r>
            <a:endParaRPr lang="en-US" sz="1000"/>
          </a:p>
        </p:txBody>
      </p:sp>
      <p:sp>
        <p:nvSpPr>
          <p:cNvPr id="28" name="Ellipse 27">
            <a:extLst>
              <a:ext uri="{FF2B5EF4-FFF2-40B4-BE49-F238E27FC236}">
                <a16:creationId xmlns:a16="http://schemas.microsoft.com/office/drawing/2014/main" id="{6998445A-DD4A-4433-AE4C-A2C871F9BEE2}"/>
              </a:ext>
            </a:extLst>
          </p:cNvPr>
          <p:cNvSpPr/>
          <p:nvPr/>
        </p:nvSpPr>
        <p:spPr>
          <a:xfrm>
            <a:off x="1149341" y="3282012"/>
            <a:ext cx="196616" cy="193134"/>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a:t>3</a:t>
            </a:r>
            <a:endParaRPr lang="en-US" sz="1000"/>
          </a:p>
        </p:txBody>
      </p:sp>
      <p:pic>
        <p:nvPicPr>
          <p:cNvPr id="5" name="Grafik 4">
            <a:extLst>
              <a:ext uri="{FF2B5EF4-FFF2-40B4-BE49-F238E27FC236}">
                <a16:creationId xmlns:a16="http://schemas.microsoft.com/office/drawing/2014/main" id="{AA27486A-6975-4950-AB8D-91BB5596ECCE}"/>
              </a:ext>
            </a:extLst>
          </p:cNvPr>
          <p:cNvPicPr>
            <a:picLocks noChangeAspect="1"/>
          </p:cNvPicPr>
          <p:nvPr/>
        </p:nvPicPr>
        <p:blipFill>
          <a:blip r:embed="rId3"/>
          <a:stretch>
            <a:fillRect/>
          </a:stretch>
        </p:blipFill>
        <p:spPr>
          <a:xfrm>
            <a:off x="1003008" y="3536753"/>
            <a:ext cx="489283" cy="124044"/>
          </a:xfrm>
          <a:prstGeom prst="rect">
            <a:avLst/>
          </a:prstGeom>
        </p:spPr>
      </p:pic>
      <p:sp>
        <p:nvSpPr>
          <p:cNvPr id="29" name="Ellipse 28">
            <a:extLst>
              <a:ext uri="{FF2B5EF4-FFF2-40B4-BE49-F238E27FC236}">
                <a16:creationId xmlns:a16="http://schemas.microsoft.com/office/drawing/2014/main" id="{285E283C-D320-475D-B87A-E102E8F4122A}"/>
              </a:ext>
            </a:extLst>
          </p:cNvPr>
          <p:cNvSpPr/>
          <p:nvPr/>
        </p:nvSpPr>
        <p:spPr>
          <a:xfrm>
            <a:off x="4023991" y="2729537"/>
            <a:ext cx="196616" cy="193134"/>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a:t>4</a:t>
            </a:r>
            <a:endParaRPr lang="en-US" sz="1000"/>
          </a:p>
        </p:txBody>
      </p:sp>
      <p:sp>
        <p:nvSpPr>
          <p:cNvPr id="30" name="Ellipse 29">
            <a:extLst>
              <a:ext uri="{FF2B5EF4-FFF2-40B4-BE49-F238E27FC236}">
                <a16:creationId xmlns:a16="http://schemas.microsoft.com/office/drawing/2014/main" id="{B4450B7F-605B-438E-BBAD-15ED2CDB4C34}"/>
              </a:ext>
            </a:extLst>
          </p:cNvPr>
          <p:cNvSpPr/>
          <p:nvPr/>
        </p:nvSpPr>
        <p:spPr>
          <a:xfrm>
            <a:off x="3462742" y="2733949"/>
            <a:ext cx="196616" cy="193134"/>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a:t>5</a:t>
            </a:r>
            <a:endParaRPr lang="en-US" sz="1000"/>
          </a:p>
        </p:txBody>
      </p:sp>
      <p:sp>
        <p:nvSpPr>
          <p:cNvPr id="31" name="Ellipse 30">
            <a:extLst>
              <a:ext uri="{FF2B5EF4-FFF2-40B4-BE49-F238E27FC236}">
                <a16:creationId xmlns:a16="http://schemas.microsoft.com/office/drawing/2014/main" id="{373466C1-7D29-445B-B09E-87778E6A6BBD}"/>
              </a:ext>
            </a:extLst>
          </p:cNvPr>
          <p:cNvSpPr/>
          <p:nvPr/>
        </p:nvSpPr>
        <p:spPr>
          <a:xfrm>
            <a:off x="4486932" y="2738458"/>
            <a:ext cx="196616" cy="193134"/>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a:t>6</a:t>
            </a:r>
            <a:endParaRPr lang="en-US" sz="1000"/>
          </a:p>
        </p:txBody>
      </p:sp>
    </p:spTree>
    <p:extLst>
      <p:ext uri="{BB962C8B-B14F-4D97-AF65-F5344CB8AC3E}">
        <p14:creationId xmlns:p14="http://schemas.microsoft.com/office/powerpoint/2010/main" val="20392304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4" grpId="0" animBg="1"/>
      <p:bldP spid="25" grpId="0" animBg="1"/>
      <p:bldP spid="26" grpId="0" animBg="1"/>
      <p:bldP spid="27" grpId="0" animBg="1"/>
      <p:bldP spid="28" grpId="0" animBg="1"/>
      <p:bldP spid="29" grpId="0" animBg="1"/>
      <p:bldP spid="30" grpId="0" animBg="1"/>
      <p:bldP spid="31"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A19744FE-0122-4458-A703-1ED9355A7C5F}"/>
              </a:ext>
            </a:extLst>
          </p:cNvPr>
          <p:cNvSpPr>
            <a:spLocks noGrp="1"/>
          </p:cNvSpPr>
          <p:nvPr>
            <p:ph type="body" sz="quarter" idx="18"/>
          </p:nvPr>
        </p:nvSpPr>
        <p:spPr/>
        <p:txBody>
          <a:bodyPr>
            <a:normAutofit/>
          </a:bodyPr>
          <a:lstStyle/>
          <a:p>
            <a:r>
              <a:rPr lang="de-DE"/>
              <a:t>2.7 </a:t>
            </a:r>
            <a:r>
              <a:rPr lang="en-US"/>
              <a:t>Data release</a:t>
            </a:r>
          </a:p>
          <a:p>
            <a:endParaRPr lang="en-US"/>
          </a:p>
          <a:p>
            <a:endParaRPr lang="de-DE"/>
          </a:p>
          <a:p>
            <a:endParaRPr lang="de-DE"/>
          </a:p>
        </p:txBody>
      </p:sp>
      <p:sp>
        <p:nvSpPr>
          <p:cNvPr id="3" name="Titel 2">
            <a:extLst>
              <a:ext uri="{FF2B5EF4-FFF2-40B4-BE49-F238E27FC236}">
                <a16:creationId xmlns:a16="http://schemas.microsoft.com/office/drawing/2014/main" id="{17403686-94D3-4A24-BDEB-07854049E7FA}"/>
              </a:ext>
            </a:extLst>
          </p:cNvPr>
          <p:cNvSpPr>
            <a:spLocks noGrp="1"/>
          </p:cNvSpPr>
          <p:nvPr>
            <p:ph type="title"/>
          </p:nvPr>
        </p:nvSpPr>
        <p:spPr/>
        <p:txBody>
          <a:bodyPr>
            <a:normAutofit fontScale="90000"/>
          </a:bodyPr>
          <a:lstStyle/>
          <a:p>
            <a:r>
              <a:rPr lang="de-DE"/>
              <a:t>2. </a:t>
            </a:r>
            <a:r>
              <a:rPr lang="en-US"/>
              <a:t>W</a:t>
            </a:r>
            <a:r>
              <a:rPr lang="en-US" sz="1800" b="1"/>
              <a:t>ork processes from the database to data transmission </a:t>
            </a:r>
            <a:endParaRPr lang="de-DE"/>
          </a:p>
        </p:txBody>
      </p:sp>
      <p:sp>
        <p:nvSpPr>
          <p:cNvPr id="31" name="Rechteck: abgerundete Ecken 30">
            <a:extLst>
              <a:ext uri="{FF2B5EF4-FFF2-40B4-BE49-F238E27FC236}">
                <a16:creationId xmlns:a16="http://schemas.microsoft.com/office/drawing/2014/main" id="{C2E356A7-F0C9-4E37-8904-4CFAE1F864A1}"/>
              </a:ext>
            </a:extLst>
          </p:cNvPr>
          <p:cNvSpPr/>
          <p:nvPr/>
        </p:nvSpPr>
        <p:spPr>
          <a:xfrm>
            <a:off x="5124177" y="1827482"/>
            <a:ext cx="1797627" cy="1936246"/>
          </a:xfrm>
          <a:prstGeom prst="round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sz="1200" b="1">
                <a:solidFill>
                  <a:schemeClr val="tx1"/>
                </a:solidFill>
                <a:latin typeface="Arial" panose="020B0604020202020204" pitchFamily="34" charset="0"/>
                <a:cs typeface="Arial" panose="020B0604020202020204" pitchFamily="34" charset="0"/>
              </a:rPr>
              <a:t>Data </a:t>
            </a:r>
            <a:r>
              <a:rPr lang="de-DE" sz="1200" b="1" err="1">
                <a:solidFill>
                  <a:schemeClr val="tx1"/>
                </a:solidFill>
                <a:latin typeface="Arial" panose="020B0604020202020204" pitchFamily="34" charset="0"/>
                <a:cs typeface="Arial" panose="020B0604020202020204" pitchFamily="34" charset="0"/>
              </a:rPr>
              <a:t>transmission</a:t>
            </a:r>
            <a:endParaRPr lang="de-DE" sz="1200" b="1">
              <a:solidFill>
                <a:schemeClr val="tx1"/>
              </a:solidFill>
              <a:latin typeface="Arial" panose="020B0604020202020204" pitchFamily="34" charset="0"/>
              <a:cs typeface="Arial" panose="020B0604020202020204" pitchFamily="34" charset="0"/>
            </a:endParaRPr>
          </a:p>
          <a:p>
            <a:pPr algn="ctr"/>
            <a:endParaRPr lang="de-DE" sz="1200">
              <a:latin typeface="Arial" panose="020B0604020202020204" pitchFamily="34" charset="0"/>
              <a:cs typeface="Arial" panose="020B0604020202020204" pitchFamily="34" charset="0"/>
            </a:endParaRPr>
          </a:p>
          <a:p>
            <a:pPr algn="ctr"/>
            <a:endParaRPr lang="de-DE" sz="1200">
              <a:latin typeface="Arial" panose="020B0604020202020204" pitchFamily="34" charset="0"/>
              <a:cs typeface="Arial" panose="020B0604020202020204" pitchFamily="34" charset="0"/>
            </a:endParaRPr>
          </a:p>
          <a:p>
            <a:pPr algn="ctr"/>
            <a:endParaRPr lang="de-DE" sz="1200">
              <a:latin typeface="Arial" panose="020B0604020202020204" pitchFamily="34" charset="0"/>
              <a:cs typeface="Arial" panose="020B0604020202020204" pitchFamily="34" charset="0"/>
            </a:endParaRPr>
          </a:p>
          <a:p>
            <a:pPr algn="ctr"/>
            <a:endParaRPr lang="de-DE" sz="1200">
              <a:latin typeface="Arial" panose="020B0604020202020204" pitchFamily="34" charset="0"/>
              <a:cs typeface="Arial" panose="020B0604020202020204" pitchFamily="34" charset="0"/>
            </a:endParaRPr>
          </a:p>
          <a:p>
            <a:pPr algn="ctr"/>
            <a:endParaRPr lang="de-CH" sz="1200">
              <a:latin typeface="Arial" panose="020B0604020202020204" pitchFamily="34" charset="0"/>
              <a:cs typeface="Arial" panose="020B0604020202020204" pitchFamily="34" charset="0"/>
            </a:endParaRPr>
          </a:p>
        </p:txBody>
      </p:sp>
      <p:sp>
        <p:nvSpPr>
          <p:cNvPr id="35" name="Rechteck: abgerundete Ecken 34">
            <a:extLst>
              <a:ext uri="{FF2B5EF4-FFF2-40B4-BE49-F238E27FC236}">
                <a16:creationId xmlns:a16="http://schemas.microsoft.com/office/drawing/2014/main" id="{2F00C498-6C91-4802-B79A-B21A351086B1}"/>
              </a:ext>
            </a:extLst>
          </p:cNvPr>
          <p:cNvSpPr/>
          <p:nvPr/>
        </p:nvSpPr>
        <p:spPr>
          <a:xfrm>
            <a:off x="374876" y="1829725"/>
            <a:ext cx="1620000" cy="776776"/>
          </a:xfrm>
          <a:prstGeom prst="roundRect">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Arial" panose="020B0604020202020204" pitchFamily="34" charset="0"/>
                <a:cs typeface="Arial" panose="020B0604020202020204" pitchFamily="34" charset="0"/>
              </a:rPr>
              <a:t>Product creation in the Add-On</a:t>
            </a:r>
          </a:p>
        </p:txBody>
      </p:sp>
      <p:sp>
        <p:nvSpPr>
          <p:cNvPr id="36" name="Rechteck: abgerundete Ecken 35">
            <a:extLst>
              <a:ext uri="{FF2B5EF4-FFF2-40B4-BE49-F238E27FC236}">
                <a16:creationId xmlns:a16="http://schemas.microsoft.com/office/drawing/2014/main" id="{D66D3841-4BE4-4211-9A3B-E6FBAB054984}"/>
              </a:ext>
            </a:extLst>
          </p:cNvPr>
          <p:cNvSpPr/>
          <p:nvPr/>
        </p:nvSpPr>
        <p:spPr>
          <a:xfrm>
            <a:off x="2053233" y="1838140"/>
            <a:ext cx="1620000" cy="776776"/>
          </a:xfrm>
          <a:prstGeom prst="roundRect">
            <a:avLst/>
          </a:prstGeom>
          <a:solidFill>
            <a:srgbClr val="20386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err="1">
                <a:solidFill>
                  <a:schemeClr val="bg1"/>
                </a:solidFill>
                <a:latin typeface="Arial" panose="020B0604020202020204" pitchFamily="34" charset="0"/>
                <a:cs typeface="Arial" panose="020B0604020202020204" pitchFamily="34" charset="0"/>
              </a:rPr>
              <a:t>Product</a:t>
            </a:r>
            <a:r>
              <a:rPr lang="de-CH" sz="1200">
                <a:solidFill>
                  <a:schemeClr val="bg1"/>
                </a:solidFill>
                <a:latin typeface="Arial" panose="020B0604020202020204" pitchFamily="34" charset="0"/>
                <a:cs typeface="Arial" panose="020B0604020202020204" pitchFamily="34" charset="0"/>
              </a:rPr>
              <a:t> </a:t>
            </a:r>
            <a:r>
              <a:rPr lang="de-CH" sz="1200" err="1">
                <a:solidFill>
                  <a:schemeClr val="bg1"/>
                </a:solidFill>
                <a:latin typeface="Arial" panose="020B0604020202020204" pitchFamily="34" charset="0"/>
                <a:cs typeface="Arial" panose="020B0604020202020204" pitchFamily="34" charset="0"/>
              </a:rPr>
              <a:t>creation</a:t>
            </a:r>
            <a:r>
              <a:rPr lang="de-CH" sz="1200">
                <a:solidFill>
                  <a:schemeClr val="bg1"/>
                </a:solidFill>
                <a:latin typeface="Arial" panose="020B0604020202020204" pitchFamily="34" charset="0"/>
                <a:cs typeface="Arial" panose="020B0604020202020204" pitchFamily="34" charset="0"/>
              </a:rPr>
              <a:t> </a:t>
            </a:r>
            <a:r>
              <a:rPr lang="de-CH" sz="1200" err="1">
                <a:solidFill>
                  <a:schemeClr val="bg1"/>
                </a:solidFill>
                <a:latin typeface="Arial" panose="020B0604020202020204" pitchFamily="34" charset="0"/>
                <a:cs typeface="Arial" panose="020B0604020202020204" pitchFamily="34" charset="0"/>
              </a:rPr>
              <a:t>with</a:t>
            </a:r>
            <a:r>
              <a:rPr lang="de-CH" sz="1200">
                <a:solidFill>
                  <a:schemeClr val="bg1"/>
                </a:solidFill>
                <a:latin typeface="Arial" panose="020B0604020202020204" pitchFamily="34" charset="0"/>
                <a:cs typeface="Arial" panose="020B0604020202020204" pitchFamily="34" charset="0"/>
              </a:rPr>
              <a:t> Excel</a:t>
            </a:r>
          </a:p>
        </p:txBody>
      </p:sp>
      <p:sp>
        <p:nvSpPr>
          <p:cNvPr id="37" name="Rechteck: abgerundete Ecken 36">
            <a:extLst>
              <a:ext uri="{FF2B5EF4-FFF2-40B4-BE49-F238E27FC236}">
                <a16:creationId xmlns:a16="http://schemas.microsoft.com/office/drawing/2014/main" id="{C4BE9CCD-C203-414F-B252-20F9929F8E62}"/>
              </a:ext>
            </a:extLst>
          </p:cNvPr>
          <p:cNvSpPr/>
          <p:nvPr/>
        </p:nvSpPr>
        <p:spPr>
          <a:xfrm>
            <a:off x="1218206" y="2881040"/>
            <a:ext cx="1620000" cy="875128"/>
          </a:xfrm>
          <a:prstGeom prst="roundRect">
            <a:avLst/>
          </a:prstGeom>
          <a:solidFill>
            <a:srgbClr val="20386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a:latin typeface="Arial" panose="020B0604020202020204" pitchFamily="34" charset="0"/>
                <a:cs typeface="Arial" panose="020B0604020202020204" pitchFamily="34" charset="0"/>
              </a:rPr>
              <a:t>Mass </a:t>
            </a:r>
            <a:r>
              <a:rPr lang="de-CH" sz="1200" err="1">
                <a:latin typeface="Arial" panose="020B0604020202020204" pitchFamily="34" charset="0"/>
                <a:cs typeface="Arial" panose="020B0604020202020204" pitchFamily="34" charset="0"/>
              </a:rPr>
              <a:t>change</a:t>
            </a:r>
            <a:r>
              <a:rPr lang="de-CH" sz="1200">
                <a:latin typeface="Arial" panose="020B0604020202020204" pitchFamily="34" charset="0"/>
                <a:cs typeface="Arial" panose="020B0604020202020204" pitchFamily="34" charset="0"/>
              </a:rPr>
              <a:t> </a:t>
            </a:r>
          </a:p>
          <a:p>
            <a:pPr marL="171450" indent="-171450">
              <a:buFont typeface="Arial" panose="020B0604020202020204" pitchFamily="34" charset="0"/>
              <a:buChar char="•"/>
            </a:pPr>
            <a:r>
              <a:rPr lang="de-CH" sz="1200" err="1">
                <a:latin typeface="Arial" panose="020B0604020202020204" pitchFamily="34" charset="0"/>
                <a:cs typeface="Arial" panose="020B0604020202020204" pitchFamily="34" charset="0"/>
              </a:rPr>
              <a:t>with</a:t>
            </a:r>
            <a:r>
              <a:rPr lang="de-CH" sz="1200">
                <a:latin typeface="Arial" panose="020B0604020202020204" pitchFamily="34" charset="0"/>
                <a:cs typeface="Arial" panose="020B0604020202020204" pitchFamily="34" charset="0"/>
              </a:rPr>
              <a:t> Excel</a:t>
            </a:r>
          </a:p>
          <a:p>
            <a:pPr marL="171450" indent="-171450">
              <a:buFont typeface="Arial" panose="020B0604020202020204" pitchFamily="34" charset="0"/>
              <a:buChar char="•"/>
            </a:pPr>
            <a:r>
              <a:rPr lang="de-CH" sz="1200">
                <a:latin typeface="Arial" panose="020B0604020202020204" pitchFamily="34" charset="0"/>
                <a:cs typeface="Arial" panose="020B0604020202020204" pitchFamily="34" charset="0"/>
              </a:rPr>
              <a:t>in </a:t>
            </a:r>
            <a:r>
              <a:rPr lang="de-CH" sz="1200" err="1">
                <a:latin typeface="Arial" panose="020B0604020202020204" pitchFamily="34" charset="0"/>
                <a:cs typeface="Arial" panose="020B0604020202020204" pitchFamily="34" charset="0"/>
              </a:rPr>
              <a:t>the</a:t>
            </a:r>
            <a:r>
              <a:rPr lang="de-CH" sz="1200">
                <a:latin typeface="Arial" panose="020B0604020202020204" pitchFamily="34" charset="0"/>
                <a:cs typeface="Arial" panose="020B0604020202020204" pitchFamily="34" charset="0"/>
              </a:rPr>
              <a:t> Add-On</a:t>
            </a:r>
          </a:p>
        </p:txBody>
      </p:sp>
      <p:sp>
        <p:nvSpPr>
          <p:cNvPr id="38" name="Rechteck: abgerundete Ecken 37">
            <a:extLst>
              <a:ext uri="{FF2B5EF4-FFF2-40B4-BE49-F238E27FC236}">
                <a16:creationId xmlns:a16="http://schemas.microsoft.com/office/drawing/2014/main" id="{ED09656B-C0AC-4936-AD21-246475444A6A}"/>
              </a:ext>
            </a:extLst>
          </p:cNvPr>
          <p:cNvSpPr/>
          <p:nvPr/>
        </p:nvSpPr>
        <p:spPr>
          <a:xfrm>
            <a:off x="3209825" y="2881040"/>
            <a:ext cx="1620000" cy="875128"/>
          </a:xfrm>
          <a:prstGeom prst="roundRect">
            <a:avLst/>
          </a:prstGeom>
          <a:solidFill>
            <a:srgbClr val="20386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a:latin typeface="Arial" panose="020B0604020202020204" pitchFamily="34" charset="0"/>
                <a:cs typeface="Arial" panose="020B0604020202020204" pitchFamily="34" charset="0"/>
              </a:rPr>
              <a:t>Data </a:t>
            </a:r>
            <a:r>
              <a:rPr lang="de-CH" sz="1200" err="1">
                <a:latin typeface="Arial" panose="020B0604020202020204" pitchFamily="34" charset="0"/>
                <a:cs typeface="Arial" panose="020B0604020202020204" pitchFamily="34" charset="0"/>
              </a:rPr>
              <a:t>overview</a:t>
            </a:r>
            <a:r>
              <a:rPr lang="de-CH" sz="1200">
                <a:latin typeface="Arial" panose="020B0604020202020204" pitchFamily="34" charset="0"/>
                <a:cs typeface="Arial" panose="020B0604020202020204" pitchFamily="34" charset="0"/>
              </a:rPr>
              <a:t>,</a:t>
            </a:r>
          </a:p>
          <a:p>
            <a:pPr algn="ctr"/>
            <a:r>
              <a:rPr lang="de-CH" sz="1200" err="1">
                <a:latin typeface="Arial" panose="020B0604020202020204" pitchFamily="34" charset="0"/>
                <a:cs typeface="Arial" panose="020B0604020202020204" pitchFamily="34" charset="0"/>
              </a:rPr>
              <a:t>visual</a:t>
            </a:r>
            <a:r>
              <a:rPr lang="de-CH" sz="1200">
                <a:latin typeface="Arial" panose="020B0604020202020204" pitchFamily="34" charset="0"/>
                <a:cs typeface="Arial" panose="020B0604020202020204" pitchFamily="34" charset="0"/>
              </a:rPr>
              <a:t> </a:t>
            </a:r>
            <a:r>
              <a:rPr lang="de-CH" sz="1200" err="1">
                <a:latin typeface="Arial" panose="020B0604020202020204" pitchFamily="34" charset="0"/>
                <a:cs typeface="Arial" panose="020B0604020202020204" pitchFamily="34" charset="0"/>
              </a:rPr>
              <a:t>data</a:t>
            </a:r>
            <a:r>
              <a:rPr lang="de-CH" sz="1200">
                <a:latin typeface="Arial" panose="020B0604020202020204" pitchFamily="34" charset="0"/>
                <a:cs typeface="Arial" panose="020B0604020202020204" pitchFamily="34" charset="0"/>
              </a:rPr>
              <a:t> check</a:t>
            </a:r>
          </a:p>
          <a:p>
            <a:pPr algn="ctr"/>
            <a:r>
              <a:rPr lang="de-CH" sz="1200">
                <a:latin typeface="Arial" panose="020B0604020202020204" pitchFamily="34" charset="0"/>
                <a:cs typeface="Arial" panose="020B0604020202020204" pitchFamily="34" charset="0"/>
              </a:rPr>
              <a:t>/UDI/Attributes</a:t>
            </a:r>
          </a:p>
        </p:txBody>
      </p:sp>
      <p:sp>
        <p:nvSpPr>
          <p:cNvPr id="39" name="Rechteck: abgerundete Ecken 38">
            <a:extLst>
              <a:ext uri="{FF2B5EF4-FFF2-40B4-BE49-F238E27FC236}">
                <a16:creationId xmlns:a16="http://schemas.microsoft.com/office/drawing/2014/main" id="{9A5867D7-3747-4F74-80A8-1B5AF417EA49}"/>
              </a:ext>
            </a:extLst>
          </p:cNvPr>
          <p:cNvSpPr/>
          <p:nvPr/>
        </p:nvSpPr>
        <p:spPr>
          <a:xfrm>
            <a:off x="5222731" y="4115115"/>
            <a:ext cx="1620000" cy="702778"/>
          </a:xfrm>
          <a:prstGeom prst="roundRect">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latin typeface="Arial" panose="020B0604020202020204" pitchFamily="34" charset="0"/>
                <a:cs typeface="Arial" panose="020B0604020202020204" pitchFamily="34" charset="0"/>
              </a:rPr>
              <a:t>Data release /</a:t>
            </a:r>
          </a:p>
          <a:p>
            <a:pPr algn="ctr"/>
            <a:r>
              <a:rPr lang="en-US" sz="1200" b="1">
                <a:latin typeface="Arial" panose="020B0604020202020204" pitchFamily="34" charset="0"/>
                <a:cs typeface="Arial" panose="020B0604020202020204" pitchFamily="34" charset="0"/>
              </a:rPr>
              <a:t>Lock trigger fields</a:t>
            </a:r>
          </a:p>
        </p:txBody>
      </p:sp>
      <p:sp>
        <p:nvSpPr>
          <p:cNvPr id="40" name="Rechteck: abgerundete Ecken 39">
            <a:extLst>
              <a:ext uri="{FF2B5EF4-FFF2-40B4-BE49-F238E27FC236}">
                <a16:creationId xmlns:a16="http://schemas.microsoft.com/office/drawing/2014/main" id="{1F9F01A8-FA07-42C7-AF3A-103F301FB65B}"/>
              </a:ext>
            </a:extLst>
          </p:cNvPr>
          <p:cNvSpPr/>
          <p:nvPr/>
        </p:nvSpPr>
        <p:spPr>
          <a:xfrm>
            <a:off x="5222731" y="2687416"/>
            <a:ext cx="1620000" cy="314633"/>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a:latin typeface="Arial" panose="020B0604020202020204" pitchFamily="34" charset="0"/>
                <a:cs typeface="Arial" panose="020B0604020202020204" pitchFamily="34" charset="0"/>
              </a:rPr>
              <a:t>XML </a:t>
            </a:r>
            <a:r>
              <a:rPr lang="de-CH" sz="1200" err="1">
                <a:latin typeface="Arial" panose="020B0604020202020204" pitchFamily="34" charset="0"/>
                <a:cs typeface="Arial" panose="020B0604020202020204" pitchFamily="34" charset="0"/>
              </a:rPr>
              <a:t>export</a:t>
            </a:r>
            <a:endParaRPr lang="de-CH" sz="1200">
              <a:latin typeface="Arial" panose="020B0604020202020204" pitchFamily="34" charset="0"/>
              <a:cs typeface="Arial" panose="020B0604020202020204" pitchFamily="34" charset="0"/>
            </a:endParaRPr>
          </a:p>
        </p:txBody>
      </p:sp>
      <p:sp>
        <p:nvSpPr>
          <p:cNvPr id="41" name="Rechteck: abgerundete Ecken 40">
            <a:extLst>
              <a:ext uri="{FF2B5EF4-FFF2-40B4-BE49-F238E27FC236}">
                <a16:creationId xmlns:a16="http://schemas.microsoft.com/office/drawing/2014/main" id="{8E2A35B4-08DC-4C68-80B1-B6FA91906473}"/>
              </a:ext>
            </a:extLst>
          </p:cNvPr>
          <p:cNvSpPr/>
          <p:nvPr/>
        </p:nvSpPr>
        <p:spPr>
          <a:xfrm>
            <a:off x="3209824" y="4115115"/>
            <a:ext cx="1620000" cy="702778"/>
          </a:xfrm>
          <a:prstGeom prst="roundRect">
            <a:avLst/>
          </a:prstGeom>
          <a:solidFill>
            <a:srgbClr val="20386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a:latin typeface="Arial" panose="020B0604020202020204" pitchFamily="34" charset="0"/>
                <a:cs typeface="Arial" panose="020B0604020202020204" pitchFamily="34" charset="0"/>
              </a:rPr>
              <a:t>Integrity check</a:t>
            </a:r>
          </a:p>
          <a:p>
            <a:pPr algn="ctr"/>
            <a:r>
              <a:rPr lang="de-CH" sz="1200">
                <a:latin typeface="Arial" panose="020B0604020202020204" pitchFamily="34" charset="0"/>
                <a:cs typeface="Arial" panose="020B0604020202020204" pitchFamily="34" charset="0"/>
              </a:rPr>
              <a:t>Validation check</a:t>
            </a:r>
          </a:p>
        </p:txBody>
      </p:sp>
      <p:sp>
        <p:nvSpPr>
          <p:cNvPr id="43" name="Rechteck: abgerundete Ecken 42">
            <a:extLst>
              <a:ext uri="{FF2B5EF4-FFF2-40B4-BE49-F238E27FC236}">
                <a16:creationId xmlns:a16="http://schemas.microsoft.com/office/drawing/2014/main" id="{5B9B524D-B2AF-4C3A-9818-2DA5A726A8D0}"/>
              </a:ext>
            </a:extLst>
          </p:cNvPr>
          <p:cNvSpPr/>
          <p:nvPr/>
        </p:nvSpPr>
        <p:spPr>
          <a:xfrm>
            <a:off x="8531932" y="1949789"/>
            <a:ext cx="322128" cy="1761413"/>
          </a:xfrm>
          <a:prstGeom prst="round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CH" sz="1350" b="1"/>
              <a:t>E</a:t>
            </a:r>
          </a:p>
          <a:p>
            <a:r>
              <a:rPr lang="de-CH" sz="1350" b="1"/>
              <a:t>U</a:t>
            </a:r>
          </a:p>
          <a:p>
            <a:r>
              <a:rPr lang="de-CH" sz="1350" b="1"/>
              <a:t>D</a:t>
            </a:r>
          </a:p>
          <a:p>
            <a:r>
              <a:rPr lang="de-CH" sz="1350" b="1"/>
              <a:t>A</a:t>
            </a:r>
          </a:p>
          <a:p>
            <a:r>
              <a:rPr lang="de-CH" sz="1350" b="1"/>
              <a:t>M</a:t>
            </a:r>
          </a:p>
          <a:p>
            <a:r>
              <a:rPr lang="de-CH" sz="1350" b="1"/>
              <a:t>E</a:t>
            </a:r>
          </a:p>
          <a:p>
            <a:r>
              <a:rPr lang="de-CH" sz="1350" b="1"/>
              <a:t>D</a:t>
            </a:r>
          </a:p>
        </p:txBody>
      </p:sp>
      <p:sp>
        <p:nvSpPr>
          <p:cNvPr id="44" name="Rechteck: abgerundete Ecken 43">
            <a:extLst>
              <a:ext uri="{FF2B5EF4-FFF2-40B4-BE49-F238E27FC236}">
                <a16:creationId xmlns:a16="http://schemas.microsoft.com/office/drawing/2014/main" id="{87B16B71-40C1-4B47-96E8-5F15754C1997}"/>
              </a:ext>
            </a:extLst>
          </p:cNvPr>
          <p:cNvSpPr/>
          <p:nvPr/>
        </p:nvSpPr>
        <p:spPr>
          <a:xfrm>
            <a:off x="5221830" y="2249178"/>
            <a:ext cx="1620000" cy="314633"/>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a:latin typeface="Arial" panose="020B0604020202020204" pitchFamily="34" charset="0"/>
                <a:cs typeface="Arial" panose="020B0604020202020204" pitchFamily="34" charset="0"/>
              </a:rPr>
              <a:t>Excel </a:t>
            </a:r>
            <a:r>
              <a:rPr lang="de-CH" sz="1200" err="1">
                <a:latin typeface="Arial" panose="020B0604020202020204" pitchFamily="34" charset="0"/>
                <a:cs typeface="Arial" panose="020B0604020202020204" pitchFamily="34" charset="0"/>
              </a:rPr>
              <a:t>export</a:t>
            </a:r>
            <a:endParaRPr lang="de-CH" sz="1200">
              <a:latin typeface="Arial" panose="020B0604020202020204" pitchFamily="34" charset="0"/>
              <a:cs typeface="Arial" panose="020B0604020202020204" pitchFamily="34" charset="0"/>
            </a:endParaRPr>
          </a:p>
        </p:txBody>
      </p:sp>
      <p:sp>
        <p:nvSpPr>
          <p:cNvPr id="45" name="Rechteck: abgerundete Ecken 44">
            <a:extLst>
              <a:ext uri="{FF2B5EF4-FFF2-40B4-BE49-F238E27FC236}">
                <a16:creationId xmlns:a16="http://schemas.microsoft.com/office/drawing/2014/main" id="{646486A8-D8A3-4FA5-875E-0F3F80A7D1A8}"/>
              </a:ext>
            </a:extLst>
          </p:cNvPr>
          <p:cNvSpPr/>
          <p:nvPr/>
        </p:nvSpPr>
        <p:spPr>
          <a:xfrm>
            <a:off x="5222731" y="3123064"/>
            <a:ext cx="1620000" cy="408087"/>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200">
              <a:latin typeface="Arial" panose="020B0604020202020204" pitchFamily="34" charset="0"/>
              <a:cs typeface="Arial" panose="020B0604020202020204" pitchFamily="34" charset="0"/>
            </a:endParaRPr>
          </a:p>
        </p:txBody>
      </p:sp>
      <p:sp>
        <p:nvSpPr>
          <p:cNvPr id="54" name="Rechteck: abgerundete Ecken 53">
            <a:extLst>
              <a:ext uri="{FF2B5EF4-FFF2-40B4-BE49-F238E27FC236}">
                <a16:creationId xmlns:a16="http://schemas.microsoft.com/office/drawing/2014/main" id="{C90BCC80-CC53-4FAB-90F5-99AED375928F}"/>
              </a:ext>
            </a:extLst>
          </p:cNvPr>
          <p:cNvSpPr/>
          <p:nvPr/>
        </p:nvSpPr>
        <p:spPr>
          <a:xfrm>
            <a:off x="374876" y="1139292"/>
            <a:ext cx="3298357" cy="415894"/>
          </a:xfrm>
          <a:prstGeom prst="roundRect">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solidFill>
                  <a:schemeClr val="bg1"/>
                </a:solidFill>
                <a:latin typeface="Arial" panose="020B0604020202020204" pitchFamily="34" charset="0"/>
                <a:cs typeface="Arial" panose="020B0604020202020204" pitchFamily="34" charset="0"/>
              </a:rPr>
              <a:t>UDI relevant </a:t>
            </a:r>
            <a:r>
              <a:rPr lang="de-DE" sz="1200" err="1">
                <a:solidFill>
                  <a:schemeClr val="bg1"/>
                </a:solidFill>
                <a:latin typeface="Arial" panose="020B0604020202020204" pitchFamily="34" charset="0"/>
                <a:cs typeface="Arial" panose="020B0604020202020204" pitchFamily="34" charset="0"/>
              </a:rPr>
              <a:t>marking</a:t>
            </a:r>
            <a:endParaRPr lang="de-DE" sz="1200">
              <a:solidFill>
                <a:schemeClr val="bg1"/>
              </a:solidFill>
              <a:latin typeface="Arial" panose="020B0604020202020204" pitchFamily="34" charset="0"/>
              <a:cs typeface="Arial" panose="020B0604020202020204" pitchFamily="34" charset="0"/>
            </a:endParaRPr>
          </a:p>
        </p:txBody>
      </p:sp>
      <p:cxnSp>
        <p:nvCxnSpPr>
          <p:cNvPr id="8" name="Gerade Verbindung mit Pfeil 7">
            <a:extLst>
              <a:ext uri="{FF2B5EF4-FFF2-40B4-BE49-F238E27FC236}">
                <a16:creationId xmlns:a16="http://schemas.microsoft.com/office/drawing/2014/main" id="{7F8FBB42-5E6F-494A-9FA9-D776E43B375D}"/>
              </a:ext>
            </a:extLst>
          </p:cNvPr>
          <p:cNvCxnSpPr>
            <a:cxnSpLocks/>
            <a:endCxn id="35" idx="0"/>
          </p:cNvCxnSpPr>
          <p:nvPr/>
        </p:nvCxnSpPr>
        <p:spPr>
          <a:xfrm>
            <a:off x="1184876" y="1555186"/>
            <a:ext cx="0" cy="274539"/>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0" name="Gerade Verbindung mit Pfeil 9">
            <a:extLst>
              <a:ext uri="{FF2B5EF4-FFF2-40B4-BE49-F238E27FC236}">
                <a16:creationId xmlns:a16="http://schemas.microsoft.com/office/drawing/2014/main" id="{3079ADE2-81AA-4647-AA7F-C4E7527E5280}"/>
              </a:ext>
            </a:extLst>
          </p:cNvPr>
          <p:cNvCxnSpPr>
            <a:cxnSpLocks/>
            <a:endCxn id="36" idx="0"/>
          </p:cNvCxnSpPr>
          <p:nvPr/>
        </p:nvCxnSpPr>
        <p:spPr>
          <a:xfrm>
            <a:off x="2863233" y="1550979"/>
            <a:ext cx="0" cy="28716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69" name="Gerade Verbindung mit Pfeil 68">
            <a:extLst>
              <a:ext uri="{FF2B5EF4-FFF2-40B4-BE49-F238E27FC236}">
                <a16:creationId xmlns:a16="http://schemas.microsoft.com/office/drawing/2014/main" id="{1B16878B-8423-441F-856F-52AE4DCDB29D}"/>
              </a:ext>
            </a:extLst>
          </p:cNvPr>
          <p:cNvCxnSpPr>
            <a:cxnSpLocks/>
          </p:cNvCxnSpPr>
          <p:nvPr/>
        </p:nvCxnSpPr>
        <p:spPr>
          <a:xfrm>
            <a:off x="1548144" y="2606501"/>
            <a:ext cx="0" cy="266124"/>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1" name="Gerade Verbindung mit Pfeil 70">
            <a:extLst>
              <a:ext uri="{FF2B5EF4-FFF2-40B4-BE49-F238E27FC236}">
                <a16:creationId xmlns:a16="http://schemas.microsoft.com/office/drawing/2014/main" id="{EB808EBE-B377-40AD-94B2-C1CD1E859C23}"/>
              </a:ext>
            </a:extLst>
          </p:cNvPr>
          <p:cNvCxnSpPr/>
          <p:nvPr/>
        </p:nvCxnSpPr>
        <p:spPr>
          <a:xfrm>
            <a:off x="2534971" y="2636056"/>
            <a:ext cx="0" cy="244984"/>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5" name="Gerade Verbindung mit Pfeil 74">
            <a:extLst>
              <a:ext uri="{FF2B5EF4-FFF2-40B4-BE49-F238E27FC236}">
                <a16:creationId xmlns:a16="http://schemas.microsoft.com/office/drawing/2014/main" id="{71D0F3A7-5FF8-4078-9F7D-F8BB0FEDE112}"/>
              </a:ext>
            </a:extLst>
          </p:cNvPr>
          <p:cNvCxnSpPr>
            <a:cxnSpLocks/>
            <a:stCxn id="37" idx="3"/>
            <a:endCxn id="38" idx="1"/>
          </p:cNvCxnSpPr>
          <p:nvPr/>
        </p:nvCxnSpPr>
        <p:spPr>
          <a:xfrm>
            <a:off x="2838206" y="3318604"/>
            <a:ext cx="371619"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7" name="Gerade Verbindung mit Pfeil 76">
            <a:extLst>
              <a:ext uri="{FF2B5EF4-FFF2-40B4-BE49-F238E27FC236}">
                <a16:creationId xmlns:a16="http://schemas.microsoft.com/office/drawing/2014/main" id="{3EA88A85-494A-4551-8527-12C496D561A3}"/>
              </a:ext>
            </a:extLst>
          </p:cNvPr>
          <p:cNvCxnSpPr>
            <a:cxnSpLocks/>
            <a:stCxn id="38" idx="2"/>
            <a:endCxn id="41" idx="0"/>
          </p:cNvCxnSpPr>
          <p:nvPr/>
        </p:nvCxnSpPr>
        <p:spPr>
          <a:xfrm flipH="1">
            <a:off x="4019824" y="3756168"/>
            <a:ext cx="1" cy="35894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9" name="Gerade Verbindung mit Pfeil 78">
            <a:extLst>
              <a:ext uri="{FF2B5EF4-FFF2-40B4-BE49-F238E27FC236}">
                <a16:creationId xmlns:a16="http://schemas.microsoft.com/office/drawing/2014/main" id="{EE89B85E-1B80-4056-9B33-499490C7AC53}"/>
              </a:ext>
            </a:extLst>
          </p:cNvPr>
          <p:cNvCxnSpPr>
            <a:cxnSpLocks/>
            <a:stCxn id="41" idx="3"/>
            <a:endCxn id="39" idx="1"/>
          </p:cNvCxnSpPr>
          <p:nvPr/>
        </p:nvCxnSpPr>
        <p:spPr>
          <a:xfrm>
            <a:off x="4829824" y="4466504"/>
            <a:ext cx="392907"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81" name="Gerade Verbindung mit Pfeil 80">
            <a:extLst>
              <a:ext uri="{FF2B5EF4-FFF2-40B4-BE49-F238E27FC236}">
                <a16:creationId xmlns:a16="http://schemas.microsoft.com/office/drawing/2014/main" id="{BD62FE4F-238A-4316-8DF4-8E2F26C7E1ED}"/>
              </a:ext>
            </a:extLst>
          </p:cNvPr>
          <p:cNvCxnSpPr>
            <a:cxnSpLocks/>
            <a:stCxn id="39" idx="0"/>
          </p:cNvCxnSpPr>
          <p:nvPr/>
        </p:nvCxnSpPr>
        <p:spPr>
          <a:xfrm flipH="1" flipV="1">
            <a:off x="6024969" y="3763728"/>
            <a:ext cx="7762" cy="35138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86" name="Textfeld 85">
            <a:extLst>
              <a:ext uri="{FF2B5EF4-FFF2-40B4-BE49-F238E27FC236}">
                <a16:creationId xmlns:a16="http://schemas.microsoft.com/office/drawing/2014/main" id="{BE02670F-8114-4463-936A-9D2672146D41}"/>
              </a:ext>
            </a:extLst>
          </p:cNvPr>
          <p:cNvSpPr txBox="1"/>
          <p:nvPr/>
        </p:nvSpPr>
        <p:spPr>
          <a:xfrm>
            <a:off x="5222731" y="3117396"/>
            <a:ext cx="1634256" cy="646331"/>
          </a:xfrm>
          <a:prstGeom prst="rect">
            <a:avLst/>
          </a:prstGeom>
          <a:noFill/>
        </p:spPr>
        <p:txBody>
          <a:bodyPr wrap="square" rtlCol="0">
            <a:spAutoFit/>
          </a:bodyPr>
          <a:lstStyle/>
          <a:p>
            <a:pPr algn="ctr"/>
            <a:r>
              <a:rPr lang="en-US" sz="1200">
                <a:solidFill>
                  <a:schemeClr val="bg1"/>
                </a:solidFill>
                <a:latin typeface="Arial" panose="020B0604020202020204" pitchFamily="34" charset="0"/>
                <a:cs typeface="Arial" panose="020B0604020202020204" pitchFamily="34" charset="0"/>
              </a:rPr>
              <a:t>Europe IT Consulting Web Service</a:t>
            </a:r>
          </a:p>
          <a:p>
            <a:pPr algn="ctr"/>
            <a:endParaRPr lang="en-US" sz="1200">
              <a:solidFill>
                <a:schemeClr val="bg1"/>
              </a:solidFill>
              <a:latin typeface="Arial" panose="020B0604020202020204" pitchFamily="34" charset="0"/>
              <a:cs typeface="Arial" panose="020B0604020202020204" pitchFamily="34" charset="0"/>
            </a:endParaRPr>
          </a:p>
        </p:txBody>
      </p:sp>
      <p:cxnSp>
        <p:nvCxnSpPr>
          <p:cNvPr id="104" name="Gerade Verbindung mit Pfeil 103">
            <a:extLst>
              <a:ext uri="{FF2B5EF4-FFF2-40B4-BE49-F238E27FC236}">
                <a16:creationId xmlns:a16="http://schemas.microsoft.com/office/drawing/2014/main" id="{98A2D59C-096A-46B5-8EBF-CAAECD1A9BCB}"/>
              </a:ext>
            </a:extLst>
          </p:cNvPr>
          <p:cNvCxnSpPr>
            <a:cxnSpLocks/>
            <a:stCxn id="40" idx="3"/>
            <a:endCxn id="43" idx="1"/>
          </p:cNvCxnSpPr>
          <p:nvPr/>
        </p:nvCxnSpPr>
        <p:spPr>
          <a:xfrm flipV="1">
            <a:off x="6842731" y="2830496"/>
            <a:ext cx="1689201" cy="1423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06" name="Verbinder: gewinkelt 105">
            <a:extLst>
              <a:ext uri="{FF2B5EF4-FFF2-40B4-BE49-F238E27FC236}">
                <a16:creationId xmlns:a16="http://schemas.microsoft.com/office/drawing/2014/main" id="{7F8C2BBE-4ED8-4524-9F9D-68F561918F36}"/>
              </a:ext>
            </a:extLst>
          </p:cNvPr>
          <p:cNvCxnSpPr>
            <a:cxnSpLocks/>
            <a:stCxn id="44" idx="3"/>
          </p:cNvCxnSpPr>
          <p:nvPr/>
        </p:nvCxnSpPr>
        <p:spPr>
          <a:xfrm flipV="1">
            <a:off x="6841830" y="2133831"/>
            <a:ext cx="1690102" cy="272664"/>
          </a:xfrm>
          <a:prstGeom prst="bentConnector3">
            <a:avLst>
              <a:gd name="adj1" fmla="val 19466"/>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08" name="Verbinder: gewinkelt 107">
            <a:extLst>
              <a:ext uri="{FF2B5EF4-FFF2-40B4-BE49-F238E27FC236}">
                <a16:creationId xmlns:a16="http://schemas.microsoft.com/office/drawing/2014/main" id="{ADDCFB2A-B92B-402C-8E9F-2C24F61DFD77}"/>
              </a:ext>
            </a:extLst>
          </p:cNvPr>
          <p:cNvCxnSpPr>
            <a:cxnSpLocks/>
          </p:cNvCxnSpPr>
          <p:nvPr/>
        </p:nvCxnSpPr>
        <p:spPr>
          <a:xfrm>
            <a:off x="6841830" y="3318604"/>
            <a:ext cx="1660625" cy="177230"/>
          </a:xfrm>
          <a:prstGeom prst="bentConnector3">
            <a:avLst>
              <a:gd name="adj1" fmla="val 21105"/>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53" name="Rechteck: abgerundete Ecken 52">
            <a:extLst>
              <a:ext uri="{FF2B5EF4-FFF2-40B4-BE49-F238E27FC236}">
                <a16:creationId xmlns:a16="http://schemas.microsoft.com/office/drawing/2014/main" id="{DC1BB485-83A3-4556-8949-E18D80FCAA63}"/>
              </a:ext>
            </a:extLst>
          </p:cNvPr>
          <p:cNvSpPr/>
          <p:nvPr/>
        </p:nvSpPr>
        <p:spPr>
          <a:xfrm>
            <a:off x="7385220" y="1940928"/>
            <a:ext cx="784325" cy="484748"/>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a:t>3rd Party</a:t>
            </a:r>
          </a:p>
        </p:txBody>
      </p:sp>
      <p:sp>
        <p:nvSpPr>
          <p:cNvPr id="46" name="Rechteck: abgerundete Ecken 45">
            <a:extLst>
              <a:ext uri="{FF2B5EF4-FFF2-40B4-BE49-F238E27FC236}">
                <a16:creationId xmlns:a16="http://schemas.microsoft.com/office/drawing/2014/main" id="{55F6C6E1-DD30-43DE-BD84-8F53864D115C}"/>
              </a:ext>
            </a:extLst>
          </p:cNvPr>
          <p:cNvSpPr/>
          <p:nvPr/>
        </p:nvSpPr>
        <p:spPr>
          <a:xfrm>
            <a:off x="7392257" y="3254377"/>
            <a:ext cx="784325" cy="484748"/>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err="1"/>
              <a:t>WebService</a:t>
            </a:r>
            <a:endParaRPr lang="de-DE" sz="800"/>
          </a:p>
          <a:p>
            <a:pPr algn="ctr"/>
            <a:r>
              <a:rPr lang="de-DE" sz="800"/>
              <a:t>(SSL</a:t>
            </a:r>
            <a:r>
              <a:rPr lang="de-DE" sz="900"/>
              <a:t>)</a:t>
            </a:r>
          </a:p>
        </p:txBody>
      </p:sp>
      <p:sp>
        <p:nvSpPr>
          <p:cNvPr id="48" name="Rechteck: abgerundete Ecken 47">
            <a:extLst>
              <a:ext uri="{FF2B5EF4-FFF2-40B4-BE49-F238E27FC236}">
                <a16:creationId xmlns:a16="http://schemas.microsoft.com/office/drawing/2014/main" id="{E166C7F1-E948-4DCE-95F4-24D33AEBBFBE}"/>
              </a:ext>
            </a:extLst>
          </p:cNvPr>
          <p:cNvSpPr/>
          <p:nvPr/>
        </p:nvSpPr>
        <p:spPr>
          <a:xfrm>
            <a:off x="7388977" y="2597194"/>
            <a:ext cx="784325" cy="484748"/>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err="1"/>
              <a:t>WebTrader</a:t>
            </a:r>
            <a:endParaRPr lang="de-DE" sz="800"/>
          </a:p>
        </p:txBody>
      </p:sp>
    </p:spTree>
    <p:extLst>
      <p:ext uri="{BB962C8B-B14F-4D97-AF65-F5344CB8AC3E}">
        <p14:creationId xmlns:p14="http://schemas.microsoft.com/office/powerpoint/2010/main" val="333216858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Inhaltsplatzhalter 6">
            <a:extLst>
              <a:ext uri="{FF2B5EF4-FFF2-40B4-BE49-F238E27FC236}">
                <a16:creationId xmlns:a16="http://schemas.microsoft.com/office/drawing/2014/main" id="{12A9DCD9-595D-4D3C-8D8E-DC2168A33E8C}"/>
              </a:ext>
            </a:extLst>
          </p:cNvPr>
          <p:cNvSpPr>
            <a:spLocks noGrp="1"/>
          </p:cNvSpPr>
          <p:nvPr>
            <p:ph sz="quarter" idx="19"/>
          </p:nvPr>
        </p:nvSpPr>
        <p:spPr>
          <a:xfrm>
            <a:off x="222610" y="1203598"/>
            <a:ext cx="8297935" cy="1059378"/>
          </a:xfrm>
        </p:spPr>
        <p:txBody>
          <a:bodyPr/>
          <a:lstStyle/>
          <a:p>
            <a:pPr>
              <a:buFont typeface="Arial" panose="020B0604020202020204" pitchFamily="34" charset="0"/>
              <a:buChar char="•"/>
            </a:pPr>
            <a:r>
              <a:rPr lang="en-US"/>
              <a:t>Data sets must be released at Basic UDI-DI and UDI-DI level so that data transfer can take place. </a:t>
            </a:r>
          </a:p>
          <a:p>
            <a:pPr>
              <a:buFont typeface="Arial" panose="020B0604020202020204" pitchFamily="34" charset="0"/>
              <a:buChar char="•"/>
            </a:pPr>
            <a:r>
              <a:rPr lang="en-US"/>
              <a:t>The release can be made for an individual material as well as in the overview (for several materials). </a:t>
            </a:r>
            <a:endParaRPr lang="de-CH"/>
          </a:p>
        </p:txBody>
      </p:sp>
      <p:sp>
        <p:nvSpPr>
          <p:cNvPr id="13" name="Textplatzhalter 5">
            <a:extLst>
              <a:ext uri="{FF2B5EF4-FFF2-40B4-BE49-F238E27FC236}">
                <a16:creationId xmlns:a16="http://schemas.microsoft.com/office/drawing/2014/main" id="{1D6BA5CB-3E32-423C-A37A-4BA6869FDDE7}"/>
              </a:ext>
            </a:extLst>
          </p:cNvPr>
          <p:cNvSpPr>
            <a:spLocks noGrp="1"/>
          </p:cNvSpPr>
          <p:nvPr>
            <p:ph type="body" sz="quarter" idx="18"/>
          </p:nvPr>
        </p:nvSpPr>
        <p:spPr>
          <a:xfrm>
            <a:off x="219267" y="794161"/>
            <a:ext cx="8600883" cy="330544"/>
          </a:xfrm>
        </p:spPr>
        <p:txBody>
          <a:bodyPr>
            <a:normAutofit/>
          </a:bodyPr>
          <a:lstStyle/>
          <a:p>
            <a:r>
              <a:rPr lang="de-DE"/>
              <a:t>2.7 </a:t>
            </a:r>
            <a:r>
              <a:rPr lang="en-US"/>
              <a:t>Data release</a:t>
            </a:r>
          </a:p>
          <a:p>
            <a:endParaRPr lang="en-US"/>
          </a:p>
          <a:p>
            <a:endParaRPr lang="de-DE"/>
          </a:p>
          <a:p>
            <a:endParaRPr lang="de-DE"/>
          </a:p>
        </p:txBody>
      </p:sp>
      <p:sp>
        <p:nvSpPr>
          <p:cNvPr id="14" name="Titel 2">
            <a:extLst>
              <a:ext uri="{FF2B5EF4-FFF2-40B4-BE49-F238E27FC236}">
                <a16:creationId xmlns:a16="http://schemas.microsoft.com/office/drawing/2014/main" id="{3BDDBE18-6608-4F3C-AC0F-E791FCB0EA1E}"/>
              </a:ext>
            </a:extLst>
          </p:cNvPr>
          <p:cNvSpPr>
            <a:spLocks noGrp="1"/>
          </p:cNvSpPr>
          <p:nvPr>
            <p:ph type="title"/>
          </p:nvPr>
        </p:nvSpPr>
        <p:spPr>
          <a:xfrm>
            <a:off x="269393" y="78770"/>
            <a:ext cx="7907189" cy="330545"/>
          </a:xfrm>
        </p:spPr>
        <p:txBody>
          <a:bodyPr>
            <a:normAutofit fontScale="90000"/>
          </a:bodyPr>
          <a:lstStyle/>
          <a:p>
            <a:r>
              <a:rPr lang="de-DE"/>
              <a:t>2. </a:t>
            </a:r>
            <a:r>
              <a:rPr lang="en-US"/>
              <a:t>W</a:t>
            </a:r>
            <a:r>
              <a:rPr lang="en-US" sz="1800" b="1"/>
              <a:t>ork processes from the database to data transmission </a:t>
            </a:r>
            <a:endParaRPr lang="de-DE"/>
          </a:p>
        </p:txBody>
      </p:sp>
      <p:pic>
        <p:nvPicPr>
          <p:cNvPr id="4" name="Grafik 3">
            <a:extLst>
              <a:ext uri="{FF2B5EF4-FFF2-40B4-BE49-F238E27FC236}">
                <a16:creationId xmlns:a16="http://schemas.microsoft.com/office/drawing/2014/main" id="{11250243-31A2-4178-8F63-988D2A804228}"/>
              </a:ext>
            </a:extLst>
          </p:cNvPr>
          <p:cNvPicPr>
            <a:picLocks noChangeAspect="1"/>
          </p:cNvPicPr>
          <p:nvPr/>
        </p:nvPicPr>
        <p:blipFill>
          <a:blip r:embed="rId2"/>
          <a:stretch>
            <a:fillRect/>
          </a:stretch>
        </p:blipFill>
        <p:spPr>
          <a:xfrm>
            <a:off x="466126" y="2466935"/>
            <a:ext cx="3905451" cy="1371670"/>
          </a:xfrm>
          <a:prstGeom prst="rect">
            <a:avLst/>
          </a:prstGeom>
          <a:ln w="19050">
            <a:solidFill>
              <a:srgbClr val="2F5597"/>
            </a:solidFill>
          </a:ln>
          <a:effectLst/>
        </p:spPr>
      </p:pic>
      <p:pic>
        <p:nvPicPr>
          <p:cNvPr id="6" name="Grafik 5">
            <a:extLst>
              <a:ext uri="{FF2B5EF4-FFF2-40B4-BE49-F238E27FC236}">
                <a16:creationId xmlns:a16="http://schemas.microsoft.com/office/drawing/2014/main" id="{1101241C-2C5C-4117-A58A-244FB24E9D7B}"/>
              </a:ext>
            </a:extLst>
          </p:cNvPr>
          <p:cNvPicPr>
            <a:picLocks noChangeAspect="1"/>
          </p:cNvPicPr>
          <p:nvPr/>
        </p:nvPicPr>
        <p:blipFill>
          <a:blip r:embed="rId3"/>
          <a:stretch>
            <a:fillRect/>
          </a:stretch>
        </p:blipFill>
        <p:spPr>
          <a:xfrm>
            <a:off x="4510959" y="2441717"/>
            <a:ext cx="4009586" cy="1396888"/>
          </a:xfrm>
          <a:prstGeom prst="rect">
            <a:avLst/>
          </a:prstGeom>
          <a:ln w="19050">
            <a:solidFill>
              <a:srgbClr val="2F5597"/>
            </a:solidFill>
          </a:ln>
          <a:effectLst/>
        </p:spPr>
      </p:pic>
    </p:spTree>
    <p:extLst>
      <p:ext uri="{BB962C8B-B14F-4D97-AF65-F5344CB8AC3E}">
        <p14:creationId xmlns:p14="http://schemas.microsoft.com/office/powerpoint/2010/main" val="367573129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D6EE0416-3A77-4210-ADDB-689152B091F2}"/>
              </a:ext>
            </a:extLst>
          </p:cNvPr>
          <p:cNvPicPr>
            <a:picLocks noChangeAspect="1"/>
          </p:cNvPicPr>
          <p:nvPr/>
        </p:nvPicPr>
        <p:blipFill>
          <a:blip r:embed="rId2"/>
          <a:stretch>
            <a:fillRect/>
          </a:stretch>
        </p:blipFill>
        <p:spPr>
          <a:xfrm>
            <a:off x="3943817" y="863276"/>
            <a:ext cx="4172164" cy="3689540"/>
          </a:xfrm>
          <a:prstGeom prst="rect">
            <a:avLst/>
          </a:prstGeom>
          <a:ln w="19050">
            <a:solidFill>
              <a:srgbClr val="2F5597"/>
            </a:solidFill>
          </a:ln>
          <a:effectLst/>
        </p:spPr>
      </p:pic>
      <p:sp>
        <p:nvSpPr>
          <p:cNvPr id="4" name="Inhaltsplatzhalter 6">
            <a:extLst>
              <a:ext uri="{FF2B5EF4-FFF2-40B4-BE49-F238E27FC236}">
                <a16:creationId xmlns:a16="http://schemas.microsoft.com/office/drawing/2014/main" id="{C481A0CD-49C9-4BF9-B570-4A41BC1B88B5}"/>
              </a:ext>
            </a:extLst>
          </p:cNvPr>
          <p:cNvSpPr>
            <a:spLocks noGrp="1"/>
          </p:cNvSpPr>
          <p:nvPr>
            <p:ph sz="quarter" idx="19"/>
          </p:nvPr>
        </p:nvSpPr>
        <p:spPr>
          <a:xfrm>
            <a:off x="222610" y="1203598"/>
            <a:ext cx="4963001" cy="305953"/>
          </a:xfrm>
        </p:spPr>
        <p:txBody>
          <a:bodyPr/>
          <a:lstStyle/>
          <a:p>
            <a:pPr marL="0" indent="0">
              <a:buNone/>
            </a:pPr>
            <a:r>
              <a:rPr lang="en-US"/>
              <a:t>Release via the UDI master data overview</a:t>
            </a:r>
          </a:p>
        </p:txBody>
      </p:sp>
      <p:sp>
        <p:nvSpPr>
          <p:cNvPr id="17" name="Textplatzhalter 5">
            <a:extLst>
              <a:ext uri="{FF2B5EF4-FFF2-40B4-BE49-F238E27FC236}">
                <a16:creationId xmlns:a16="http://schemas.microsoft.com/office/drawing/2014/main" id="{7187C5AA-9011-4E11-BAC7-445DD1C2DE3C}"/>
              </a:ext>
            </a:extLst>
          </p:cNvPr>
          <p:cNvSpPr>
            <a:spLocks noGrp="1"/>
          </p:cNvSpPr>
          <p:nvPr>
            <p:ph type="body" sz="quarter" idx="18"/>
          </p:nvPr>
        </p:nvSpPr>
        <p:spPr>
          <a:xfrm>
            <a:off x="219267" y="794161"/>
            <a:ext cx="8600883" cy="330544"/>
          </a:xfrm>
        </p:spPr>
        <p:txBody>
          <a:bodyPr>
            <a:normAutofit/>
          </a:bodyPr>
          <a:lstStyle/>
          <a:p>
            <a:r>
              <a:rPr lang="de-DE"/>
              <a:t>2.7 </a:t>
            </a:r>
            <a:r>
              <a:rPr lang="en-US"/>
              <a:t>Data release</a:t>
            </a:r>
          </a:p>
          <a:p>
            <a:endParaRPr lang="en-US"/>
          </a:p>
          <a:p>
            <a:endParaRPr lang="de-DE"/>
          </a:p>
          <a:p>
            <a:endParaRPr lang="de-DE"/>
          </a:p>
        </p:txBody>
      </p:sp>
      <p:sp>
        <p:nvSpPr>
          <p:cNvPr id="18" name="Titel 2">
            <a:extLst>
              <a:ext uri="{FF2B5EF4-FFF2-40B4-BE49-F238E27FC236}">
                <a16:creationId xmlns:a16="http://schemas.microsoft.com/office/drawing/2014/main" id="{625BB035-EB6E-4374-95A0-188182D854A0}"/>
              </a:ext>
            </a:extLst>
          </p:cNvPr>
          <p:cNvSpPr>
            <a:spLocks noGrp="1"/>
          </p:cNvSpPr>
          <p:nvPr>
            <p:ph type="title"/>
          </p:nvPr>
        </p:nvSpPr>
        <p:spPr>
          <a:xfrm>
            <a:off x="269393" y="78770"/>
            <a:ext cx="7907189" cy="330545"/>
          </a:xfrm>
        </p:spPr>
        <p:txBody>
          <a:bodyPr>
            <a:normAutofit fontScale="90000"/>
          </a:bodyPr>
          <a:lstStyle/>
          <a:p>
            <a:r>
              <a:rPr lang="de-DE"/>
              <a:t>2. </a:t>
            </a:r>
            <a:r>
              <a:rPr lang="en-US"/>
              <a:t>W</a:t>
            </a:r>
            <a:r>
              <a:rPr lang="en-US" sz="1800" b="1"/>
              <a:t>ork processes from the database to data transmission </a:t>
            </a:r>
            <a:endParaRPr lang="de-DE"/>
          </a:p>
        </p:txBody>
      </p:sp>
      <p:sp>
        <p:nvSpPr>
          <p:cNvPr id="22" name="Rechteck 21">
            <a:extLst>
              <a:ext uri="{FF2B5EF4-FFF2-40B4-BE49-F238E27FC236}">
                <a16:creationId xmlns:a16="http://schemas.microsoft.com/office/drawing/2014/main" id="{6DF8D629-6263-44AA-8AB0-4C2EF56E1D77}"/>
              </a:ext>
            </a:extLst>
          </p:cNvPr>
          <p:cNvSpPr/>
          <p:nvPr/>
        </p:nvSpPr>
        <p:spPr>
          <a:xfrm>
            <a:off x="5366794" y="1469380"/>
            <a:ext cx="874349" cy="162392"/>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3" name="Rechteck 22">
            <a:extLst>
              <a:ext uri="{FF2B5EF4-FFF2-40B4-BE49-F238E27FC236}">
                <a16:creationId xmlns:a16="http://schemas.microsoft.com/office/drawing/2014/main" id="{3ED9F339-DB99-4B99-8B5C-E66BEC409649}"/>
              </a:ext>
            </a:extLst>
          </p:cNvPr>
          <p:cNvSpPr/>
          <p:nvPr/>
        </p:nvSpPr>
        <p:spPr>
          <a:xfrm>
            <a:off x="3984766" y="1081377"/>
            <a:ext cx="159064" cy="171122"/>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4" name="Rechteck 23">
            <a:extLst>
              <a:ext uri="{FF2B5EF4-FFF2-40B4-BE49-F238E27FC236}">
                <a16:creationId xmlns:a16="http://schemas.microsoft.com/office/drawing/2014/main" id="{FFDE4383-F008-4D5D-A77B-000B170DD669}"/>
              </a:ext>
            </a:extLst>
          </p:cNvPr>
          <p:cNvSpPr/>
          <p:nvPr/>
        </p:nvSpPr>
        <p:spPr>
          <a:xfrm>
            <a:off x="5479142" y="1861706"/>
            <a:ext cx="820057" cy="162392"/>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1" name="Ellipse 10">
            <a:extLst>
              <a:ext uri="{FF2B5EF4-FFF2-40B4-BE49-F238E27FC236}">
                <a16:creationId xmlns:a16="http://schemas.microsoft.com/office/drawing/2014/main" id="{2215C285-AE57-4CBC-8270-C8031446C5C4}"/>
              </a:ext>
            </a:extLst>
          </p:cNvPr>
          <p:cNvSpPr/>
          <p:nvPr/>
        </p:nvSpPr>
        <p:spPr>
          <a:xfrm>
            <a:off x="4325583" y="1083300"/>
            <a:ext cx="196616" cy="193134"/>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a:t>3</a:t>
            </a:r>
            <a:endParaRPr lang="en-US" sz="1000"/>
          </a:p>
        </p:txBody>
      </p:sp>
      <p:sp>
        <p:nvSpPr>
          <p:cNvPr id="12" name="Ellipse 11">
            <a:extLst>
              <a:ext uri="{FF2B5EF4-FFF2-40B4-BE49-F238E27FC236}">
                <a16:creationId xmlns:a16="http://schemas.microsoft.com/office/drawing/2014/main" id="{B2577342-5197-463B-B5A5-2977A0169F18}"/>
              </a:ext>
            </a:extLst>
          </p:cNvPr>
          <p:cNvSpPr/>
          <p:nvPr/>
        </p:nvSpPr>
        <p:spPr>
          <a:xfrm>
            <a:off x="6299199" y="1438638"/>
            <a:ext cx="196616" cy="193134"/>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a:t>2</a:t>
            </a:r>
            <a:endParaRPr lang="en-US" sz="1000"/>
          </a:p>
        </p:txBody>
      </p:sp>
      <p:sp>
        <p:nvSpPr>
          <p:cNvPr id="13" name="Ellipse 12">
            <a:extLst>
              <a:ext uri="{FF2B5EF4-FFF2-40B4-BE49-F238E27FC236}">
                <a16:creationId xmlns:a16="http://schemas.microsoft.com/office/drawing/2014/main" id="{055DEF0D-9924-40B5-B6FF-2AA8DA9909BE}"/>
              </a:ext>
            </a:extLst>
          </p:cNvPr>
          <p:cNvSpPr/>
          <p:nvPr/>
        </p:nvSpPr>
        <p:spPr>
          <a:xfrm>
            <a:off x="6356360" y="1830964"/>
            <a:ext cx="196616" cy="193134"/>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a:t>1</a:t>
            </a:r>
            <a:endParaRPr lang="en-US" sz="1000"/>
          </a:p>
        </p:txBody>
      </p:sp>
      <p:pic>
        <p:nvPicPr>
          <p:cNvPr id="15" name="Grafik 14">
            <a:extLst>
              <a:ext uri="{FF2B5EF4-FFF2-40B4-BE49-F238E27FC236}">
                <a16:creationId xmlns:a16="http://schemas.microsoft.com/office/drawing/2014/main" id="{7E8EAE23-4DB1-4BA8-B20F-9979159198B4}"/>
              </a:ext>
            </a:extLst>
          </p:cNvPr>
          <p:cNvPicPr>
            <a:picLocks noChangeAspect="1"/>
          </p:cNvPicPr>
          <p:nvPr/>
        </p:nvPicPr>
        <p:blipFill>
          <a:blip r:embed="rId3"/>
          <a:stretch>
            <a:fillRect/>
          </a:stretch>
        </p:blipFill>
        <p:spPr>
          <a:xfrm>
            <a:off x="269393" y="1631772"/>
            <a:ext cx="3221293" cy="1122257"/>
          </a:xfrm>
          <a:prstGeom prst="rect">
            <a:avLst/>
          </a:prstGeom>
          <a:ln w="19050">
            <a:solidFill>
              <a:srgbClr val="2F5597"/>
            </a:solidFill>
          </a:ln>
          <a:effectLst/>
        </p:spPr>
      </p:pic>
    </p:spTree>
    <p:extLst>
      <p:ext uri="{BB962C8B-B14F-4D97-AF65-F5344CB8AC3E}">
        <p14:creationId xmlns:p14="http://schemas.microsoft.com/office/powerpoint/2010/main" val="26461042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3" grpId="0" animBg="1"/>
      <p:bldP spid="24" grpId="0" animBg="1"/>
      <p:bldP spid="11" grpId="0" animBg="1"/>
      <p:bldP spid="12" grpId="0" animBg="1"/>
      <p:bldP spid="13"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6">
            <a:extLst>
              <a:ext uri="{FF2B5EF4-FFF2-40B4-BE49-F238E27FC236}">
                <a16:creationId xmlns:a16="http://schemas.microsoft.com/office/drawing/2014/main" id="{C481A0CD-49C9-4BF9-B570-4A41BC1B88B5}"/>
              </a:ext>
            </a:extLst>
          </p:cNvPr>
          <p:cNvSpPr>
            <a:spLocks noGrp="1"/>
          </p:cNvSpPr>
          <p:nvPr>
            <p:ph sz="quarter" idx="19"/>
          </p:nvPr>
        </p:nvSpPr>
        <p:spPr>
          <a:xfrm>
            <a:off x="222610" y="1203598"/>
            <a:ext cx="6114021" cy="321303"/>
          </a:xfrm>
        </p:spPr>
        <p:txBody>
          <a:bodyPr>
            <a:normAutofit fontScale="25000" lnSpcReduction="20000"/>
          </a:bodyPr>
          <a:lstStyle/>
          <a:p>
            <a:pPr marL="0" indent="0">
              <a:buNone/>
            </a:pPr>
            <a:r>
              <a:rPr lang="en-US" sz="4000"/>
              <a:t>If the parameter “LOCK_AFTER_RELEASE” is set in Application Settings, trigger fields are locked automatically after all releases have been set.</a:t>
            </a:r>
            <a:endParaRPr lang="en-US" sz="4000">
              <a:solidFill>
                <a:srgbClr val="FF0000"/>
              </a:solidFill>
            </a:endParaRPr>
          </a:p>
          <a:p>
            <a:pPr marL="0" indent="0">
              <a:buNone/>
            </a:pPr>
            <a:endParaRPr lang="en-US">
              <a:solidFill>
                <a:srgbClr val="FF0000"/>
              </a:solidFill>
            </a:endParaRPr>
          </a:p>
        </p:txBody>
      </p:sp>
      <p:sp>
        <p:nvSpPr>
          <p:cNvPr id="22" name="Textplatzhalter 5">
            <a:extLst>
              <a:ext uri="{FF2B5EF4-FFF2-40B4-BE49-F238E27FC236}">
                <a16:creationId xmlns:a16="http://schemas.microsoft.com/office/drawing/2014/main" id="{B0F3FCF4-D2C9-423B-940B-A57FC1DDCBB5}"/>
              </a:ext>
            </a:extLst>
          </p:cNvPr>
          <p:cNvSpPr>
            <a:spLocks noGrp="1"/>
          </p:cNvSpPr>
          <p:nvPr>
            <p:ph type="body" sz="quarter" idx="18"/>
          </p:nvPr>
        </p:nvSpPr>
        <p:spPr>
          <a:xfrm>
            <a:off x="219267" y="794161"/>
            <a:ext cx="8600883" cy="330544"/>
          </a:xfrm>
        </p:spPr>
        <p:txBody>
          <a:bodyPr>
            <a:normAutofit/>
          </a:bodyPr>
          <a:lstStyle/>
          <a:p>
            <a:r>
              <a:rPr lang="de-DE"/>
              <a:t>2.7 </a:t>
            </a:r>
            <a:r>
              <a:rPr lang="en-US"/>
              <a:t>Data release</a:t>
            </a:r>
          </a:p>
          <a:p>
            <a:endParaRPr lang="en-US"/>
          </a:p>
          <a:p>
            <a:endParaRPr lang="de-DE"/>
          </a:p>
          <a:p>
            <a:endParaRPr lang="de-DE"/>
          </a:p>
        </p:txBody>
      </p:sp>
      <p:sp>
        <p:nvSpPr>
          <p:cNvPr id="23" name="Titel 2">
            <a:extLst>
              <a:ext uri="{FF2B5EF4-FFF2-40B4-BE49-F238E27FC236}">
                <a16:creationId xmlns:a16="http://schemas.microsoft.com/office/drawing/2014/main" id="{04FDB288-C602-4733-946A-10704DC150EE}"/>
              </a:ext>
            </a:extLst>
          </p:cNvPr>
          <p:cNvSpPr>
            <a:spLocks noGrp="1"/>
          </p:cNvSpPr>
          <p:nvPr>
            <p:ph type="title"/>
          </p:nvPr>
        </p:nvSpPr>
        <p:spPr>
          <a:xfrm>
            <a:off x="269393" y="78770"/>
            <a:ext cx="7907189" cy="330545"/>
          </a:xfrm>
        </p:spPr>
        <p:txBody>
          <a:bodyPr>
            <a:normAutofit fontScale="90000"/>
          </a:bodyPr>
          <a:lstStyle/>
          <a:p>
            <a:r>
              <a:rPr lang="de-DE"/>
              <a:t>2. </a:t>
            </a:r>
            <a:r>
              <a:rPr lang="en-US"/>
              <a:t>W</a:t>
            </a:r>
            <a:r>
              <a:rPr lang="en-US" sz="1800" b="1"/>
              <a:t>ork processes from the database to data transmission </a:t>
            </a:r>
            <a:endParaRPr lang="de-DE"/>
          </a:p>
        </p:txBody>
      </p:sp>
      <p:pic>
        <p:nvPicPr>
          <p:cNvPr id="3" name="Grafik 2">
            <a:extLst>
              <a:ext uri="{FF2B5EF4-FFF2-40B4-BE49-F238E27FC236}">
                <a16:creationId xmlns:a16="http://schemas.microsoft.com/office/drawing/2014/main" id="{E277CEEF-F31E-4BE0-B096-B058D07A0A31}"/>
              </a:ext>
            </a:extLst>
          </p:cNvPr>
          <p:cNvPicPr>
            <a:picLocks noChangeAspect="1"/>
          </p:cNvPicPr>
          <p:nvPr/>
        </p:nvPicPr>
        <p:blipFill rotWithShape="1">
          <a:blip r:embed="rId2"/>
          <a:srcRect b="2239"/>
          <a:stretch/>
        </p:blipFill>
        <p:spPr>
          <a:xfrm>
            <a:off x="269393" y="1601284"/>
            <a:ext cx="6579067" cy="2557060"/>
          </a:xfrm>
          <a:prstGeom prst="rect">
            <a:avLst/>
          </a:prstGeom>
          <a:ln w="19050">
            <a:solidFill>
              <a:srgbClr val="2F5597"/>
            </a:solidFill>
          </a:ln>
          <a:effectLst/>
        </p:spPr>
      </p:pic>
      <p:sp>
        <p:nvSpPr>
          <p:cNvPr id="25" name="Rechteck 24">
            <a:extLst>
              <a:ext uri="{FF2B5EF4-FFF2-40B4-BE49-F238E27FC236}">
                <a16:creationId xmlns:a16="http://schemas.microsoft.com/office/drawing/2014/main" id="{DF8D5315-8324-4142-B94B-565394CDFF87}"/>
              </a:ext>
            </a:extLst>
          </p:cNvPr>
          <p:cNvSpPr/>
          <p:nvPr/>
        </p:nvSpPr>
        <p:spPr>
          <a:xfrm>
            <a:off x="1995714" y="1836057"/>
            <a:ext cx="667657" cy="18142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19" name="Grafik 18">
            <a:extLst>
              <a:ext uri="{FF2B5EF4-FFF2-40B4-BE49-F238E27FC236}">
                <a16:creationId xmlns:a16="http://schemas.microsoft.com/office/drawing/2014/main" id="{F06EA5BF-9CA2-40EC-BBF5-DA05D8CA203A}"/>
              </a:ext>
            </a:extLst>
          </p:cNvPr>
          <p:cNvPicPr>
            <a:picLocks noChangeAspect="1"/>
          </p:cNvPicPr>
          <p:nvPr/>
        </p:nvPicPr>
        <p:blipFill>
          <a:blip r:embed="rId3"/>
          <a:stretch>
            <a:fillRect/>
          </a:stretch>
        </p:blipFill>
        <p:spPr>
          <a:xfrm>
            <a:off x="269392" y="1602389"/>
            <a:ext cx="6579067" cy="2554849"/>
          </a:xfrm>
          <a:prstGeom prst="rect">
            <a:avLst/>
          </a:prstGeom>
          <a:ln w="19050">
            <a:solidFill>
              <a:srgbClr val="2F5597"/>
            </a:solidFill>
          </a:ln>
          <a:effectLst/>
        </p:spPr>
      </p:pic>
      <p:sp>
        <p:nvSpPr>
          <p:cNvPr id="28" name="Rechteck 27">
            <a:extLst>
              <a:ext uri="{FF2B5EF4-FFF2-40B4-BE49-F238E27FC236}">
                <a16:creationId xmlns:a16="http://schemas.microsoft.com/office/drawing/2014/main" id="{A0F23B50-5B74-4DB8-B32D-5389AAD78197}"/>
              </a:ext>
            </a:extLst>
          </p:cNvPr>
          <p:cNvSpPr/>
          <p:nvPr/>
        </p:nvSpPr>
        <p:spPr>
          <a:xfrm>
            <a:off x="3417445" y="1821543"/>
            <a:ext cx="465127" cy="18142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8" name="Grafik 7">
            <a:extLst>
              <a:ext uri="{FF2B5EF4-FFF2-40B4-BE49-F238E27FC236}">
                <a16:creationId xmlns:a16="http://schemas.microsoft.com/office/drawing/2014/main" id="{0E252579-DAF6-4D37-99EC-F9EE2287E59E}"/>
              </a:ext>
            </a:extLst>
          </p:cNvPr>
          <p:cNvPicPr>
            <a:picLocks noChangeAspect="1"/>
          </p:cNvPicPr>
          <p:nvPr/>
        </p:nvPicPr>
        <p:blipFill>
          <a:blip r:embed="rId4"/>
          <a:stretch>
            <a:fillRect/>
          </a:stretch>
        </p:blipFill>
        <p:spPr>
          <a:xfrm>
            <a:off x="1585680" y="2096379"/>
            <a:ext cx="3162463" cy="1225613"/>
          </a:xfrm>
          <a:prstGeom prst="rect">
            <a:avLst/>
          </a:prstGeom>
          <a:ln w="19050">
            <a:solidFill>
              <a:srgbClr val="2F5597"/>
            </a:solidFill>
          </a:ln>
          <a:effectLst/>
        </p:spPr>
      </p:pic>
      <p:pic>
        <p:nvPicPr>
          <p:cNvPr id="10" name="Grafik 9">
            <a:extLst>
              <a:ext uri="{FF2B5EF4-FFF2-40B4-BE49-F238E27FC236}">
                <a16:creationId xmlns:a16="http://schemas.microsoft.com/office/drawing/2014/main" id="{C0237323-CC59-4A7C-B584-6C0C7158CBDC}"/>
              </a:ext>
            </a:extLst>
          </p:cNvPr>
          <p:cNvPicPr>
            <a:picLocks noChangeAspect="1"/>
          </p:cNvPicPr>
          <p:nvPr/>
        </p:nvPicPr>
        <p:blipFill rotWithShape="1">
          <a:blip r:embed="rId5"/>
          <a:srcRect/>
          <a:stretch/>
        </p:blipFill>
        <p:spPr>
          <a:xfrm>
            <a:off x="1585679" y="2078249"/>
            <a:ext cx="3209247" cy="1243744"/>
          </a:xfrm>
          <a:prstGeom prst="rect">
            <a:avLst/>
          </a:prstGeom>
        </p:spPr>
      </p:pic>
      <p:sp>
        <p:nvSpPr>
          <p:cNvPr id="32" name="Rechteck 31">
            <a:extLst>
              <a:ext uri="{FF2B5EF4-FFF2-40B4-BE49-F238E27FC236}">
                <a16:creationId xmlns:a16="http://schemas.microsoft.com/office/drawing/2014/main" id="{7B5074F2-7116-42E4-A787-C99DD8340F99}"/>
              </a:ext>
            </a:extLst>
          </p:cNvPr>
          <p:cNvSpPr/>
          <p:nvPr/>
        </p:nvSpPr>
        <p:spPr>
          <a:xfrm>
            <a:off x="4441371" y="3113314"/>
            <a:ext cx="130628" cy="13788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12" name="Grafik 11">
            <a:extLst>
              <a:ext uri="{FF2B5EF4-FFF2-40B4-BE49-F238E27FC236}">
                <a16:creationId xmlns:a16="http://schemas.microsoft.com/office/drawing/2014/main" id="{43DE890C-642F-4851-8400-795D4E588A30}"/>
              </a:ext>
            </a:extLst>
          </p:cNvPr>
          <p:cNvPicPr>
            <a:picLocks noChangeAspect="1"/>
          </p:cNvPicPr>
          <p:nvPr/>
        </p:nvPicPr>
        <p:blipFill>
          <a:blip r:embed="rId6"/>
          <a:stretch>
            <a:fillRect/>
          </a:stretch>
        </p:blipFill>
        <p:spPr>
          <a:xfrm>
            <a:off x="245009" y="1600178"/>
            <a:ext cx="6691310" cy="2557060"/>
          </a:xfrm>
          <a:prstGeom prst="rect">
            <a:avLst/>
          </a:prstGeom>
          <a:ln w="19050">
            <a:solidFill>
              <a:srgbClr val="2F5597"/>
            </a:solidFill>
          </a:ln>
          <a:effectLst/>
        </p:spPr>
      </p:pic>
      <p:sp>
        <p:nvSpPr>
          <p:cNvPr id="27" name="Rechteck 26">
            <a:extLst>
              <a:ext uri="{FF2B5EF4-FFF2-40B4-BE49-F238E27FC236}">
                <a16:creationId xmlns:a16="http://schemas.microsoft.com/office/drawing/2014/main" id="{AFB4DBE5-93F7-42EE-A490-9AD4D403CB8C}"/>
              </a:ext>
            </a:extLst>
          </p:cNvPr>
          <p:cNvSpPr/>
          <p:nvPr/>
        </p:nvSpPr>
        <p:spPr>
          <a:xfrm>
            <a:off x="627907" y="1984333"/>
            <a:ext cx="1099294" cy="2172905"/>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34" name="Rechteck 33">
            <a:extLst>
              <a:ext uri="{FF2B5EF4-FFF2-40B4-BE49-F238E27FC236}">
                <a16:creationId xmlns:a16="http://schemas.microsoft.com/office/drawing/2014/main" id="{4070BD7A-3353-4266-A956-8A96C7B8AE60}"/>
              </a:ext>
            </a:extLst>
          </p:cNvPr>
          <p:cNvSpPr/>
          <p:nvPr/>
        </p:nvSpPr>
        <p:spPr>
          <a:xfrm>
            <a:off x="3882572" y="1980209"/>
            <a:ext cx="395694" cy="2172905"/>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30" name="Rechteck 29">
            <a:extLst>
              <a:ext uri="{FF2B5EF4-FFF2-40B4-BE49-F238E27FC236}">
                <a16:creationId xmlns:a16="http://schemas.microsoft.com/office/drawing/2014/main" id="{F7850059-9D21-4065-B0C9-C3D789FA7A64}"/>
              </a:ext>
            </a:extLst>
          </p:cNvPr>
          <p:cNvSpPr/>
          <p:nvPr/>
        </p:nvSpPr>
        <p:spPr>
          <a:xfrm>
            <a:off x="4506684" y="1828799"/>
            <a:ext cx="878115" cy="15140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14" name="Grafik 13">
            <a:extLst>
              <a:ext uri="{FF2B5EF4-FFF2-40B4-BE49-F238E27FC236}">
                <a16:creationId xmlns:a16="http://schemas.microsoft.com/office/drawing/2014/main" id="{C4A1C44A-7F86-4F16-B91B-9F7EF6A657E6}"/>
              </a:ext>
            </a:extLst>
          </p:cNvPr>
          <p:cNvPicPr>
            <a:picLocks noChangeAspect="1"/>
          </p:cNvPicPr>
          <p:nvPr/>
        </p:nvPicPr>
        <p:blipFill>
          <a:blip r:embed="rId7"/>
          <a:stretch>
            <a:fillRect/>
          </a:stretch>
        </p:blipFill>
        <p:spPr>
          <a:xfrm>
            <a:off x="245009" y="1593466"/>
            <a:ext cx="6691310" cy="2570483"/>
          </a:xfrm>
          <a:prstGeom prst="rect">
            <a:avLst/>
          </a:prstGeom>
          <a:ln w="19050">
            <a:solidFill>
              <a:srgbClr val="2F5597"/>
            </a:solidFill>
          </a:ln>
          <a:effectLst/>
        </p:spPr>
      </p:pic>
      <p:sp>
        <p:nvSpPr>
          <p:cNvPr id="35" name="Rechteck 34">
            <a:extLst>
              <a:ext uri="{FF2B5EF4-FFF2-40B4-BE49-F238E27FC236}">
                <a16:creationId xmlns:a16="http://schemas.microsoft.com/office/drawing/2014/main" id="{F71502D2-4A9D-4336-A68D-70DFC54F5C12}"/>
              </a:ext>
            </a:extLst>
          </p:cNvPr>
          <p:cNvSpPr/>
          <p:nvPr/>
        </p:nvSpPr>
        <p:spPr>
          <a:xfrm>
            <a:off x="241980" y="1987135"/>
            <a:ext cx="395694" cy="2172905"/>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36" name="Rechteck 35">
            <a:extLst>
              <a:ext uri="{FF2B5EF4-FFF2-40B4-BE49-F238E27FC236}">
                <a16:creationId xmlns:a16="http://schemas.microsoft.com/office/drawing/2014/main" id="{36886782-93F5-422D-A44E-E9276AC1EA20}"/>
              </a:ext>
            </a:extLst>
          </p:cNvPr>
          <p:cNvSpPr/>
          <p:nvPr/>
        </p:nvSpPr>
        <p:spPr>
          <a:xfrm>
            <a:off x="3494706" y="1993846"/>
            <a:ext cx="395694" cy="2172905"/>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Tree>
    <p:extLst>
      <p:ext uri="{BB962C8B-B14F-4D97-AF65-F5344CB8AC3E}">
        <p14:creationId xmlns:p14="http://schemas.microsoft.com/office/powerpoint/2010/main" val="7878667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2"/>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2"/>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4"/>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0"/>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14"/>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5"/>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8" grpId="0" animBg="1"/>
      <p:bldP spid="32" grpId="0" animBg="1"/>
      <p:bldP spid="27" grpId="0" animBg="1"/>
      <p:bldP spid="34" grpId="0" animBg="1"/>
      <p:bldP spid="30" grpId="0" animBg="1"/>
      <p:bldP spid="35" grpId="0" animBg="1"/>
      <p:bldP spid="36"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10FF8E57-F2CD-4AC6-BA14-CE3C8F4C6CC5}"/>
              </a:ext>
            </a:extLst>
          </p:cNvPr>
          <p:cNvPicPr>
            <a:picLocks noChangeAspect="1"/>
          </p:cNvPicPr>
          <p:nvPr/>
        </p:nvPicPr>
        <p:blipFill>
          <a:blip r:embed="rId2"/>
          <a:stretch>
            <a:fillRect/>
          </a:stretch>
        </p:blipFill>
        <p:spPr>
          <a:xfrm>
            <a:off x="4252977" y="1460467"/>
            <a:ext cx="4203916" cy="2940201"/>
          </a:xfrm>
          <a:prstGeom prst="rect">
            <a:avLst/>
          </a:prstGeom>
          <a:ln w="19050">
            <a:solidFill>
              <a:srgbClr val="2F5597"/>
            </a:solidFill>
          </a:ln>
          <a:effectLst/>
        </p:spPr>
      </p:pic>
      <p:sp>
        <p:nvSpPr>
          <p:cNvPr id="4" name="Inhaltsplatzhalter 6">
            <a:extLst>
              <a:ext uri="{FF2B5EF4-FFF2-40B4-BE49-F238E27FC236}">
                <a16:creationId xmlns:a16="http://schemas.microsoft.com/office/drawing/2014/main" id="{C481A0CD-49C9-4BF9-B570-4A41BC1B88B5}"/>
              </a:ext>
            </a:extLst>
          </p:cNvPr>
          <p:cNvSpPr>
            <a:spLocks noGrp="1"/>
          </p:cNvSpPr>
          <p:nvPr>
            <p:ph sz="quarter" idx="19"/>
          </p:nvPr>
        </p:nvSpPr>
        <p:spPr>
          <a:xfrm>
            <a:off x="240914" y="1207863"/>
            <a:ext cx="6114021" cy="526919"/>
          </a:xfrm>
        </p:spPr>
        <p:txBody>
          <a:bodyPr/>
          <a:lstStyle/>
          <a:p>
            <a:pPr marL="0" indent="0">
              <a:buNone/>
            </a:pPr>
            <a:r>
              <a:rPr lang="de-DE"/>
              <a:t>Release via UDI </a:t>
            </a:r>
            <a:r>
              <a:rPr lang="de-DE" err="1"/>
              <a:t>master</a:t>
            </a:r>
            <a:r>
              <a:rPr lang="de-DE"/>
              <a:t> data </a:t>
            </a:r>
            <a:r>
              <a:rPr lang="de-DE" err="1"/>
              <a:t>maintenance</a:t>
            </a:r>
            <a:endParaRPr lang="de-DE"/>
          </a:p>
        </p:txBody>
      </p:sp>
      <p:sp>
        <p:nvSpPr>
          <p:cNvPr id="16" name="Textplatzhalter 5">
            <a:extLst>
              <a:ext uri="{FF2B5EF4-FFF2-40B4-BE49-F238E27FC236}">
                <a16:creationId xmlns:a16="http://schemas.microsoft.com/office/drawing/2014/main" id="{05E129F2-C952-4F5B-AB94-AA85C251B1EC}"/>
              </a:ext>
            </a:extLst>
          </p:cNvPr>
          <p:cNvSpPr>
            <a:spLocks noGrp="1"/>
          </p:cNvSpPr>
          <p:nvPr>
            <p:ph type="body" sz="quarter" idx="18"/>
          </p:nvPr>
        </p:nvSpPr>
        <p:spPr>
          <a:xfrm>
            <a:off x="219267" y="794161"/>
            <a:ext cx="8600883" cy="330544"/>
          </a:xfrm>
        </p:spPr>
        <p:txBody>
          <a:bodyPr>
            <a:normAutofit/>
          </a:bodyPr>
          <a:lstStyle/>
          <a:p>
            <a:r>
              <a:rPr lang="de-DE"/>
              <a:t>2.7 </a:t>
            </a:r>
            <a:r>
              <a:rPr lang="en-US"/>
              <a:t>Data release</a:t>
            </a:r>
          </a:p>
          <a:p>
            <a:endParaRPr lang="en-US"/>
          </a:p>
          <a:p>
            <a:endParaRPr lang="de-DE"/>
          </a:p>
          <a:p>
            <a:endParaRPr lang="de-DE"/>
          </a:p>
        </p:txBody>
      </p:sp>
      <p:sp>
        <p:nvSpPr>
          <p:cNvPr id="17" name="Titel 2">
            <a:extLst>
              <a:ext uri="{FF2B5EF4-FFF2-40B4-BE49-F238E27FC236}">
                <a16:creationId xmlns:a16="http://schemas.microsoft.com/office/drawing/2014/main" id="{4DFBBF16-457E-47A9-9D4C-17A7601A29B1}"/>
              </a:ext>
            </a:extLst>
          </p:cNvPr>
          <p:cNvSpPr>
            <a:spLocks noGrp="1"/>
          </p:cNvSpPr>
          <p:nvPr>
            <p:ph type="title"/>
          </p:nvPr>
        </p:nvSpPr>
        <p:spPr>
          <a:xfrm>
            <a:off x="269393" y="78770"/>
            <a:ext cx="7907189" cy="330545"/>
          </a:xfrm>
        </p:spPr>
        <p:txBody>
          <a:bodyPr>
            <a:normAutofit fontScale="90000"/>
          </a:bodyPr>
          <a:lstStyle/>
          <a:p>
            <a:r>
              <a:rPr lang="de-DE"/>
              <a:t>2. </a:t>
            </a:r>
            <a:r>
              <a:rPr lang="en-US"/>
              <a:t>W</a:t>
            </a:r>
            <a:r>
              <a:rPr lang="en-US" sz="1800" b="1"/>
              <a:t>ork processes from the database to data transmission </a:t>
            </a:r>
            <a:endParaRPr lang="de-DE"/>
          </a:p>
        </p:txBody>
      </p:sp>
      <p:sp>
        <p:nvSpPr>
          <p:cNvPr id="20" name="Rechteck 19">
            <a:extLst>
              <a:ext uri="{FF2B5EF4-FFF2-40B4-BE49-F238E27FC236}">
                <a16:creationId xmlns:a16="http://schemas.microsoft.com/office/drawing/2014/main" id="{7D24A8A8-58B8-4F9F-9012-6C475C14F39F}"/>
              </a:ext>
            </a:extLst>
          </p:cNvPr>
          <p:cNvSpPr/>
          <p:nvPr/>
        </p:nvSpPr>
        <p:spPr>
          <a:xfrm>
            <a:off x="5084825" y="1679862"/>
            <a:ext cx="826396" cy="19786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1" name="Rechteck 20">
            <a:extLst>
              <a:ext uri="{FF2B5EF4-FFF2-40B4-BE49-F238E27FC236}">
                <a16:creationId xmlns:a16="http://schemas.microsoft.com/office/drawing/2014/main" id="{FE9CDD19-53FA-43BA-9D44-5C6466649B4A}"/>
              </a:ext>
            </a:extLst>
          </p:cNvPr>
          <p:cNvSpPr/>
          <p:nvPr/>
        </p:nvSpPr>
        <p:spPr>
          <a:xfrm>
            <a:off x="5791199" y="2213490"/>
            <a:ext cx="1465944" cy="142374"/>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2" name="Ellipse 11">
            <a:extLst>
              <a:ext uri="{FF2B5EF4-FFF2-40B4-BE49-F238E27FC236}">
                <a16:creationId xmlns:a16="http://schemas.microsoft.com/office/drawing/2014/main" id="{418A92DC-D18C-4514-B3FF-2339228A8A29}"/>
              </a:ext>
            </a:extLst>
          </p:cNvPr>
          <p:cNvSpPr/>
          <p:nvPr/>
        </p:nvSpPr>
        <p:spPr>
          <a:xfrm>
            <a:off x="6034770" y="1684594"/>
            <a:ext cx="196616" cy="193134"/>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t>2</a:t>
            </a:r>
            <a:endParaRPr lang="en-US"/>
          </a:p>
        </p:txBody>
      </p:sp>
      <p:sp>
        <p:nvSpPr>
          <p:cNvPr id="13" name="Ellipse 12">
            <a:extLst>
              <a:ext uri="{FF2B5EF4-FFF2-40B4-BE49-F238E27FC236}">
                <a16:creationId xmlns:a16="http://schemas.microsoft.com/office/drawing/2014/main" id="{5F0B3493-AEBB-4DFC-A41F-1B46B58C42AC}"/>
              </a:ext>
            </a:extLst>
          </p:cNvPr>
          <p:cNvSpPr/>
          <p:nvPr/>
        </p:nvSpPr>
        <p:spPr>
          <a:xfrm>
            <a:off x="7363755" y="2114794"/>
            <a:ext cx="196616" cy="193134"/>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t>1</a:t>
            </a:r>
            <a:endParaRPr lang="en-US"/>
          </a:p>
        </p:txBody>
      </p:sp>
      <p:pic>
        <p:nvPicPr>
          <p:cNvPr id="15" name="Grafik 14">
            <a:extLst>
              <a:ext uri="{FF2B5EF4-FFF2-40B4-BE49-F238E27FC236}">
                <a16:creationId xmlns:a16="http://schemas.microsoft.com/office/drawing/2014/main" id="{AD576665-B843-488C-900F-D4AC23C67522}"/>
              </a:ext>
            </a:extLst>
          </p:cNvPr>
          <p:cNvPicPr>
            <a:picLocks noChangeAspect="1"/>
          </p:cNvPicPr>
          <p:nvPr/>
        </p:nvPicPr>
        <p:blipFill>
          <a:blip r:embed="rId3"/>
          <a:stretch>
            <a:fillRect/>
          </a:stretch>
        </p:blipFill>
        <p:spPr>
          <a:xfrm>
            <a:off x="240914" y="2104077"/>
            <a:ext cx="3905451" cy="1371670"/>
          </a:xfrm>
          <a:prstGeom prst="rect">
            <a:avLst/>
          </a:prstGeom>
          <a:ln w="19050">
            <a:solidFill>
              <a:srgbClr val="2F5597"/>
            </a:solidFill>
          </a:ln>
          <a:effectLst/>
        </p:spPr>
      </p:pic>
    </p:spTree>
    <p:extLst>
      <p:ext uri="{BB962C8B-B14F-4D97-AF65-F5344CB8AC3E}">
        <p14:creationId xmlns:p14="http://schemas.microsoft.com/office/powerpoint/2010/main" val="23669054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12" grpId="0" animBg="1"/>
      <p:bldP spid="13"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6">
            <a:extLst>
              <a:ext uri="{FF2B5EF4-FFF2-40B4-BE49-F238E27FC236}">
                <a16:creationId xmlns:a16="http://schemas.microsoft.com/office/drawing/2014/main" id="{C481A0CD-49C9-4BF9-B570-4A41BC1B88B5}"/>
              </a:ext>
            </a:extLst>
          </p:cNvPr>
          <p:cNvSpPr>
            <a:spLocks noGrp="1"/>
          </p:cNvSpPr>
          <p:nvPr>
            <p:ph sz="quarter" idx="19"/>
          </p:nvPr>
        </p:nvSpPr>
        <p:spPr>
          <a:xfrm>
            <a:off x="275715" y="1278181"/>
            <a:ext cx="2213443" cy="1103251"/>
          </a:xfrm>
        </p:spPr>
        <p:txBody>
          <a:bodyPr>
            <a:normAutofit lnSpcReduction="10000"/>
          </a:bodyPr>
          <a:lstStyle/>
          <a:p>
            <a:pPr marL="0" indent="0">
              <a:buNone/>
            </a:pPr>
            <a:r>
              <a:rPr lang="en-US" sz="1200"/>
              <a:t>If the parameter “LOCK_AFTER_RELEASE” is set in Application Settings, trigger fields are locked automatically after all releases have been set.</a:t>
            </a:r>
            <a:endParaRPr lang="en-US" sz="1200">
              <a:solidFill>
                <a:srgbClr val="FF0000"/>
              </a:solidFill>
            </a:endParaRPr>
          </a:p>
          <a:p>
            <a:pPr marL="0" indent="0">
              <a:buNone/>
            </a:pPr>
            <a:endParaRPr lang="en-US"/>
          </a:p>
        </p:txBody>
      </p:sp>
      <p:sp>
        <p:nvSpPr>
          <p:cNvPr id="28" name="Textplatzhalter 5">
            <a:extLst>
              <a:ext uri="{FF2B5EF4-FFF2-40B4-BE49-F238E27FC236}">
                <a16:creationId xmlns:a16="http://schemas.microsoft.com/office/drawing/2014/main" id="{B03D40D4-6BC8-4922-A797-7924243511ED}"/>
              </a:ext>
            </a:extLst>
          </p:cNvPr>
          <p:cNvSpPr>
            <a:spLocks noGrp="1"/>
          </p:cNvSpPr>
          <p:nvPr>
            <p:ph type="body" sz="quarter" idx="18"/>
          </p:nvPr>
        </p:nvSpPr>
        <p:spPr>
          <a:xfrm>
            <a:off x="219267" y="794161"/>
            <a:ext cx="8600883" cy="330544"/>
          </a:xfrm>
        </p:spPr>
        <p:txBody>
          <a:bodyPr>
            <a:normAutofit/>
          </a:bodyPr>
          <a:lstStyle/>
          <a:p>
            <a:r>
              <a:rPr lang="de-DE"/>
              <a:t>2.7 </a:t>
            </a:r>
            <a:r>
              <a:rPr lang="en-US"/>
              <a:t>Data release</a:t>
            </a:r>
          </a:p>
          <a:p>
            <a:endParaRPr lang="en-US"/>
          </a:p>
          <a:p>
            <a:endParaRPr lang="de-DE"/>
          </a:p>
        </p:txBody>
      </p:sp>
      <p:sp>
        <p:nvSpPr>
          <p:cNvPr id="34" name="Titel 2">
            <a:extLst>
              <a:ext uri="{FF2B5EF4-FFF2-40B4-BE49-F238E27FC236}">
                <a16:creationId xmlns:a16="http://schemas.microsoft.com/office/drawing/2014/main" id="{26FD13E6-8DE7-4026-8255-E7A5B2295E58}"/>
              </a:ext>
            </a:extLst>
          </p:cNvPr>
          <p:cNvSpPr>
            <a:spLocks noGrp="1"/>
          </p:cNvSpPr>
          <p:nvPr>
            <p:ph type="title"/>
          </p:nvPr>
        </p:nvSpPr>
        <p:spPr>
          <a:xfrm>
            <a:off x="269393" y="78770"/>
            <a:ext cx="7907189" cy="330545"/>
          </a:xfrm>
        </p:spPr>
        <p:txBody>
          <a:bodyPr>
            <a:normAutofit fontScale="90000"/>
          </a:bodyPr>
          <a:lstStyle/>
          <a:p>
            <a:r>
              <a:rPr lang="de-DE"/>
              <a:t>2. </a:t>
            </a:r>
            <a:r>
              <a:rPr lang="en-US"/>
              <a:t>W</a:t>
            </a:r>
            <a:r>
              <a:rPr lang="en-US" sz="1800" b="1"/>
              <a:t>ork processes from the database to data transmission </a:t>
            </a:r>
            <a:endParaRPr lang="de-DE"/>
          </a:p>
        </p:txBody>
      </p:sp>
      <p:grpSp>
        <p:nvGrpSpPr>
          <p:cNvPr id="33" name="Gruppieren 32">
            <a:extLst>
              <a:ext uri="{FF2B5EF4-FFF2-40B4-BE49-F238E27FC236}">
                <a16:creationId xmlns:a16="http://schemas.microsoft.com/office/drawing/2014/main" id="{B41A5D0C-E2DD-4C00-98BF-95BD2F9FF50C}"/>
              </a:ext>
            </a:extLst>
          </p:cNvPr>
          <p:cNvGrpSpPr/>
          <p:nvPr/>
        </p:nvGrpSpPr>
        <p:grpSpPr>
          <a:xfrm>
            <a:off x="2678581" y="958604"/>
            <a:ext cx="6058568" cy="3226291"/>
            <a:chOff x="458253" y="1367261"/>
            <a:chExt cx="6058568" cy="3226291"/>
          </a:xfrm>
        </p:grpSpPr>
        <p:pic>
          <p:nvPicPr>
            <p:cNvPr id="3" name="Grafik 2">
              <a:extLst>
                <a:ext uri="{FF2B5EF4-FFF2-40B4-BE49-F238E27FC236}">
                  <a16:creationId xmlns:a16="http://schemas.microsoft.com/office/drawing/2014/main" id="{CD81F2A7-17F5-4AF4-9F1D-417B56BE0E6E}"/>
                </a:ext>
              </a:extLst>
            </p:cNvPr>
            <p:cNvPicPr>
              <a:picLocks noChangeAspect="1"/>
            </p:cNvPicPr>
            <p:nvPr/>
          </p:nvPicPr>
          <p:blipFill>
            <a:blip r:embed="rId2"/>
            <a:stretch>
              <a:fillRect/>
            </a:stretch>
          </p:blipFill>
          <p:spPr>
            <a:xfrm>
              <a:off x="458253" y="1367261"/>
              <a:ext cx="6058568" cy="3226291"/>
            </a:xfrm>
            <a:prstGeom prst="rect">
              <a:avLst/>
            </a:prstGeom>
            <a:ln w="19050">
              <a:solidFill>
                <a:srgbClr val="2F5597"/>
              </a:solidFill>
            </a:ln>
            <a:effectLst/>
          </p:spPr>
        </p:pic>
        <p:sp>
          <p:nvSpPr>
            <p:cNvPr id="31" name="Rechteck 30">
              <a:extLst>
                <a:ext uri="{FF2B5EF4-FFF2-40B4-BE49-F238E27FC236}">
                  <a16:creationId xmlns:a16="http://schemas.microsoft.com/office/drawing/2014/main" id="{D0D24BE8-1787-4E93-8AD1-AD002E38052C}"/>
                </a:ext>
              </a:extLst>
            </p:cNvPr>
            <p:cNvSpPr/>
            <p:nvPr/>
          </p:nvSpPr>
          <p:spPr>
            <a:xfrm>
              <a:off x="1074056" y="2570397"/>
              <a:ext cx="537029" cy="158289"/>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6" name="Grafik 5">
            <a:extLst>
              <a:ext uri="{FF2B5EF4-FFF2-40B4-BE49-F238E27FC236}">
                <a16:creationId xmlns:a16="http://schemas.microsoft.com/office/drawing/2014/main" id="{43CA1ACA-B205-4D52-AF79-BB36C50CCAEC}"/>
              </a:ext>
            </a:extLst>
          </p:cNvPr>
          <p:cNvPicPr>
            <a:picLocks noChangeAspect="1"/>
          </p:cNvPicPr>
          <p:nvPr/>
        </p:nvPicPr>
        <p:blipFill rotWithShape="1">
          <a:blip r:embed="rId3"/>
          <a:srcRect r="1483"/>
          <a:stretch/>
        </p:blipFill>
        <p:spPr>
          <a:xfrm>
            <a:off x="3935454" y="2161740"/>
            <a:ext cx="3109314" cy="1219263"/>
          </a:xfrm>
          <a:prstGeom prst="rect">
            <a:avLst/>
          </a:prstGeom>
          <a:ln w="19050">
            <a:solidFill>
              <a:srgbClr val="2F5597"/>
            </a:solidFill>
          </a:ln>
          <a:effectLst/>
        </p:spPr>
      </p:pic>
      <p:grpSp>
        <p:nvGrpSpPr>
          <p:cNvPr id="24" name="Gruppieren 23">
            <a:extLst>
              <a:ext uri="{FF2B5EF4-FFF2-40B4-BE49-F238E27FC236}">
                <a16:creationId xmlns:a16="http://schemas.microsoft.com/office/drawing/2014/main" id="{62B717FD-58D2-4D6C-A0C9-BA456725ED59}"/>
              </a:ext>
            </a:extLst>
          </p:cNvPr>
          <p:cNvGrpSpPr/>
          <p:nvPr/>
        </p:nvGrpSpPr>
        <p:grpSpPr>
          <a:xfrm>
            <a:off x="3935454" y="2161740"/>
            <a:ext cx="3149762" cy="1219263"/>
            <a:chOff x="882115" y="2309079"/>
            <a:chExt cx="3149762" cy="1219263"/>
          </a:xfrm>
        </p:grpSpPr>
        <p:pic>
          <p:nvPicPr>
            <p:cNvPr id="8" name="Grafik 7">
              <a:extLst>
                <a:ext uri="{FF2B5EF4-FFF2-40B4-BE49-F238E27FC236}">
                  <a16:creationId xmlns:a16="http://schemas.microsoft.com/office/drawing/2014/main" id="{FE194114-E27D-4E40-90ED-D2E76904F9FC}"/>
                </a:ext>
              </a:extLst>
            </p:cNvPr>
            <p:cNvPicPr>
              <a:picLocks noChangeAspect="1"/>
            </p:cNvPicPr>
            <p:nvPr/>
          </p:nvPicPr>
          <p:blipFill>
            <a:blip r:embed="rId4"/>
            <a:stretch>
              <a:fillRect/>
            </a:stretch>
          </p:blipFill>
          <p:spPr>
            <a:xfrm>
              <a:off x="882115" y="2309079"/>
              <a:ext cx="3149762" cy="1219263"/>
            </a:xfrm>
            <a:prstGeom prst="rect">
              <a:avLst/>
            </a:prstGeom>
            <a:ln w="19050">
              <a:solidFill>
                <a:srgbClr val="2F5597"/>
              </a:solidFill>
            </a:ln>
            <a:effectLst/>
          </p:spPr>
        </p:pic>
        <p:sp>
          <p:nvSpPr>
            <p:cNvPr id="35" name="Rechteck 34">
              <a:extLst>
                <a:ext uri="{FF2B5EF4-FFF2-40B4-BE49-F238E27FC236}">
                  <a16:creationId xmlns:a16="http://schemas.microsoft.com/office/drawing/2014/main" id="{B9E6DE20-326B-4A24-948E-A3A260C66625}"/>
                </a:ext>
              </a:extLst>
            </p:cNvPr>
            <p:cNvSpPr/>
            <p:nvPr/>
          </p:nvSpPr>
          <p:spPr>
            <a:xfrm>
              <a:off x="3686629" y="3323770"/>
              <a:ext cx="145142" cy="145143"/>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7" name="Gruppieren 26">
            <a:extLst>
              <a:ext uri="{FF2B5EF4-FFF2-40B4-BE49-F238E27FC236}">
                <a16:creationId xmlns:a16="http://schemas.microsoft.com/office/drawing/2014/main" id="{A926DC93-7528-4FAC-8604-7D6C0CBEF626}"/>
              </a:ext>
            </a:extLst>
          </p:cNvPr>
          <p:cNvGrpSpPr/>
          <p:nvPr/>
        </p:nvGrpSpPr>
        <p:grpSpPr>
          <a:xfrm>
            <a:off x="2678581" y="943246"/>
            <a:ext cx="6058568" cy="3462698"/>
            <a:chOff x="458253" y="1373410"/>
            <a:chExt cx="6058568" cy="3462698"/>
          </a:xfrm>
        </p:grpSpPr>
        <p:pic>
          <p:nvPicPr>
            <p:cNvPr id="20" name="Grafik 19">
              <a:extLst>
                <a:ext uri="{FF2B5EF4-FFF2-40B4-BE49-F238E27FC236}">
                  <a16:creationId xmlns:a16="http://schemas.microsoft.com/office/drawing/2014/main" id="{EF0DF100-B564-4A70-A0DA-B27715B64B04}"/>
                </a:ext>
              </a:extLst>
            </p:cNvPr>
            <p:cNvPicPr>
              <a:picLocks noChangeAspect="1"/>
            </p:cNvPicPr>
            <p:nvPr/>
          </p:nvPicPr>
          <p:blipFill>
            <a:blip r:embed="rId5"/>
            <a:stretch>
              <a:fillRect/>
            </a:stretch>
          </p:blipFill>
          <p:spPr>
            <a:xfrm>
              <a:off x="458253" y="1373410"/>
              <a:ext cx="6058568" cy="3462698"/>
            </a:xfrm>
            <a:prstGeom prst="rect">
              <a:avLst/>
            </a:prstGeom>
            <a:ln w="19050">
              <a:solidFill>
                <a:srgbClr val="2F5597"/>
              </a:solidFill>
            </a:ln>
            <a:effectLst/>
          </p:spPr>
        </p:pic>
        <p:sp>
          <p:nvSpPr>
            <p:cNvPr id="11" name="Rechteck 10">
              <a:extLst>
                <a:ext uri="{FF2B5EF4-FFF2-40B4-BE49-F238E27FC236}">
                  <a16:creationId xmlns:a16="http://schemas.microsoft.com/office/drawing/2014/main" id="{32B448A4-8E2C-47D0-96D3-A1B2D34F367A}"/>
                </a:ext>
              </a:extLst>
            </p:cNvPr>
            <p:cNvSpPr/>
            <p:nvPr/>
          </p:nvSpPr>
          <p:spPr>
            <a:xfrm>
              <a:off x="591322" y="2822956"/>
              <a:ext cx="486447" cy="9049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29" name="Rechteck 28">
            <a:extLst>
              <a:ext uri="{FF2B5EF4-FFF2-40B4-BE49-F238E27FC236}">
                <a16:creationId xmlns:a16="http://schemas.microsoft.com/office/drawing/2014/main" id="{9AD9290B-C461-4114-A6F1-0C5B6E677FCB}"/>
              </a:ext>
            </a:extLst>
          </p:cNvPr>
          <p:cNvSpPr/>
          <p:nvPr/>
        </p:nvSpPr>
        <p:spPr>
          <a:xfrm>
            <a:off x="3649985" y="956623"/>
            <a:ext cx="120222" cy="144271"/>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6" name="Gruppieren 25">
            <a:extLst>
              <a:ext uri="{FF2B5EF4-FFF2-40B4-BE49-F238E27FC236}">
                <a16:creationId xmlns:a16="http://schemas.microsoft.com/office/drawing/2014/main" id="{D0B08550-47F3-41A4-84A3-43B06D1659BD}"/>
              </a:ext>
            </a:extLst>
          </p:cNvPr>
          <p:cNvGrpSpPr/>
          <p:nvPr/>
        </p:nvGrpSpPr>
        <p:grpSpPr>
          <a:xfrm>
            <a:off x="2593200" y="943246"/>
            <a:ext cx="6143949" cy="3462698"/>
            <a:chOff x="458253" y="1367260"/>
            <a:chExt cx="6143949" cy="3462698"/>
          </a:xfrm>
        </p:grpSpPr>
        <p:pic>
          <p:nvPicPr>
            <p:cNvPr id="17" name="Grafik 16">
              <a:extLst>
                <a:ext uri="{FF2B5EF4-FFF2-40B4-BE49-F238E27FC236}">
                  <a16:creationId xmlns:a16="http://schemas.microsoft.com/office/drawing/2014/main" id="{66AC7205-092F-47BF-A5FA-EA998DEA2B3F}"/>
                </a:ext>
              </a:extLst>
            </p:cNvPr>
            <p:cNvPicPr>
              <a:picLocks noChangeAspect="1"/>
            </p:cNvPicPr>
            <p:nvPr/>
          </p:nvPicPr>
          <p:blipFill>
            <a:blip r:embed="rId6"/>
            <a:stretch>
              <a:fillRect/>
            </a:stretch>
          </p:blipFill>
          <p:spPr>
            <a:xfrm>
              <a:off x="458253" y="1367260"/>
              <a:ext cx="6143949" cy="3462698"/>
            </a:xfrm>
            <a:prstGeom prst="rect">
              <a:avLst/>
            </a:prstGeom>
            <a:ln w="19050">
              <a:solidFill>
                <a:srgbClr val="2F5597"/>
              </a:solidFill>
            </a:ln>
            <a:effectLst/>
          </p:spPr>
        </p:pic>
        <p:sp>
          <p:nvSpPr>
            <p:cNvPr id="39" name="Rechteck 38">
              <a:extLst>
                <a:ext uri="{FF2B5EF4-FFF2-40B4-BE49-F238E27FC236}">
                  <a16:creationId xmlns:a16="http://schemas.microsoft.com/office/drawing/2014/main" id="{22F160FE-79EE-4312-A4BB-98CBB250BC4A}"/>
                </a:ext>
              </a:extLst>
            </p:cNvPr>
            <p:cNvSpPr/>
            <p:nvPr/>
          </p:nvSpPr>
          <p:spPr>
            <a:xfrm>
              <a:off x="2219414" y="2728686"/>
              <a:ext cx="690700" cy="19786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grpSp>
    </p:spTree>
    <p:extLst>
      <p:ext uri="{BB962C8B-B14F-4D97-AF65-F5344CB8AC3E}">
        <p14:creationId xmlns:p14="http://schemas.microsoft.com/office/powerpoint/2010/main" val="30103608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A19744FE-0122-4458-A703-1ED9355A7C5F}"/>
              </a:ext>
            </a:extLst>
          </p:cNvPr>
          <p:cNvSpPr>
            <a:spLocks noGrp="1"/>
          </p:cNvSpPr>
          <p:nvPr>
            <p:ph type="body" sz="quarter" idx="18"/>
          </p:nvPr>
        </p:nvSpPr>
        <p:spPr/>
        <p:txBody>
          <a:bodyPr>
            <a:normAutofit/>
          </a:bodyPr>
          <a:lstStyle/>
          <a:p>
            <a:r>
              <a:rPr lang="de-DE"/>
              <a:t>2.8 Excel </a:t>
            </a:r>
            <a:r>
              <a:rPr lang="de-DE" err="1"/>
              <a:t>export</a:t>
            </a:r>
            <a:r>
              <a:rPr lang="de-DE"/>
              <a:t> </a:t>
            </a:r>
            <a:endParaRPr lang="en-US"/>
          </a:p>
          <a:p>
            <a:endParaRPr lang="de-DE"/>
          </a:p>
          <a:p>
            <a:endParaRPr lang="de-DE"/>
          </a:p>
        </p:txBody>
      </p:sp>
      <p:sp>
        <p:nvSpPr>
          <p:cNvPr id="3" name="Titel 2">
            <a:extLst>
              <a:ext uri="{FF2B5EF4-FFF2-40B4-BE49-F238E27FC236}">
                <a16:creationId xmlns:a16="http://schemas.microsoft.com/office/drawing/2014/main" id="{17403686-94D3-4A24-BDEB-07854049E7FA}"/>
              </a:ext>
            </a:extLst>
          </p:cNvPr>
          <p:cNvSpPr>
            <a:spLocks noGrp="1"/>
          </p:cNvSpPr>
          <p:nvPr>
            <p:ph type="title"/>
          </p:nvPr>
        </p:nvSpPr>
        <p:spPr/>
        <p:txBody>
          <a:bodyPr>
            <a:normAutofit fontScale="90000"/>
          </a:bodyPr>
          <a:lstStyle/>
          <a:p>
            <a:r>
              <a:rPr lang="de-DE"/>
              <a:t>2. </a:t>
            </a:r>
            <a:r>
              <a:rPr lang="en-US"/>
              <a:t>W</a:t>
            </a:r>
            <a:r>
              <a:rPr lang="en-US" sz="1800" b="1"/>
              <a:t>ork processes from the database to data transmission </a:t>
            </a:r>
            <a:endParaRPr lang="de-DE"/>
          </a:p>
        </p:txBody>
      </p:sp>
      <p:sp>
        <p:nvSpPr>
          <p:cNvPr id="31" name="Rechteck: abgerundete Ecken 30">
            <a:extLst>
              <a:ext uri="{FF2B5EF4-FFF2-40B4-BE49-F238E27FC236}">
                <a16:creationId xmlns:a16="http://schemas.microsoft.com/office/drawing/2014/main" id="{C2E356A7-F0C9-4E37-8904-4CFAE1F864A1}"/>
              </a:ext>
            </a:extLst>
          </p:cNvPr>
          <p:cNvSpPr/>
          <p:nvPr/>
        </p:nvSpPr>
        <p:spPr>
          <a:xfrm>
            <a:off x="5124177" y="1827482"/>
            <a:ext cx="1797627" cy="1936246"/>
          </a:xfrm>
          <a:prstGeom prst="round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sz="1200" b="1">
                <a:solidFill>
                  <a:schemeClr val="tx1"/>
                </a:solidFill>
                <a:latin typeface="Arial" panose="020B0604020202020204" pitchFamily="34" charset="0"/>
                <a:cs typeface="Arial" panose="020B0604020202020204" pitchFamily="34" charset="0"/>
              </a:rPr>
              <a:t>Data </a:t>
            </a:r>
            <a:r>
              <a:rPr lang="de-DE" sz="1200" b="1" err="1">
                <a:solidFill>
                  <a:schemeClr val="tx1"/>
                </a:solidFill>
                <a:latin typeface="Arial" panose="020B0604020202020204" pitchFamily="34" charset="0"/>
                <a:cs typeface="Arial" panose="020B0604020202020204" pitchFamily="34" charset="0"/>
              </a:rPr>
              <a:t>transmission</a:t>
            </a:r>
            <a:endParaRPr lang="de-DE" sz="1200" b="1">
              <a:solidFill>
                <a:schemeClr val="tx1"/>
              </a:solidFill>
              <a:latin typeface="Arial" panose="020B0604020202020204" pitchFamily="34" charset="0"/>
              <a:cs typeface="Arial" panose="020B0604020202020204" pitchFamily="34" charset="0"/>
            </a:endParaRPr>
          </a:p>
          <a:p>
            <a:pPr algn="ctr"/>
            <a:endParaRPr lang="de-DE" sz="1200">
              <a:latin typeface="Arial" panose="020B0604020202020204" pitchFamily="34" charset="0"/>
              <a:cs typeface="Arial" panose="020B0604020202020204" pitchFamily="34" charset="0"/>
            </a:endParaRPr>
          </a:p>
          <a:p>
            <a:pPr algn="ctr"/>
            <a:endParaRPr lang="de-DE" sz="1200">
              <a:latin typeface="Arial" panose="020B0604020202020204" pitchFamily="34" charset="0"/>
              <a:cs typeface="Arial" panose="020B0604020202020204" pitchFamily="34" charset="0"/>
            </a:endParaRPr>
          </a:p>
          <a:p>
            <a:pPr algn="ctr"/>
            <a:endParaRPr lang="de-DE" sz="1200">
              <a:latin typeface="Arial" panose="020B0604020202020204" pitchFamily="34" charset="0"/>
              <a:cs typeface="Arial" panose="020B0604020202020204" pitchFamily="34" charset="0"/>
            </a:endParaRPr>
          </a:p>
          <a:p>
            <a:pPr algn="ctr"/>
            <a:endParaRPr lang="de-DE" sz="1200">
              <a:latin typeface="Arial" panose="020B0604020202020204" pitchFamily="34" charset="0"/>
              <a:cs typeface="Arial" panose="020B0604020202020204" pitchFamily="34" charset="0"/>
            </a:endParaRPr>
          </a:p>
          <a:p>
            <a:pPr algn="ctr"/>
            <a:endParaRPr lang="de-CH" sz="1200">
              <a:latin typeface="Arial" panose="020B0604020202020204" pitchFamily="34" charset="0"/>
              <a:cs typeface="Arial" panose="020B0604020202020204" pitchFamily="34" charset="0"/>
            </a:endParaRPr>
          </a:p>
        </p:txBody>
      </p:sp>
      <p:sp>
        <p:nvSpPr>
          <p:cNvPr id="35" name="Rechteck: abgerundete Ecken 34">
            <a:extLst>
              <a:ext uri="{FF2B5EF4-FFF2-40B4-BE49-F238E27FC236}">
                <a16:creationId xmlns:a16="http://schemas.microsoft.com/office/drawing/2014/main" id="{2F00C498-6C91-4802-B79A-B21A351086B1}"/>
              </a:ext>
            </a:extLst>
          </p:cNvPr>
          <p:cNvSpPr/>
          <p:nvPr/>
        </p:nvSpPr>
        <p:spPr>
          <a:xfrm>
            <a:off x="374876" y="1829725"/>
            <a:ext cx="1620000" cy="776776"/>
          </a:xfrm>
          <a:prstGeom prst="roundRect">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Arial" panose="020B0604020202020204" pitchFamily="34" charset="0"/>
                <a:cs typeface="Arial" panose="020B0604020202020204" pitchFamily="34" charset="0"/>
              </a:rPr>
              <a:t>Product creation in the Add-On</a:t>
            </a:r>
          </a:p>
        </p:txBody>
      </p:sp>
      <p:sp>
        <p:nvSpPr>
          <p:cNvPr id="36" name="Rechteck: abgerundete Ecken 35">
            <a:extLst>
              <a:ext uri="{FF2B5EF4-FFF2-40B4-BE49-F238E27FC236}">
                <a16:creationId xmlns:a16="http://schemas.microsoft.com/office/drawing/2014/main" id="{D66D3841-4BE4-4211-9A3B-E6FBAB054984}"/>
              </a:ext>
            </a:extLst>
          </p:cNvPr>
          <p:cNvSpPr/>
          <p:nvPr/>
        </p:nvSpPr>
        <p:spPr>
          <a:xfrm>
            <a:off x="2053233" y="1838140"/>
            <a:ext cx="1620000" cy="776776"/>
          </a:xfrm>
          <a:prstGeom prst="roundRect">
            <a:avLst/>
          </a:prstGeom>
          <a:solidFill>
            <a:srgbClr val="20386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err="1">
                <a:solidFill>
                  <a:schemeClr val="bg1"/>
                </a:solidFill>
                <a:latin typeface="Arial" panose="020B0604020202020204" pitchFamily="34" charset="0"/>
                <a:cs typeface="Arial" panose="020B0604020202020204" pitchFamily="34" charset="0"/>
              </a:rPr>
              <a:t>Product</a:t>
            </a:r>
            <a:r>
              <a:rPr lang="de-CH" sz="1200">
                <a:solidFill>
                  <a:schemeClr val="bg1"/>
                </a:solidFill>
                <a:latin typeface="Arial" panose="020B0604020202020204" pitchFamily="34" charset="0"/>
                <a:cs typeface="Arial" panose="020B0604020202020204" pitchFamily="34" charset="0"/>
              </a:rPr>
              <a:t> </a:t>
            </a:r>
            <a:r>
              <a:rPr lang="de-CH" sz="1200" err="1">
                <a:solidFill>
                  <a:schemeClr val="bg1"/>
                </a:solidFill>
                <a:latin typeface="Arial" panose="020B0604020202020204" pitchFamily="34" charset="0"/>
                <a:cs typeface="Arial" panose="020B0604020202020204" pitchFamily="34" charset="0"/>
              </a:rPr>
              <a:t>creation</a:t>
            </a:r>
            <a:r>
              <a:rPr lang="de-CH" sz="1200">
                <a:solidFill>
                  <a:schemeClr val="bg1"/>
                </a:solidFill>
                <a:latin typeface="Arial" panose="020B0604020202020204" pitchFamily="34" charset="0"/>
                <a:cs typeface="Arial" panose="020B0604020202020204" pitchFamily="34" charset="0"/>
              </a:rPr>
              <a:t> </a:t>
            </a:r>
            <a:r>
              <a:rPr lang="de-CH" sz="1200" err="1">
                <a:solidFill>
                  <a:schemeClr val="bg1"/>
                </a:solidFill>
                <a:latin typeface="Arial" panose="020B0604020202020204" pitchFamily="34" charset="0"/>
                <a:cs typeface="Arial" panose="020B0604020202020204" pitchFamily="34" charset="0"/>
              </a:rPr>
              <a:t>with</a:t>
            </a:r>
            <a:r>
              <a:rPr lang="de-CH" sz="1200">
                <a:solidFill>
                  <a:schemeClr val="bg1"/>
                </a:solidFill>
                <a:latin typeface="Arial" panose="020B0604020202020204" pitchFamily="34" charset="0"/>
                <a:cs typeface="Arial" panose="020B0604020202020204" pitchFamily="34" charset="0"/>
              </a:rPr>
              <a:t> Excel</a:t>
            </a:r>
          </a:p>
        </p:txBody>
      </p:sp>
      <p:sp>
        <p:nvSpPr>
          <p:cNvPr id="37" name="Rechteck: abgerundete Ecken 36">
            <a:extLst>
              <a:ext uri="{FF2B5EF4-FFF2-40B4-BE49-F238E27FC236}">
                <a16:creationId xmlns:a16="http://schemas.microsoft.com/office/drawing/2014/main" id="{C4BE9CCD-C203-414F-B252-20F9929F8E62}"/>
              </a:ext>
            </a:extLst>
          </p:cNvPr>
          <p:cNvSpPr/>
          <p:nvPr/>
        </p:nvSpPr>
        <p:spPr>
          <a:xfrm>
            <a:off x="1218206" y="2881040"/>
            <a:ext cx="1620000" cy="875128"/>
          </a:xfrm>
          <a:prstGeom prst="roundRect">
            <a:avLst/>
          </a:prstGeom>
          <a:solidFill>
            <a:srgbClr val="20386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a:latin typeface="Arial" panose="020B0604020202020204" pitchFamily="34" charset="0"/>
                <a:cs typeface="Arial" panose="020B0604020202020204" pitchFamily="34" charset="0"/>
              </a:rPr>
              <a:t>Mass </a:t>
            </a:r>
            <a:r>
              <a:rPr lang="de-CH" sz="1200" err="1">
                <a:latin typeface="Arial" panose="020B0604020202020204" pitchFamily="34" charset="0"/>
                <a:cs typeface="Arial" panose="020B0604020202020204" pitchFamily="34" charset="0"/>
              </a:rPr>
              <a:t>change</a:t>
            </a:r>
            <a:r>
              <a:rPr lang="de-CH" sz="1200">
                <a:latin typeface="Arial" panose="020B0604020202020204" pitchFamily="34" charset="0"/>
                <a:cs typeface="Arial" panose="020B0604020202020204" pitchFamily="34" charset="0"/>
              </a:rPr>
              <a:t> </a:t>
            </a:r>
          </a:p>
          <a:p>
            <a:pPr marL="171450" indent="-171450">
              <a:buFont typeface="Arial" panose="020B0604020202020204" pitchFamily="34" charset="0"/>
              <a:buChar char="•"/>
            </a:pPr>
            <a:r>
              <a:rPr lang="de-CH" sz="1200" err="1">
                <a:latin typeface="Arial" panose="020B0604020202020204" pitchFamily="34" charset="0"/>
                <a:cs typeface="Arial" panose="020B0604020202020204" pitchFamily="34" charset="0"/>
              </a:rPr>
              <a:t>with</a:t>
            </a:r>
            <a:r>
              <a:rPr lang="de-CH" sz="1200">
                <a:latin typeface="Arial" panose="020B0604020202020204" pitchFamily="34" charset="0"/>
                <a:cs typeface="Arial" panose="020B0604020202020204" pitchFamily="34" charset="0"/>
              </a:rPr>
              <a:t> Excel</a:t>
            </a:r>
          </a:p>
          <a:p>
            <a:pPr marL="171450" indent="-171450">
              <a:buFont typeface="Arial" panose="020B0604020202020204" pitchFamily="34" charset="0"/>
              <a:buChar char="•"/>
            </a:pPr>
            <a:r>
              <a:rPr lang="de-CH" sz="1200">
                <a:latin typeface="Arial" panose="020B0604020202020204" pitchFamily="34" charset="0"/>
                <a:cs typeface="Arial" panose="020B0604020202020204" pitchFamily="34" charset="0"/>
              </a:rPr>
              <a:t>in </a:t>
            </a:r>
            <a:r>
              <a:rPr lang="de-CH" sz="1200" err="1">
                <a:latin typeface="Arial" panose="020B0604020202020204" pitchFamily="34" charset="0"/>
                <a:cs typeface="Arial" panose="020B0604020202020204" pitchFamily="34" charset="0"/>
              </a:rPr>
              <a:t>the</a:t>
            </a:r>
            <a:r>
              <a:rPr lang="de-CH" sz="1200">
                <a:latin typeface="Arial" panose="020B0604020202020204" pitchFamily="34" charset="0"/>
                <a:cs typeface="Arial" panose="020B0604020202020204" pitchFamily="34" charset="0"/>
              </a:rPr>
              <a:t> Add-On</a:t>
            </a:r>
          </a:p>
        </p:txBody>
      </p:sp>
      <p:sp>
        <p:nvSpPr>
          <p:cNvPr id="38" name="Rechteck: abgerundete Ecken 37">
            <a:extLst>
              <a:ext uri="{FF2B5EF4-FFF2-40B4-BE49-F238E27FC236}">
                <a16:creationId xmlns:a16="http://schemas.microsoft.com/office/drawing/2014/main" id="{ED09656B-C0AC-4936-AD21-246475444A6A}"/>
              </a:ext>
            </a:extLst>
          </p:cNvPr>
          <p:cNvSpPr/>
          <p:nvPr/>
        </p:nvSpPr>
        <p:spPr>
          <a:xfrm>
            <a:off x="3209825" y="2881040"/>
            <a:ext cx="1620000" cy="875128"/>
          </a:xfrm>
          <a:prstGeom prst="roundRect">
            <a:avLst/>
          </a:prstGeom>
          <a:solidFill>
            <a:srgbClr val="20386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a:latin typeface="Arial" panose="020B0604020202020204" pitchFamily="34" charset="0"/>
                <a:cs typeface="Arial" panose="020B0604020202020204" pitchFamily="34" charset="0"/>
              </a:rPr>
              <a:t>Data </a:t>
            </a:r>
            <a:r>
              <a:rPr lang="de-CH" sz="1200" err="1">
                <a:latin typeface="Arial" panose="020B0604020202020204" pitchFamily="34" charset="0"/>
                <a:cs typeface="Arial" panose="020B0604020202020204" pitchFamily="34" charset="0"/>
              </a:rPr>
              <a:t>overview</a:t>
            </a:r>
            <a:r>
              <a:rPr lang="de-CH" sz="1200">
                <a:latin typeface="Arial" panose="020B0604020202020204" pitchFamily="34" charset="0"/>
                <a:cs typeface="Arial" panose="020B0604020202020204" pitchFamily="34" charset="0"/>
              </a:rPr>
              <a:t>,</a:t>
            </a:r>
          </a:p>
          <a:p>
            <a:pPr algn="ctr"/>
            <a:r>
              <a:rPr lang="de-CH" sz="1200" err="1">
                <a:latin typeface="Arial" panose="020B0604020202020204" pitchFamily="34" charset="0"/>
                <a:cs typeface="Arial" panose="020B0604020202020204" pitchFamily="34" charset="0"/>
              </a:rPr>
              <a:t>visual</a:t>
            </a:r>
            <a:r>
              <a:rPr lang="de-CH" sz="1200">
                <a:latin typeface="Arial" panose="020B0604020202020204" pitchFamily="34" charset="0"/>
                <a:cs typeface="Arial" panose="020B0604020202020204" pitchFamily="34" charset="0"/>
              </a:rPr>
              <a:t> </a:t>
            </a:r>
            <a:r>
              <a:rPr lang="de-CH" sz="1200" err="1">
                <a:latin typeface="Arial" panose="020B0604020202020204" pitchFamily="34" charset="0"/>
                <a:cs typeface="Arial" panose="020B0604020202020204" pitchFamily="34" charset="0"/>
              </a:rPr>
              <a:t>data</a:t>
            </a:r>
            <a:r>
              <a:rPr lang="de-CH" sz="1200">
                <a:latin typeface="Arial" panose="020B0604020202020204" pitchFamily="34" charset="0"/>
                <a:cs typeface="Arial" panose="020B0604020202020204" pitchFamily="34" charset="0"/>
              </a:rPr>
              <a:t> check</a:t>
            </a:r>
          </a:p>
          <a:p>
            <a:pPr algn="ctr"/>
            <a:r>
              <a:rPr lang="de-CH" sz="1200">
                <a:latin typeface="Arial" panose="020B0604020202020204" pitchFamily="34" charset="0"/>
                <a:cs typeface="Arial" panose="020B0604020202020204" pitchFamily="34" charset="0"/>
              </a:rPr>
              <a:t>/UDI/Attributes</a:t>
            </a:r>
          </a:p>
        </p:txBody>
      </p:sp>
      <p:sp>
        <p:nvSpPr>
          <p:cNvPr id="39" name="Rechteck: abgerundete Ecken 38">
            <a:extLst>
              <a:ext uri="{FF2B5EF4-FFF2-40B4-BE49-F238E27FC236}">
                <a16:creationId xmlns:a16="http://schemas.microsoft.com/office/drawing/2014/main" id="{9A5867D7-3747-4F74-80A8-1B5AF417EA49}"/>
              </a:ext>
            </a:extLst>
          </p:cNvPr>
          <p:cNvSpPr/>
          <p:nvPr/>
        </p:nvSpPr>
        <p:spPr>
          <a:xfrm>
            <a:off x="5222731" y="4115115"/>
            <a:ext cx="1620000" cy="702778"/>
          </a:xfrm>
          <a:prstGeom prst="roundRect">
            <a:avLst/>
          </a:prstGeom>
          <a:solidFill>
            <a:srgbClr val="20386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latin typeface="Arial" panose="020B0604020202020204" pitchFamily="34" charset="0"/>
                <a:cs typeface="Arial" panose="020B0604020202020204" pitchFamily="34" charset="0"/>
              </a:rPr>
              <a:t>Data release /</a:t>
            </a:r>
          </a:p>
          <a:p>
            <a:pPr algn="ctr"/>
            <a:r>
              <a:rPr lang="en-US" sz="1200">
                <a:latin typeface="Arial" panose="020B0604020202020204" pitchFamily="34" charset="0"/>
                <a:cs typeface="Arial" panose="020B0604020202020204" pitchFamily="34" charset="0"/>
              </a:rPr>
              <a:t>Lock trigger fields</a:t>
            </a:r>
          </a:p>
        </p:txBody>
      </p:sp>
      <p:sp>
        <p:nvSpPr>
          <p:cNvPr id="40" name="Rechteck: abgerundete Ecken 39">
            <a:extLst>
              <a:ext uri="{FF2B5EF4-FFF2-40B4-BE49-F238E27FC236}">
                <a16:creationId xmlns:a16="http://schemas.microsoft.com/office/drawing/2014/main" id="{1F9F01A8-FA07-42C7-AF3A-103F301FB65B}"/>
              </a:ext>
            </a:extLst>
          </p:cNvPr>
          <p:cNvSpPr/>
          <p:nvPr/>
        </p:nvSpPr>
        <p:spPr>
          <a:xfrm>
            <a:off x="5222731" y="2687416"/>
            <a:ext cx="1620000" cy="314633"/>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a:latin typeface="Arial" panose="020B0604020202020204" pitchFamily="34" charset="0"/>
                <a:cs typeface="Arial" panose="020B0604020202020204" pitchFamily="34" charset="0"/>
              </a:rPr>
              <a:t>XML </a:t>
            </a:r>
            <a:r>
              <a:rPr lang="de-CH" sz="1200" err="1">
                <a:latin typeface="Arial" panose="020B0604020202020204" pitchFamily="34" charset="0"/>
                <a:cs typeface="Arial" panose="020B0604020202020204" pitchFamily="34" charset="0"/>
              </a:rPr>
              <a:t>export</a:t>
            </a:r>
            <a:endParaRPr lang="de-CH" sz="1200">
              <a:latin typeface="Arial" panose="020B0604020202020204" pitchFamily="34" charset="0"/>
              <a:cs typeface="Arial" panose="020B0604020202020204" pitchFamily="34" charset="0"/>
            </a:endParaRPr>
          </a:p>
        </p:txBody>
      </p:sp>
      <p:sp>
        <p:nvSpPr>
          <p:cNvPr id="41" name="Rechteck: abgerundete Ecken 40">
            <a:extLst>
              <a:ext uri="{FF2B5EF4-FFF2-40B4-BE49-F238E27FC236}">
                <a16:creationId xmlns:a16="http://schemas.microsoft.com/office/drawing/2014/main" id="{8E2A35B4-08DC-4C68-80B1-B6FA91906473}"/>
              </a:ext>
            </a:extLst>
          </p:cNvPr>
          <p:cNvSpPr/>
          <p:nvPr/>
        </p:nvSpPr>
        <p:spPr>
          <a:xfrm>
            <a:off x="3209824" y="4115115"/>
            <a:ext cx="1620000" cy="702778"/>
          </a:xfrm>
          <a:prstGeom prst="roundRect">
            <a:avLst/>
          </a:prstGeom>
          <a:solidFill>
            <a:srgbClr val="20386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a:latin typeface="Arial" panose="020B0604020202020204" pitchFamily="34" charset="0"/>
                <a:cs typeface="Arial" panose="020B0604020202020204" pitchFamily="34" charset="0"/>
              </a:rPr>
              <a:t>Integrity check</a:t>
            </a:r>
          </a:p>
          <a:p>
            <a:pPr algn="ctr"/>
            <a:r>
              <a:rPr lang="de-CH" sz="1200">
                <a:latin typeface="Arial" panose="020B0604020202020204" pitchFamily="34" charset="0"/>
                <a:cs typeface="Arial" panose="020B0604020202020204" pitchFamily="34" charset="0"/>
              </a:rPr>
              <a:t>Validation check</a:t>
            </a:r>
          </a:p>
        </p:txBody>
      </p:sp>
      <p:sp>
        <p:nvSpPr>
          <p:cNvPr id="43" name="Rechteck: abgerundete Ecken 42">
            <a:extLst>
              <a:ext uri="{FF2B5EF4-FFF2-40B4-BE49-F238E27FC236}">
                <a16:creationId xmlns:a16="http://schemas.microsoft.com/office/drawing/2014/main" id="{5B9B524D-B2AF-4C3A-9818-2DA5A726A8D0}"/>
              </a:ext>
            </a:extLst>
          </p:cNvPr>
          <p:cNvSpPr/>
          <p:nvPr/>
        </p:nvSpPr>
        <p:spPr>
          <a:xfrm>
            <a:off x="8531932" y="1949789"/>
            <a:ext cx="322128" cy="1761413"/>
          </a:xfrm>
          <a:prstGeom prst="round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CH" sz="1350" b="1"/>
              <a:t>E</a:t>
            </a:r>
          </a:p>
          <a:p>
            <a:r>
              <a:rPr lang="de-CH" sz="1350" b="1"/>
              <a:t>U</a:t>
            </a:r>
          </a:p>
          <a:p>
            <a:r>
              <a:rPr lang="de-CH" sz="1350" b="1"/>
              <a:t>D</a:t>
            </a:r>
          </a:p>
          <a:p>
            <a:r>
              <a:rPr lang="de-CH" sz="1350" b="1"/>
              <a:t>A</a:t>
            </a:r>
          </a:p>
          <a:p>
            <a:r>
              <a:rPr lang="de-CH" sz="1350" b="1"/>
              <a:t>M</a:t>
            </a:r>
          </a:p>
          <a:p>
            <a:r>
              <a:rPr lang="de-CH" sz="1350" b="1"/>
              <a:t>E</a:t>
            </a:r>
          </a:p>
          <a:p>
            <a:r>
              <a:rPr lang="de-CH" sz="1350" b="1"/>
              <a:t>D</a:t>
            </a:r>
          </a:p>
        </p:txBody>
      </p:sp>
      <p:sp>
        <p:nvSpPr>
          <p:cNvPr id="44" name="Rechteck: abgerundete Ecken 43">
            <a:extLst>
              <a:ext uri="{FF2B5EF4-FFF2-40B4-BE49-F238E27FC236}">
                <a16:creationId xmlns:a16="http://schemas.microsoft.com/office/drawing/2014/main" id="{87B16B71-40C1-4B47-96E8-5F15754C1997}"/>
              </a:ext>
            </a:extLst>
          </p:cNvPr>
          <p:cNvSpPr/>
          <p:nvPr/>
        </p:nvSpPr>
        <p:spPr>
          <a:xfrm>
            <a:off x="5221830" y="2249178"/>
            <a:ext cx="1620000" cy="314633"/>
          </a:xfrm>
          <a:prstGeom prst="roundRect">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b="1">
                <a:latin typeface="Arial" panose="020B0604020202020204" pitchFamily="34" charset="0"/>
                <a:cs typeface="Arial" panose="020B0604020202020204" pitchFamily="34" charset="0"/>
              </a:rPr>
              <a:t>Excel </a:t>
            </a:r>
            <a:r>
              <a:rPr lang="de-CH" sz="1200" b="1" err="1">
                <a:latin typeface="Arial" panose="020B0604020202020204" pitchFamily="34" charset="0"/>
                <a:cs typeface="Arial" panose="020B0604020202020204" pitchFamily="34" charset="0"/>
              </a:rPr>
              <a:t>export</a:t>
            </a:r>
            <a:endParaRPr lang="de-CH" sz="1200" b="1">
              <a:latin typeface="Arial" panose="020B0604020202020204" pitchFamily="34" charset="0"/>
              <a:cs typeface="Arial" panose="020B0604020202020204" pitchFamily="34" charset="0"/>
            </a:endParaRPr>
          </a:p>
        </p:txBody>
      </p:sp>
      <p:sp>
        <p:nvSpPr>
          <p:cNvPr id="45" name="Rechteck: abgerundete Ecken 44">
            <a:extLst>
              <a:ext uri="{FF2B5EF4-FFF2-40B4-BE49-F238E27FC236}">
                <a16:creationId xmlns:a16="http://schemas.microsoft.com/office/drawing/2014/main" id="{646486A8-D8A3-4FA5-875E-0F3F80A7D1A8}"/>
              </a:ext>
            </a:extLst>
          </p:cNvPr>
          <p:cNvSpPr/>
          <p:nvPr/>
        </p:nvSpPr>
        <p:spPr>
          <a:xfrm>
            <a:off x="5222731" y="3123064"/>
            <a:ext cx="1620000" cy="408087"/>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200">
              <a:latin typeface="Arial" panose="020B0604020202020204" pitchFamily="34" charset="0"/>
              <a:cs typeface="Arial" panose="020B0604020202020204" pitchFamily="34" charset="0"/>
            </a:endParaRPr>
          </a:p>
        </p:txBody>
      </p:sp>
      <p:sp>
        <p:nvSpPr>
          <p:cNvPr id="54" name="Rechteck: abgerundete Ecken 53">
            <a:extLst>
              <a:ext uri="{FF2B5EF4-FFF2-40B4-BE49-F238E27FC236}">
                <a16:creationId xmlns:a16="http://schemas.microsoft.com/office/drawing/2014/main" id="{C90BCC80-CC53-4FAB-90F5-99AED375928F}"/>
              </a:ext>
            </a:extLst>
          </p:cNvPr>
          <p:cNvSpPr/>
          <p:nvPr/>
        </p:nvSpPr>
        <p:spPr>
          <a:xfrm>
            <a:off x="374876" y="1139292"/>
            <a:ext cx="3298357" cy="415894"/>
          </a:xfrm>
          <a:prstGeom prst="roundRect">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solidFill>
                  <a:schemeClr val="bg1"/>
                </a:solidFill>
                <a:latin typeface="Arial" panose="020B0604020202020204" pitchFamily="34" charset="0"/>
                <a:cs typeface="Arial" panose="020B0604020202020204" pitchFamily="34" charset="0"/>
              </a:rPr>
              <a:t>UDI relevant </a:t>
            </a:r>
            <a:r>
              <a:rPr lang="de-DE" sz="1200" err="1">
                <a:solidFill>
                  <a:schemeClr val="bg1"/>
                </a:solidFill>
                <a:latin typeface="Arial" panose="020B0604020202020204" pitchFamily="34" charset="0"/>
                <a:cs typeface="Arial" panose="020B0604020202020204" pitchFamily="34" charset="0"/>
              </a:rPr>
              <a:t>marking</a:t>
            </a:r>
            <a:endParaRPr lang="de-DE" sz="1200">
              <a:solidFill>
                <a:schemeClr val="bg1"/>
              </a:solidFill>
              <a:latin typeface="Arial" panose="020B0604020202020204" pitchFamily="34" charset="0"/>
              <a:cs typeface="Arial" panose="020B0604020202020204" pitchFamily="34" charset="0"/>
            </a:endParaRPr>
          </a:p>
        </p:txBody>
      </p:sp>
      <p:cxnSp>
        <p:nvCxnSpPr>
          <p:cNvPr id="8" name="Gerade Verbindung mit Pfeil 7">
            <a:extLst>
              <a:ext uri="{FF2B5EF4-FFF2-40B4-BE49-F238E27FC236}">
                <a16:creationId xmlns:a16="http://schemas.microsoft.com/office/drawing/2014/main" id="{7F8FBB42-5E6F-494A-9FA9-D776E43B375D}"/>
              </a:ext>
            </a:extLst>
          </p:cNvPr>
          <p:cNvCxnSpPr>
            <a:cxnSpLocks/>
            <a:endCxn id="35" idx="0"/>
          </p:cNvCxnSpPr>
          <p:nvPr/>
        </p:nvCxnSpPr>
        <p:spPr>
          <a:xfrm>
            <a:off x="1184876" y="1555186"/>
            <a:ext cx="0" cy="274539"/>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0" name="Gerade Verbindung mit Pfeil 9">
            <a:extLst>
              <a:ext uri="{FF2B5EF4-FFF2-40B4-BE49-F238E27FC236}">
                <a16:creationId xmlns:a16="http://schemas.microsoft.com/office/drawing/2014/main" id="{3079ADE2-81AA-4647-AA7F-C4E7527E5280}"/>
              </a:ext>
            </a:extLst>
          </p:cNvPr>
          <p:cNvCxnSpPr>
            <a:cxnSpLocks/>
            <a:endCxn id="36" idx="0"/>
          </p:cNvCxnSpPr>
          <p:nvPr/>
        </p:nvCxnSpPr>
        <p:spPr>
          <a:xfrm>
            <a:off x="2863233" y="1550979"/>
            <a:ext cx="0" cy="28716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69" name="Gerade Verbindung mit Pfeil 68">
            <a:extLst>
              <a:ext uri="{FF2B5EF4-FFF2-40B4-BE49-F238E27FC236}">
                <a16:creationId xmlns:a16="http://schemas.microsoft.com/office/drawing/2014/main" id="{1B16878B-8423-441F-856F-52AE4DCDB29D}"/>
              </a:ext>
            </a:extLst>
          </p:cNvPr>
          <p:cNvCxnSpPr>
            <a:cxnSpLocks/>
          </p:cNvCxnSpPr>
          <p:nvPr/>
        </p:nvCxnSpPr>
        <p:spPr>
          <a:xfrm>
            <a:off x="1548144" y="2606501"/>
            <a:ext cx="0" cy="266124"/>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1" name="Gerade Verbindung mit Pfeil 70">
            <a:extLst>
              <a:ext uri="{FF2B5EF4-FFF2-40B4-BE49-F238E27FC236}">
                <a16:creationId xmlns:a16="http://schemas.microsoft.com/office/drawing/2014/main" id="{EB808EBE-B377-40AD-94B2-C1CD1E859C23}"/>
              </a:ext>
            </a:extLst>
          </p:cNvPr>
          <p:cNvCxnSpPr/>
          <p:nvPr/>
        </p:nvCxnSpPr>
        <p:spPr>
          <a:xfrm>
            <a:off x="2534971" y="2636056"/>
            <a:ext cx="0" cy="244984"/>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5" name="Gerade Verbindung mit Pfeil 74">
            <a:extLst>
              <a:ext uri="{FF2B5EF4-FFF2-40B4-BE49-F238E27FC236}">
                <a16:creationId xmlns:a16="http://schemas.microsoft.com/office/drawing/2014/main" id="{71D0F3A7-5FF8-4078-9F7D-F8BB0FEDE112}"/>
              </a:ext>
            </a:extLst>
          </p:cNvPr>
          <p:cNvCxnSpPr>
            <a:cxnSpLocks/>
            <a:stCxn id="37" idx="3"/>
            <a:endCxn id="38" idx="1"/>
          </p:cNvCxnSpPr>
          <p:nvPr/>
        </p:nvCxnSpPr>
        <p:spPr>
          <a:xfrm>
            <a:off x="2838206" y="3318604"/>
            <a:ext cx="371619"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7" name="Gerade Verbindung mit Pfeil 76">
            <a:extLst>
              <a:ext uri="{FF2B5EF4-FFF2-40B4-BE49-F238E27FC236}">
                <a16:creationId xmlns:a16="http://schemas.microsoft.com/office/drawing/2014/main" id="{3EA88A85-494A-4551-8527-12C496D561A3}"/>
              </a:ext>
            </a:extLst>
          </p:cNvPr>
          <p:cNvCxnSpPr>
            <a:cxnSpLocks/>
            <a:stCxn id="38" idx="2"/>
            <a:endCxn id="41" idx="0"/>
          </p:cNvCxnSpPr>
          <p:nvPr/>
        </p:nvCxnSpPr>
        <p:spPr>
          <a:xfrm flipH="1">
            <a:off x="4019824" y="3756168"/>
            <a:ext cx="1" cy="35894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9" name="Gerade Verbindung mit Pfeil 78">
            <a:extLst>
              <a:ext uri="{FF2B5EF4-FFF2-40B4-BE49-F238E27FC236}">
                <a16:creationId xmlns:a16="http://schemas.microsoft.com/office/drawing/2014/main" id="{EE89B85E-1B80-4056-9B33-499490C7AC53}"/>
              </a:ext>
            </a:extLst>
          </p:cNvPr>
          <p:cNvCxnSpPr>
            <a:cxnSpLocks/>
            <a:stCxn id="41" idx="3"/>
            <a:endCxn id="39" idx="1"/>
          </p:cNvCxnSpPr>
          <p:nvPr/>
        </p:nvCxnSpPr>
        <p:spPr>
          <a:xfrm>
            <a:off x="4829824" y="4466504"/>
            <a:ext cx="392907"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81" name="Gerade Verbindung mit Pfeil 80">
            <a:extLst>
              <a:ext uri="{FF2B5EF4-FFF2-40B4-BE49-F238E27FC236}">
                <a16:creationId xmlns:a16="http://schemas.microsoft.com/office/drawing/2014/main" id="{BD62FE4F-238A-4316-8DF4-8E2F26C7E1ED}"/>
              </a:ext>
            </a:extLst>
          </p:cNvPr>
          <p:cNvCxnSpPr>
            <a:cxnSpLocks/>
            <a:stCxn id="39" idx="0"/>
          </p:cNvCxnSpPr>
          <p:nvPr/>
        </p:nvCxnSpPr>
        <p:spPr>
          <a:xfrm flipH="1" flipV="1">
            <a:off x="6024969" y="3763728"/>
            <a:ext cx="7762" cy="35138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86" name="Textfeld 85">
            <a:extLst>
              <a:ext uri="{FF2B5EF4-FFF2-40B4-BE49-F238E27FC236}">
                <a16:creationId xmlns:a16="http://schemas.microsoft.com/office/drawing/2014/main" id="{BE02670F-8114-4463-936A-9D2672146D41}"/>
              </a:ext>
            </a:extLst>
          </p:cNvPr>
          <p:cNvSpPr txBox="1"/>
          <p:nvPr/>
        </p:nvSpPr>
        <p:spPr>
          <a:xfrm>
            <a:off x="5222731" y="3117396"/>
            <a:ext cx="1634256" cy="646331"/>
          </a:xfrm>
          <a:prstGeom prst="rect">
            <a:avLst/>
          </a:prstGeom>
          <a:noFill/>
        </p:spPr>
        <p:txBody>
          <a:bodyPr wrap="square" rtlCol="0">
            <a:spAutoFit/>
          </a:bodyPr>
          <a:lstStyle/>
          <a:p>
            <a:pPr algn="ctr"/>
            <a:r>
              <a:rPr lang="en-US" sz="1200">
                <a:solidFill>
                  <a:schemeClr val="bg1"/>
                </a:solidFill>
                <a:latin typeface="Arial" panose="020B0604020202020204" pitchFamily="34" charset="0"/>
                <a:cs typeface="Arial" panose="020B0604020202020204" pitchFamily="34" charset="0"/>
              </a:rPr>
              <a:t>Europe IT Consulting Web Service</a:t>
            </a:r>
          </a:p>
          <a:p>
            <a:pPr algn="ctr"/>
            <a:endParaRPr lang="en-US" sz="1200">
              <a:solidFill>
                <a:schemeClr val="bg1"/>
              </a:solidFill>
              <a:latin typeface="Arial" panose="020B0604020202020204" pitchFamily="34" charset="0"/>
              <a:cs typeface="Arial" panose="020B0604020202020204" pitchFamily="34" charset="0"/>
            </a:endParaRPr>
          </a:p>
        </p:txBody>
      </p:sp>
      <p:cxnSp>
        <p:nvCxnSpPr>
          <p:cNvPr id="104" name="Gerade Verbindung mit Pfeil 103">
            <a:extLst>
              <a:ext uri="{FF2B5EF4-FFF2-40B4-BE49-F238E27FC236}">
                <a16:creationId xmlns:a16="http://schemas.microsoft.com/office/drawing/2014/main" id="{98A2D59C-096A-46B5-8EBF-CAAECD1A9BCB}"/>
              </a:ext>
            </a:extLst>
          </p:cNvPr>
          <p:cNvCxnSpPr>
            <a:cxnSpLocks/>
            <a:stCxn id="40" idx="3"/>
            <a:endCxn id="43" idx="1"/>
          </p:cNvCxnSpPr>
          <p:nvPr/>
        </p:nvCxnSpPr>
        <p:spPr>
          <a:xfrm flipV="1">
            <a:off x="6842731" y="2830496"/>
            <a:ext cx="1689201" cy="1423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06" name="Verbinder: gewinkelt 105">
            <a:extLst>
              <a:ext uri="{FF2B5EF4-FFF2-40B4-BE49-F238E27FC236}">
                <a16:creationId xmlns:a16="http://schemas.microsoft.com/office/drawing/2014/main" id="{7F8C2BBE-4ED8-4524-9F9D-68F561918F36}"/>
              </a:ext>
            </a:extLst>
          </p:cNvPr>
          <p:cNvCxnSpPr>
            <a:cxnSpLocks/>
            <a:stCxn id="44" idx="3"/>
          </p:cNvCxnSpPr>
          <p:nvPr/>
        </p:nvCxnSpPr>
        <p:spPr>
          <a:xfrm flipV="1">
            <a:off x="6841830" y="2133831"/>
            <a:ext cx="1690102" cy="272664"/>
          </a:xfrm>
          <a:prstGeom prst="bentConnector3">
            <a:avLst>
              <a:gd name="adj1" fmla="val 19466"/>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08" name="Verbinder: gewinkelt 107">
            <a:extLst>
              <a:ext uri="{FF2B5EF4-FFF2-40B4-BE49-F238E27FC236}">
                <a16:creationId xmlns:a16="http://schemas.microsoft.com/office/drawing/2014/main" id="{ADDCFB2A-B92B-402C-8E9F-2C24F61DFD77}"/>
              </a:ext>
            </a:extLst>
          </p:cNvPr>
          <p:cNvCxnSpPr>
            <a:cxnSpLocks/>
          </p:cNvCxnSpPr>
          <p:nvPr/>
        </p:nvCxnSpPr>
        <p:spPr>
          <a:xfrm>
            <a:off x="6841830" y="3318604"/>
            <a:ext cx="1660625" cy="177230"/>
          </a:xfrm>
          <a:prstGeom prst="bentConnector3">
            <a:avLst>
              <a:gd name="adj1" fmla="val 21105"/>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53" name="Rechteck: abgerundete Ecken 52">
            <a:extLst>
              <a:ext uri="{FF2B5EF4-FFF2-40B4-BE49-F238E27FC236}">
                <a16:creationId xmlns:a16="http://schemas.microsoft.com/office/drawing/2014/main" id="{DC1BB485-83A3-4556-8949-E18D80FCAA63}"/>
              </a:ext>
            </a:extLst>
          </p:cNvPr>
          <p:cNvSpPr/>
          <p:nvPr/>
        </p:nvSpPr>
        <p:spPr>
          <a:xfrm>
            <a:off x="7385220" y="1940928"/>
            <a:ext cx="784325" cy="484748"/>
          </a:xfrm>
          <a:prstGeom prst="roundRect">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b="1"/>
              <a:t>3rd Party</a:t>
            </a:r>
          </a:p>
        </p:txBody>
      </p:sp>
      <p:sp>
        <p:nvSpPr>
          <p:cNvPr id="46" name="Rechteck: abgerundete Ecken 45">
            <a:extLst>
              <a:ext uri="{FF2B5EF4-FFF2-40B4-BE49-F238E27FC236}">
                <a16:creationId xmlns:a16="http://schemas.microsoft.com/office/drawing/2014/main" id="{55F6C6E1-DD30-43DE-BD84-8F53864D115C}"/>
              </a:ext>
            </a:extLst>
          </p:cNvPr>
          <p:cNvSpPr/>
          <p:nvPr/>
        </p:nvSpPr>
        <p:spPr>
          <a:xfrm>
            <a:off x="7392257" y="3254377"/>
            <a:ext cx="784325" cy="484748"/>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err="1"/>
              <a:t>WebService</a:t>
            </a:r>
            <a:endParaRPr lang="de-DE" sz="800"/>
          </a:p>
          <a:p>
            <a:pPr algn="ctr"/>
            <a:r>
              <a:rPr lang="de-DE" sz="800"/>
              <a:t>(SSL</a:t>
            </a:r>
            <a:r>
              <a:rPr lang="de-DE" sz="900"/>
              <a:t>)</a:t>
            </a:r>
          </a:p>
        </p:txBody>
      </p:sp>
      <p:sp>
        <p:nvSpPr>
          <p:cNvPr id="48" name="Rechteck: abgerundete Ecken 47">
            <a:extLst>
              <a:ext uri="{FF2B5EF4-FFF2-40B4-BE49-F238E27FC236}">
                <a16:creationId xmlns:a16="http://schemas.microsoft.com/office/drawing/2014/main" id="{E166C7F1-E948-4DCE-95F4-24D33AEBBFBE}"/>
              </a:ext>
            </a:extLst>
          </p:cNvPr>
          <p:cNvSpPr/>
          <p:nvPr/>
        </p:nvSpPr>
        <p:spPr>
          <a:xfrm>
            <a:off x="7388977" y="2597194"/>
            <a:ext cx="784325" cy="484748"/>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err="1"/>
              <a:t>WebTrader</a:t>
            </a:r>
            <a:endParaRPr lang="de-DE" sz="800"/>
          </a:p>
        </p:txBody>
      </p:sp>
    </p:spTree>
    <p:extLst>
      <p:ext uri="{BB962C8B-B14F-4D97-AF65-F5344CB8AC3E}">
        <p14:creationId xmlns:p14="http://schemas.microsoft.com/office/powerpoint/2010/main" val="348676598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A54805E7-1B9B-4B0B-AE3A-988A8D38A89F}"/>
              </a:ext>
            </a:extLst>
          </p:cNvPr>
          <p:cNvPicPr>
            <a:picLocks noChangeAspect="1"/>
          </p:cNvPicPr>
          <p:nvPr/>
        </p:nvPicPr>
        <p:blipFill>
          <a:blip r:embed="rId2"/>
          <a:stretch>
            <a:fillRect/>
          </a:stretch>
        </p:blipFill>
        <p:spPr>
          <a:xfrm>
            <a:off x="4262323" y="558236"/>
            <a:ext cx="3914259" cy="4202245"/>
          </a:xfrm>
          <a:prstGeom prst="rect">
            <a:avLst/>
          </a:prstGeom>
          <a:ln w="19050">
            <a:solidFill>
              <a:srgbClr val="2F5597"/>
            </a:solidFill>
          </a:ln>
          <a:effectLst/>
        </p:spPr>
      </p:pic>
      <p:sp>
        <p:nvSpPr>
          <p:cNvPr id="23" name="Rechteck 22">
            <a:extLst>
              <a:ext uri="{FF2B5EF4-FFF2-40B4-BE49-F238E27FC236}">
                <a16:creationId xmlns:a16="http://schemas.microsoft.com/office/drawing/2014/main" id="{49A605B4-C047-4654-800E-4B386340AE21}"/>
              </a:ext>
            </a:extLst>
          </p:cNvPr>
          <p:cNvSpPr/>
          <p:nvPr/>
        </p:nvSpPr>
        <p:spPr>
          <a:xfrm>
            <a:off x="5657850" y="1509550"/>
            <a:ext cx="1915402" cy="134125"/>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4" name="Rechteck 23">
            <a:extLst>
              <a:ext uri="{FF2B5EF4-FFF2-40B4-BE49-F238E27FC236}">
                <a16:creationId xmlns:a16="http://schemas.microsoft.com/office/drawing/2014/main" id="{C470014D-86AB-4998-8C0C-A856EE27F7EA}"/>
              </a:ext>
            </a:extLst>
          </p:cNvPr>
          <p:cNvSpPr/>
          <p:nvPr/>
        </p:nvSpPr>
        <p:spPr>
          <a:xfrm>
            <a:off x="4302729" y="772777"/>
            <a:ext cx="150030" cy="143584"/>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30" name="Textplatzhalter 5">
            <a:extLst>
              <a:ext uri="{FF2B5EF4-FFF2-40B4-BE49-F238E27FC236}">
                <a16:creationId xmlns:a16="http://schemas.microsoft.com/office/drawing/2014/main" id="{4CB41746-BB15-449B-B066-D1EF36B577F0}"/>
              </a:ext>
            </a:extLst>
          </p:cNvPr>
          <p:cNvSpPr>
            <a:spLocks noGrp="1"/>
          </p:cNvSpPr>
          <p:nvPr>
            <p:ph type="body" sz="quarter" idx="18"/>
          </p:nvPr>
        </p:nvSpPr>
        <p:spPr>
          <a:xfrm>
            <a:off x="219267" y="794161"/>
            <a:ext cx="8600883" cy="330544"/>
          </a:xfrm>
        </p:spPr>
        <p:txBody>
          <a:bodyPr>
            <a:normAutofit/>
          </a:bodyPr>
          <a:lstStyle/>
          <a:p>
            <a:r>
              <a:rPr lang="de-DE"/>
              <a:t>2.8 Excel </a:t>
            </a:r>
            <a:r>
              <a:rPr lang="de-DE" err="1"/>
              <a:t>export</a:t>
            </a:r>
            <a:r>
              <a:rPr lang="de-DE"/>
              <a:t> </a:t>
            </a:r>
            <a:endParaRPr lang="en-US"/>
          </a:p>
          <a:p>
            <a:endParaRPr lang="de-DE"/>
          </a:p>
          <a:p>
            <a:endParaRPr lang="de-DE"/>
          </a:p>
        </p:txBody>
      </p:sp>
      <p:sp>
        <p:nvSpPr>
          <p:cNvPr id="31" name="Titel 2">
            <a:extLst>
              <a:ext uri="{FF2B5EF4-FFF2-40B4-BE49-F238E27FC236}">
                <a16:creationId xmlns:a16="http://schemas.microsoft.com/office/drawing/2014/main" id="{8E8CD5B8-CBB1-4728-A26F-38E990896772}"/>
              </a:ext>
            </a:extLst>
          </p:cNvPr>
          <p:cNvSpPr>
            <a:spLocks noGrp="1"/>
          </p:cNvSpPr>
          <p:nvPr>
            <p:ph type="title"/>
          </p:nvPr>
        </p:nvSpPr>
        <p:spPr>
          <a:xfrm>
            <a:off x="269393" y="78770"/>
            <a:ext cx="7907189" cy="330545"/>
          </a:xfrm>
        </p:spPr>
        <p:txBody>
          <a:bodyPr>
            <a:normAutofit fontScale="90000"/>
          </a:bodyPr>
          <a:lstStyle/>
          <a:p>
            <a:r>
              <a:rPr lang="de-DE"/>
              <a:t>2. </a:t>
            </a:r>
            <a:r>
              <a:rPr lang="en-US"/>
              <a:t>W</a:t>
            </a:r>
            <a:r>
              <a:rPr lang="en-US" sz="1800" b="1"/>
              <a:t>ork processes from the database to data transmission </a:t>
            </a:r>
            <a:endParaRPr lang="de-DE"/>
          </a:p>
        </p:txBody>
      </p:sp>
      <p:sp>
        <p:nvSpPr>
          <p:cNvPr id="26" name="Rechteck 25">
            <a:extLst>
              <a:ext uri="{FF2B5EF4-FFF2-40B4-BE49-F238E27FC236}">
                <a16:creationId xmlns:a16="http://schemas.microsoft.com/office/drawing/2014/main" id="{ABC8C899-F5D3-4046-AF4E-0CD8A6F2B1CD}"/>
              </a:ext>
            </a:extLst>
          </p:cNvPr>
          <p:cNvSpPr/>
          <p:nvPr/>
        </p:nvSpPr>
        <p:spPr>
          <a:xfrm>
            <a:off x="4370893" y="1131912"/>
            <a:ext cx="672223" cy="12593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7" name="Rechteck 26">
            <a:extLst>
              <a:ext uri="{FF2B5EF4-FFF2-40B4-BE49-F238E27FC236}">
                <a16:creationId xmlns:a16="http://schemas.microsoft.com/office/drawing/2014/main" id="{08D42065-A7A1-4915-990A-BFC51F2D2A6C}"/>
              </a:ext>
            </a:extLst>
          </p:cNvPr>
          <p:cNvSpPr/>
          <p:nvPr/>
        </p:nvSpPr>
        <p:spPr>
          <a:xfrm>
            <a:off x="4284653" y="1744653"/>
            <a:ext cx="1830045" cy="833142"/>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8" name="Rechteck 27">
            <a:extLst>
              <a:ext uri="{FF2B5EF4-FFF2-40B4-BE49-F238E27FC236}">
                <a16:creationId xmlns:a16="http://schemas.microsoft.com/office/drawing/2014/main" id="{56A1E27D-2407-4780-8FC1-EF29CEB796FA}"/>
              </a:ext>
            </a:extLst>
          </p:cNvPr>
          <p:cNvSpPr/>
          <p:nvPr/>
        </p:nvSpPr>
        <p:spPr>
          <a:xfrm>
            <a:off x="4284653" y="2664235"/>
            <a:ext cx="3423743" cy="2015715"/>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32" name="Ellipse 31">
            <a:extLst>
              <a:ext uri="{FF2B5EF4-FFF2-40B4-BE49-F238E27FC236}">
                <a16:creationId xmlns:a16="http://schemas.microsoft.com/office/drawing/2014/main" id="{A53D7088-17BE-4167-B040-4D27B9564F89}"/>
              </a:ext>
            </a:extLst>
          </p:cNvPr>
          <p:cNvSpPr/>
          <p:nvPr/>
        </p:nvSpPr>
        <p:spPr>
          <a:xfrm>
            <a:off x="5074990" y="1103681"/>
            <a:ext cx="196616" cy="193134"/>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a:t>1</a:t>
            </a:r>
            <a:endParaRPr lang="en-US" sz="1000"/>
          </a:p>
        </p:txBody>
      </p:sp>
      <p:sp>
        <p:nvSpPr>
          <p:cNvPr id="33" name="Ellipse 32">
            <a:extLst>
              <a:ext uri="{FF2B5EF4-FFF2-40B4-BE49-F238E27FC236}">
                <a16:creationId xmlns:a16="http://schemas.microsoft.com/office/drawing/2014/main" id="{5908A8CF-3870-4B2F-9F59-0DB6157D1617}"/>
              </a:ext>
            </a:extLst>
          </p:cNvPr>
          <p:cNvSpPr/>
          <p:nvPr/>
        </p:nvSpPr>
        <p:spPr>
          <a:xfrm>
            <a:off x="7646686" y="1471093"/>
            <a:ext cx="196616" cy="193134"/>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a:t>2</a:t>
            </a:r>
            <a:endParaRPr lang="en-US" sz="1000"/>
          </a:p>
        </p:txBody>
      </p:sp>
      <p:sp>
        <p:nvSpPr>
          <p:cNvPr id="34" name="Ellipse 33">
            <a:extLst>
              <a:ext uri="{FF2B5EF4-FFF2-40B4-BE49-F238E27FC236}">
                <a16:creationId xmlns:a16="http://schemas.microsoft.com/office/drawing/2014/main" id="{5866ABAB-F230-40A3-82E2-1153694118A9}"/>
              </a:ext>
            </a:extLst>
          </p:cNvPr>
          <p:cNvSpPr/>
          <p:nvPr/>
        </p:nvSpPr>
        <p:spPr>
          <a:xfrm>
            <a:off x="6232643" y="2014981"/>
            <a:ext cx="196616" cy="193134"/>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a:t>3</a:t>
            </a:r>
            <a:endParaRPr lang="en-US" sz="1000"/>
          </a:p>
        </p:txBody>
      </p:sp>
      <p:sp>
        <p:nvSpPr>
          <p:cNvPr id="35" name="Ellipse 34">
            <a:extLst>
              <a:ext uri="{FF2B5EF4-FFF2-40B4-BE49-F238E27FC236}">
                <a16:creationId xmlns:a16="http://schemas.microsoft.com/office/drawing/2014/main" id="{B13DD98E-A6EE-4FC1-857E-7C29DA40404E}"/>
              </a:ext>
            </a:extLst>
          </p:cNvPr>
          <p:cNvSpPr/>
          <p:nvPr/>
        </p:nvSpPr>
        <p:spPr>
          <a:xfrm>
            <a:off x="7833564" y="2846026"/>
            <a:ext cx="196616" cy="193134"/>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a:t>4</a:t>
            </a:r>
            <a:endParaRPr lang="en-US" sz="1000"/>
          </a:p>
        </p:txBody>
      </p:sp>
      <p:sp>
        <p:nvSpPr>
          <p:cNvPr id="36" name="Ellipse 35">
            <a:extLst>
              <a:ext uri="{FF2B5EF4-FFF2-40B4-BE49-F238E27FC236}">
                <a16:creationId xmlns:a16="http://schemas.microsoft.com/office/drawing/2014/main" id="{6FCC8167-8627-46A7-8349-2F768A626259}"/>
              </a:ext>
            </a:extLst>
          </p:cNvPr>
          <p:cNvSpPr/>
          <p:nvPr/>
        </p:nvSpPr>
        <p:spPr>
          <a:xfrm>
            <a:off x="4608696" y="748935"/>
            <a:ext cx="196616" cy="193134"/>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a:t>5</a:t>
            </a:r>
            <a:endParaRPr lang="en-US" sz="1000"/>
          </a:p>
        </p:txBody>
      </p:sp>
      <p:pic>
        <p:nvPicPr>
          <p:cNvPr id="3" name="Grafik 2">
            <a:extLst>
              <a:ext uri="{FF2B5EF4-FFF2-40B4-BE49-F238E27FC236}">
                <a16:creationId xmlns:a16="http://schemas.microsoft.com/office/drawing/2014/main" id="{26589761-8FEE-4B9F-A444-A47C0F791583}"/>
              </a:ext>
            </a:extLst>
          </p:cNvPr>
          <p:cNvPicPr>
            <a:picLocks noChangeAspect="1"/>
          </p:cNvPicPr>
          <p:nvPr/>
        </p:nvPicPr>
        <p:blipFill>
          <a:blip r:embed="rId3"/>
          <a:stretch>
            <a:fillRect/>
          </a:stretch>
        </p:blipFill>
        <p:spPr>
          <a:xfrm>
            <a:off x="248505" y="1529756"/>
            <a:ext cx="3416835" cy="1208527"/>
          </a:xfrm>
          <a:prstGeom prst="rect">
            <a:avLst/>
          </a:prstGeom>
          <a:ln w="19050">
            <a:solidFill>
              <a:srgbClr val="2F5597"/>
            </a:solidFill>
          </a:ln>
          <a:effectLst/>
        </p:spPr>
      </p:pic>
      <p:grpSp>
        <p:nvGrpSpPr>
          <p:cNvPr id="8" name="Gruppieren 7">
            <a:extLst>
              <a:ext uri="{FF2B5EF4-FFF2-40B4-BE49-F238E27FC236}">
                <a16:creationId xmlns:a16="http://schemas.microsoft.com/office/drawing/2014/main" id="{F3646A4A-3994-4385-8756-0AC3BF911092}"/>
              </a:ext>
            </a:extLst>
          </p:cNvPr>
          <p:cNvGrpSpPr/>
          <p:nvPr/>
        </p:nvGrpSpPr>
        <p:grpSpPr>
          <a:xfrm>
            <a:off x="5123640" y="3125600"/>
            <a:ext cx="2983821" cy="972504"/>
            <a:chOff x="5123640" y="3125600"/>
            <a:chExt cx="2983821" cy="972504"/>
          </a:xfrm>
        </p:grpSpPr>
        <p:pic>
          <p:nvPicPr>
            <p:cNvPr id="7" name="Grafik 6">
              <a:extLst>
                <a:ext uri="{FF2B5EF4-FFF2-40B4-BE49-F238E27FC236}">
                  <a16:creationId xmlns:a16="http://schemas.microsoft.com/office/drawing/2014/main" id="{1870E2C0-96E7-469F-88F0-3FED5BA0B833}"/>
                </a:ext>
              </a:extLst>
            </p:cNvPr>
            <p:cNvPicPr>
              <a:picLocks noChangeAspect="1"/>
            </p:cNvPicPr>
            <p:nvPr/>
          </p:nvPicPr>
          <p:blipFill rotWithShape="1">
            <a:blip r:embed="rId4"/>
            <a:srcRect r="1495" b="6621"/>
            <a:stretch/>
          </p:blipFill>
          <p:spPr>
            <a:xfrm>
              <a:off x="5123640" y="3125600"/>
              <a:ext cx="2983821" cy="972504"/>
            </a:xfrm>
            <a:prstGeom prst="rect">
              <a:avLst/>
            </a:prstGeom>
            <a:ln w="19050">
              <a:solidFill>
                <a:srgbClr val="2F5597"/>
              </a:solidFill>
            </a:ln>
            <a:effectLst/>
          </p:spPr>
        </p:pic>
        <p:sp>
          <p:nvSpPr>
            <p:cNvPr id="29" name="Ellipse 28">
              <a:extLst>
                <a:ext uri="{FF2B5EF4-FFF2-40B4-BE49-F238E27FC236}">
                  <a16:creationId xmlns:a16="http://schemas.microsoft.com/office/drawing/2014/main" id="{FFBEDA8E-252F-4D56-895F-EBF688CCB644}"/>
                </a:ext>
              </a:extLst>
            </p:cNvPr>
            <p:cNvSpPr/>
            <p:nvPr/>
          </p:nvSpPr>
          <p:spPr>
            <a:xfrm>
              <a:off x="5799908" y="3672092"/>
              <a:ext cx="196616" cy="193134"/>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a:t>6</a:t>
              </a:r>
              <a:endParaRPr lang="en-US" sz="1000"/>
            </a:p>
          </p:txBody>
        </p:sp>
        <p:sp>
          <p:nvSpPr>
            <p:cNvPr id="37" name="Rechteck 36">
              <a:extLst>
                <a:ext uri="{FF2B5EF4-FFF2-40B4-BE49-F238E27FC236}">
                  <a16:creationId xmlns:a16="http://schemas.microsoft.com/office/drawing/2014/main" id="{BCA31DC6-8658-46A8-9F90-11F63F57846B}"/>
                </a:ext>
              </a:extLst>
            </p:cNvPr>
            <p:cNvSpPr/>
            <p:nvPr/>
          </p:nvSpPr>
          <p:spPr>
            <a:xfrm>
              <a:off x="5367722" y="3884418"/>
              <a:ext cx="660359" cy="15475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grpSp>
    </p:spTree>
    <p:extLst>
      <p:ext uri="{BB962C8B-B14F-4D97-AF65-F5344CB8AC3E}">
        <p14:creationId xmlns:p14="http://schemas.microsoft.com/office/powerpoint/2010/main" val="37849970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6"/>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26" grpId="0" animBg="1"/>
      <p:bldP spid="27" grpId="0" animBg="1"/>
      <p:bldP spid="28" grpId="0" animBg="1"/>
      <p:bldP spid="32" grpId="0" animBg="1"/>
      <p:bldP spid="33" grpId="0" animBg="1"/>
      <p:bldP spid="34" grpId="0" animBg="1"/>
      <p:bldP spid="35" grpId="0" animBg="1"/>
      <p:bldP spid="36"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D506C34E-2B80-4350-9757-5CB8820799B8}"/>
              </a:ext>
            </a:extLst>
          </p:cNvPr>
          <p:cNvSpPr>
            <a:spLocks noGrp="1"/>
          </p:cNvSpPr>
          <p:nvPr>
            <p:ph type="body" sz="quarter" idx="18"/>
          </p:nvPr>
        </p:nvSpPr>
        <p:spPr/>
        <p:txBody>
          <a:bodyPr>
            <a:normAutofit/>
          </a:bodyPr>
          <a:lstStyle/>
          <a:p>
            <a:r>
              <a:rPr lang="de-DE"/>
              <a:t>1.1 SAP EUDAMED Add-On</a:t>
            </a:r>
          </a:p>
        </p:txBody>
      </p:sp>
      <p:sp>
        <p:nvSpPr>
          <p:cNvPr id="3" name="Inhaltsplatzhalter 2">
            <a:extLst>
              <a:ext uri="{FF2B5EF4-FFF2-40B4-BE49-F238E27FC236}">
                <a16:creationId xmlns:a16="http://schemas.microsoft.com/office/drawing/2014/main" id="{3F5685DE-5CDA-48CF-8110-2F734E749111}"/>
              </a:ext>
            </a:extLst>
          </p:cNvPr>
          <p:cNvSpPr>
            <a:spLocks noGrp="1"/>
          </p:cNvSpPr>
          <p:nvPr>
            <p:ph sz="quarter" idx="19"/>
          </p:nvPr>
        </p:nvSpPr>
        <p:spPr>
          <a:xfrm>
            <a:off x="219267" y="1360617"/>
            <a:ext cx="8569325" cy="2629848"/>
          </a:xfrm>
        </p:spPr>
        <p:txBody>
          <a:bodyPr>
            <a:normAutofit/>
          </a:bodyPr>
          <a:lstStyle/>
          <a:p>
            <a:pPr marL="171450" indent="-171450">
              <a:buFont typeface="Arial" panose="020B0604020202020204" pitchFamily="34" charset="0"/>
              <a:buChar char="•"/>
            </a:pPr>
            <a:r>
              <a:rPr lang="en-US"/>
              <a:t>According to the regulatory requirements of the European Union, all medical devices sold in the EU market must be registered in the European Database for Medical Devices (EUDAMED).</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The UDI SAP Add-On (EU) enables companies the administration of UDI master data in SAP.</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The UDI SAP Add-On (EU) enables the maintenance of UDI attributes in SAP. The UDI attributes and their characteristics have been defined by EUDAMED.</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The functionality of UDI Add-On (EU) has been divided into three sections.</a:t>
            </a:r>
          </a:p>
        </p:txBody>
      </p:sp>
      <p:sp>
        <p:nvSpPr>
          <p:cNvPr id="2" name="Titel 1">
            <a:extLst>
              <a:ext uri="{FF2B5EF4-FFF2-40B4-BE49-F238E27FC236}">
                <a16:creationId xmlns:a16="http://schemas.microsoft.com/office/drawing/2014/main" id="{AD941A56-5691-49DD-9983-B3865746CD56}"/>
              </a:ext>
            </a:extLst>
          </p:cNvPr>
          <p:cNvSpPr>
            <a:spLocks noGrp="1"/>
          </p:cNvSpPr>
          <p:nvPr>
            <p:ph type="title"/>
          </p:nvPr>
        </p:nvSpPr>
        <p:spPr/>
        <p:txBody>
          <a:bodyPr>
            <a:normAutofit fontScale="90000"/>
          </a:bodyPr>
          <a:lstStyle/>
          <a:p>
            <a:r>
              <a:rPr lang="de-DE"/>
              <a:t>1. </a:t>
            </a:r>
            <a:r>
              <a:rPr lang="de-DE" err="1"/>
              <a:t>Introduction</a:t>
            </a:r>
            <a:r>
              <a:rPr lang="de-DE"/>
              <a:t> </a:t>
            </a:r>
          </a:p>
        </p:txBody>
      </p:sp>
    </p:spTree>
    <p:extLst>
      <p:ext uri="{BB962C8B-B14F-4D97-AF65-F5344CB8AC3E}">
        <p14:creationId xmlns:p14="http://schemas.microsoft.com/office/powerpoint/2010/main" val="632335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2">
            <a:extLst>
              <a:ext uri="{FF2B5EF4-FFF2-40B4-BE49-F238E27FC236}">
                <a16:creationId xmlns:a16="http://schemas.microsoft.com/office/drawing/2014/main" id="{56F1738F-3A58-4E41-B798-A68396753563}"/>
              </a:ext>
            </a:extLst>
          </p:cNvPr>
          <p:cNvSpPr>
            <a:spLocks noGrp="1"/>
          </p:cNvSpPr>
          <p:nvPr>
            <p:ph type="title"/>
          </p:nvPr>
        </p:nvSpPr>
        <p:spPr>
          <a:xfrm>
            <a:off x="269393" y="78770"/>
            <a:ext cx="7907189" cy="330545"/>
          </a:xfrm>
        </p:spPr>
        <p:txBody>
          <a:bodyPr>
            <a:normAutofit fontScale="90000"/>
          </a:bodyPr>
          <a:lstStyle/>
          <a:p>
            <a:r>
              <a:rPr lang="de-DE"/>
              <a:t>2. </a:t>
            </a:r>
            <a:r>
              <a:rPr lang="en-US"/>
              <a:t>W</a:t>
            </a:r>
            <a:r>
              <a:rPr lang="en-US" sz="1800" b="1"/>
              <a:t>ork processes from the database to data transmission </a:t>
            </a:r>
            <a:endParaRPr lang="de-DE"/>
          </a:p>
        </p:txBody>
      </p:sp>
      <p:pic>
        <p:nvPicPr>
          <p:cNvPr id="3" name="Grafik 2">
            <a:extLst>
              <a:ext uri="{FF2B5EF4-FFF2-40B4-BE49-F238E27FC236}">
                <a16:creationId xmlns:a16="http://schemas.microsoft.com/office/drawing/2014/main" id="{78FC1B65-3841-4A44-9217-1C5860AD417E}"/>
              </a:ext>
            </a:extLst>
          </p:cNvPr>
          <p:cNvPicPr>
            <a:picLocks noChangeAspect="1"/>
          </p:cNvPicPr>
          <p:nvPr/>
        </p:nvPicPr>
        <p:blipFill>
          <a:blip r:embed="rId2"/>
          <a:stretch>
            <a:fillRect/>
          </a:stretch>
        </p:blipFill>
        <p:spPr>
          <a:xfrm>
            <a:off x="471653" y="1124705"/>
            <a:ext cx="5512083" cy="546128"/>
          </a:xfrm>
          <a:prstGeom prst="rect">
            <a:avLst/>
          </a:prstGeom>
          <a:ln w="19050">
            <a:solidFill>
              <a:srgbClr val="2F5597"/>
            </a:solidFill>
          </a:ln>
          <a:effectLst/>
        </p:spPr>
      </p:pic>
      <p:sp>
        <p:nvSpPr>
          <p:cNvPr id="12" name="Textplatzhalter 5">
            <a:extLst>
              <a:ext uri="{FF2B5EF4-FFF2-40B4-BE49-F238E27FC236}">
                <a16:creationId xmlns:a16="http://schemas.microsoft.com/office/drawing/2014/main" id="{736C8CCC-93B5-4E27-869F-9FE82389A69C}"/>
              </a:ext>
            </a:extLst>
          </p:cNvPr>
          <p:cNvSpPr>
            <a:spLocks noGrp="1"/>
          </p:cNvSpPr>
          <p:nvPr>
            <p:ph type="body" sz="quarter" idx="18"/>
          </p:nvPr>
        </p:nvSpPr>
        <p:spPr>
          <a:xfrm>
            <a:off x="219267" y="794161"/>
            <a:ext cx="8600883" cy="330544"/>
          </a:xfrm>
        </p:spPr>
        <p:txBody>
          <a:bodyPr>
            <a:normAutofit/>
          </a:bodyPr>
          <a:lstStyle/>
          <a:p>
            <a:r>
              <a:rPr lang="de-DE"/>
              <a:t>2.8 Excel </a:t>
            </a:r>
            <a:r>
              <a:rPr lang="de-DE" err="1"/>
              <a:t>export</a:t>
            </a:r>
            <a:r>
              <a:rPr lang="de-DE"/>
              <a:t> </a:t>
            </a:r>
            <a:endParaRPr lang="en-US"/>
          </a:p>
          <a:p>
            <a:endParaRPr lang="de-DE"/>
          </a:p>
          <a:p>
            <a:endParaRPr lang="de-DE"/>
          </a:p>
        </p:txBody>
      </p:sp>
      <p:sp>
        <p:nvSpPr>
          <p:cNvPr id="16" name="Rechteck 15">
            <a:extLst>
              <a:ext uri="{FF2B5EF4-FFF2-40B4-BE49-F238E27FC236}">
                <a16:creationId xmlns:a16="http://schemas.microsoft.com/office/drawing/2014/main" id="{F514AB4B-1D4E-4CA7-9F66-402E0D369059}"/>
              </a:ext>
            </a:extLst>
          </p:cNvPr>
          <p:cNvSpPr/>
          <p:nvPr/>
        </p:nvSpPr>
        <p:spPr>
          <a:xfrm>
            <a:off x="1696229" y="1159585"/>
            <a:ext cx="289520" cy="96009"/>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7" name="Grafik 6">
            <a:extLst>
              <a:ext uri="{FF2B5EF4-FFF2-40B4-BE49-F238E27FC236}">
                <a16:creationId xmlns:a16="http://schemas.microsoft.com/office/drawing/2014/main" id="{4A0F88B1-5C17-40B1-AD5C-B1B59978D9DC}"/>
              </a:ext>
            </a:extLst>
          </p:cNvPr>
          <p:cNvPicPr>
            <a:picLocks noChangeAspect="1"/>
          </p:cNvPicPr>
          <p:nvPr/>
        </p:nvPicPr>
        <p:blipFill rotWithShape="1">
          <a:blip r:embed="rId3"/>
          <a:srcRect t="2421" r="9254"/>
          <a:stretch/>
        </p:blipFill>
        <p:spPr>
          <a:xfrm>
            <a:off x="423081" y="1910687"/>
            <a:ext cx="8297838" cy="2223453"/>
          </a:xfrm>
          <a:prstGeom prst="rect">
            <a:avLst/>
          </a:prstGeom>
          <a:ln w="19050">
            <a:solidFill>
              <a:srgbClr val="2F5597"/>
            </a:solidFill>
          </a:ln>
          <a:effectLst/>
        </p:spPr>
      </p:pic>
      <p:pic>
        <p:nvPicPr>
          <p:cNvPr id="9" name="Grafik 8">
            <a:extLst>
              <a:ext uri="{FF2B5EF4-FFF2-40B4-BE49-F238E27FC236}">
                <a16:creationId xmlns:a16="http://schemas.microsoft.com/office/drawing/2014/main" id="{792A207B-B10B-4D1A-B22B-C8BFEAB550CA}"/>
              </a:ext>
            </a:extLst>
          </p:cNvPr>
          <p:cNvPicPr>
            <a:picLocks noChangeAspect="1"/>
          </p:cNvPicPr>
          <p:nvPr/>
        </p:nvPicPr>
        <p:blipFill rotWithShape="1">
          <a:blip r:embed="rId4"/>
          <a:srcRect t="336" r="9254" b="-1"/>
          <a:stretch/>
        </p:blipFill>
        <p:spPr>
          <a:xfrm>
            <a:off x="423081" y="1910687"/>
            <a:ext cx="8297838" cy="2276843"/>
          </a:xfrm>
          <a:prstGeom prst="rect">
            <a:avLst/>
          </a:prstGeom>
          <a:ln w="19050">
            <a:solidFill>
              <a:srgbClr val="2F5597"/>
            </a:solidFill>
          </a:ln>
          <a:effectLst/>
        </p:spPr>
      </p:pic>
    </p:spTree>
    <p:extLst>
      <p:ext uri="{BB962C8B-B14F-4D97-AF65-F5344CB8AC3E}">
        <p14:creationId xmlns:p14="http://schemas.microsoft.com/office/powerpoint/2010/main" val="25060035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A19744FE-0122-4458-A703-1ED9355A7C5F}"/>
              </a:ext>
            </a:extLst>
          </p:cNvPr>
          <p:cNvSpPr>
            <a:spLocks noGrp="1"/>
          </p:cNvSpPr>
          <p:nvPr>
            <p:ph type="body" sz="quarter" idx="18"/>
          </p:nvPr>
        </p:nvSpPr>
        <p:spPr/>
        <p:txBody>
          <a:bodyPr>
            <a:normAutofit/>
          </a:bodyPr>
          <a:lstStyle/>
          <a:p>
            <a:r>
              <a:rPr lang="de-DE"/>
              <a:t>2.9 XML </a:t>
            </a:r>
            <a:r>
              <a:rPr lang="de-DE" err="1"/>
              <a:t>export</a:t>
            </a:r>
            <a:r>
              <a:rPr lang="de-DE"/>
              <a:t> </a:t>
            </a:r>
            <a:endParaRPr lang="en-US"/>
          </a:p>
          <a:p>
            <a:endParaRPr lang="de-DE"/>
          </a:p>
          <a:p>
            <a:endParaRPr lang="de-DE"/>
          </a:p>
        </p:txBody>
      </p:sp>
      <p:sp>
        <p:nvSpPr>
          <p:cNvPr id="3" name="Titel 2">
            <a:extLst>
              <a:ext uri="{FF2B5EF4-FFF2-40B4-BE49-F238E27FC236}">
                <a16:creationId xmlns:a16="http://schemas.microsoft.com/office/drawing/2014/main" id="{17403686-94D3-4A24-BDEB-07854049E7FA}"/>
              </a:ext>
            </a:extLst>
          </p:cNvPr>
          <p:cNvSpPr>
            <a:spLocks noGrp="1"/>
          </p:cNvSpPr>
          <p:nvPr>
            <p:ph type="title"/>
          </p:nvPr>
        </p:nvSpPr>
        <p:spPr/>
        <p:txBody>
          <a:bodyPr>
            <a:normAutofit fontScale="90000"/>
          </a:bodyPr>
          <a:lstStyle/>
          <a:p>
            <a:r>
              <a:rPr lang="de-DE"/>
              <a:t>2. </a:t>
            </a:r>
            <a:r>
              <a:rPr lang="en-US"/>
              <a:t>W</a:t>
            </a:r>
            <a:r>
              <a:rPr lang="en-US" sz="1800" b="1"/>
              <a:t>ork processes from the database to data transmission </a:t>
            </a:r>
            <a:endParaRPr lang="de-DE"/>
          </a:p>
        </p:txBody>
      </p:sp>
      <p:sp>
        <p:nvSpPr>
          <p:cNvPr id="31" name="Rechteck: abgerundete Ecken 30">
            <a:extLst>
              <a:ext uri="{FF2B5EF4-FFF2-40B4-BE49-F238E27FC236}">
                <a16:creationId xmlns:a16="http://schemas.microsoft.com/office/drawing/2014/main" id="{C2E356A7-F0C9-4E37-8904-4CFAE1F864A1}"/>
              </a:ext>
            </a:extLst>
          </p:cNvPr>
          <p:cNvSpPr/>
          <p:nvPr/>
        </p:nvSpPr>
        <p:spPr>
          <a:xfrm>
            <a:off x="5124177" y="1827482"/>
            <a:ext cx="1797627" cy="1936246"/>
          </a:xfrm>
          <a:prstGeom prst="round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sz="1200" b="1">
                <a:solidFill>
                  <a:schemeClr val="tx1"/>
                </a:solidFill>
                <a:latin typeface="Arial" panose="020B0604020202020204" pitchFamily="34" charset="0"/>
                <a:cs typeface="Arial" panose="020B0604020202020204" pitchFamily="34" charset="0"/>
              </a:rPr>
              <a:t>Data </a:t>
            </a:r>
            <a:r>
              <a:rPr lang="de-DE" sz="1200" b="1" err="1">
                <a:solidFill>
                  <a:schemeClr val="tx1"/>
                </a:solidFill>
                <a:latin typeface="Arial" panose="020B0604020202020204" pitchFamily="34" charset="0"/>
                <a:cs typeface="Arial" panose="020B0604020202020204" pitchFamily="34" charset="0"/>
              </a:rPr>
              <a:t>transmission</a:t>
            </a:r>
            <a:endParaRPr lang="de-DE" sz="1200" b="1">
              <a:solidFill>
                <a:schemeClr val="tx1"/>
              </a:solidFill>
              <a:latin typeface="Arial" panose="020B0604020202020204" pitchFamily="34" charset="0"/>
              <a:cs typeface="Arial" panose="020B0604020202020204" pitchFamily="34" charset="0"/>
            </a:endParaRPr>
          </a:p>
          <a:p>
            <a:pPr algn="ctr"/>
            <a:endParaRPr lang="de-DE" sz="1200">
              <a:latin typeface="Arial" panose="020B0604020202020204" pitchFamily="34" charset="0"/>
              <a:cs typeface="Arial" panose="020B0604020202020204" pitchFamily="34" charset="0"/>
            </a:endParaRPr>
          </a:p>
          <a:p>
            <a:pPr algn="ctr"/>
            <a:endParaRPr lang="de-DE" sz="1200">
              <a:latin typeface="Arial" panose="020B0604020202020204" pitchFamily="34" charset="0"/>
              <a:cs typeface="Arial" panose="020B0604020202020204" pitchFamily="34" charset="0"/>
            </a:endParaRPr>
          </a:p>
          <a:p>
            <a:pPr algn="ctr"/>
            <a:endParaRPr lang="de-DE" sz="1200">
              <a:latin typeface="Arial" panose="020B0604020202020204" pitchFamily="34" charset="0"/>
              <a:cs typeface="Arial" panose="020B0604020202020204" pitchFamily="34" charset="0"/>
            </a:endParaRPr>
          </a:p>
          <a:p>
            <a:pPr algn="ctr"/>
            <a:endParaRPr lang="de-DE" sz="1200">
              <a:latin typeface="Arial" panose="020B0604020202020204" pitchFamily="34" charset="0"/>
              <a:cs typeface="Arial" panose="020B0604020202020204" pitchFamily="34" charset="0"/>
            </a:endParaRPr>
          </a:p>
          <a:p>
            <a:pPr algn="ctr"/>
            <a:endParaRPr lang="de-CH" sz="1200">
              <a:latin typeface="Arial" panose="020B0604020202020204" pitchFamily="34" charset="0"/>
              <a:cs typeface="Arial" panose="020B0604020202020204" pitchFamily="34" charset="0"/>
            </a:endParaRPr>
          </a:p>
        </p:txBody>
      </p:sp>
      <p:sp>
        <p:nvSpPr>
          <p:cNvPr id="35" name="Rechteck: abgerundete Ecken 34">
            <a:extLst>
              <a:ext uri="{FF2B5EF4-FFF2-40B4-BE49-F238E27FC236}">
                <a16:creationId xmlns:a16="http://schemas.microsoft.com/office/drawing/2014/main" id="{2F00C498-6C91-4802-B79A-B21A351086B1}"/>
              </a:ext>
            </a:extLst>
          </p:cNvPr>
          <p:cNvSpPr/>
          <p:nvPr/>
        </p:nvSpPr>
        <p:spPr>
          <a:xfrm>
            <a:off x="374876" y="1829725"/>
            <a:ext cx="1620000" cy="776776"/>
          </a:xfrm>
          <a:prstGeom prst="roundRect">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Arial" panose="020B0604020202020204" pitchFamily="34" charset="0"/>
                <a:cs typeface="Arial" panose="020B0604020202020204" pitchFamily="34" charset="0"/>
              </a:rPr>
              <a:t>Product creation in the Add-On</a:t>
            </a:r>
          </a:p>
        </p:txBody>
      </p:sp>
      <p:sp>
        <p:nvSpPr>
          <p:cNvPr id="36" name="Rechteck: abgerundete Ecken 35">
            <a:extLst>
              <a:ext uri="{FF2B5EF4-FFF2-40B4-BE49-F238E27FC236}">
                <a16:creationId xmlns:a16="http://schemas.microsoft.com/office/drawing/2014/main" id="{D66D3841-4BE4-4211-9A3B-E6FBAB054984}"/>
              </a:ext>
            </a:extLst>
          </p:cNvPr>
          <p:cNvSpPr/>
          <p:nvPr/>
        </p:nvSpPr>
        <p:spPr>
          <a:xfrm>
            <a:off x="2053233" y="1838140"/>
            <a:ext cx="1620000" cy="776776"/>
          </a:xfrm>
          <a:prstGeom prst="roundRect">
            <a:avLst/>
          </a:prstGeom>
          <a:solidFill>
            <a:srgbClr val="20386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err="1">
                <a:solidFill>
                  <a:schemeClr val="bg1"/>
                </a:solidFill>
                <a:latin typeface="Arial" panose="020B0604020202020204" pitchFamily="34" charset="0"/>
                <a:cs typeface="Arial" panose="020B0604020202020204" pitchFamily="34" charset="0"/>
              </a:rPr>
              <a:t>Product</a:t>
            </a:r>
            <a:r>
              <a:rPr lang="de-CH" sz="1200">
                <a:solidFill>
                  <a:schemeClr val="bg1"/>
                </a:solidFill>
                <a:latin typeface="Arial" panose="020B0604020202020204" pitchFamily="34" charset="0"/>
                <a:cs typeface="Arial" panose="020B0604020202020204" pitchFamily="34" charset="0"/>
              </a:rPr>
              <a:t> </a:t>
            </a:r>
            <a:r>
              <a:rPr lang="de-CH" sz="1200" err="1">
                <a:solidFill>
                  <a:schemeClr val="bg1"/>
                </a:solidFill>
                <a:latin typeface="Arial" panose="020B0604020202020204" pitchFamily="34" charset="0"/>
                <a:cs typeface="Arial" panose="020B0604020202020204" pitchFamily="34" charset="0"/>
              </a:rPr>
              <a:t>creation</a:t>
            </a:r>
            <a:r>
              <a:rPr lang="de-CH" sz="1200">
                <a:solidFill>
                  <a:schemeClr val="bg1"/>
                </a:solidFill>
                <a:latin typeface="Arial" panose="020B0604020202020204" pitchFamily="34" charset="0"/>
                <a:cs typeface="Arial" panose="020B0604020202020204" pitchFamily="34" charset="0"/>
              </a:rPr>
              <a:t> </a:t>
            </a:r>
            <a:r>
              <a:rPr lang="de-CH" sz="1200" err="1">
                <a:solidFill>
                  <a:schemeClr val="bg1"/>
                </a:solidFill>
                <a:latin typeface="Arial" panose="020B0604020202020204" pitchFamily="34" charset="0"/>
                <a:cs typeface="Arial" panose="020B0604020202020204" pitchFamily="34" charset="0"/>
              </a:rPr>
              <a:t>with</a:t>
            </a:r>
            <a:r>
              <a:rPr lang="de-CH" sz="1200">
                <a:solidFill>
                  <a:schemeClr val="bg1"/>
                </a:solidFill>
                <a:latin typeface="Arial" panose="020B0604020202020204" pitchFamily="34" charset="0"/>
                <a:cs typeface="Arial" panose="020B0604020202020204" pitchFamily="34" charset="0"/>
              </a:rPr>
              <a:t> Excel</a:t>
            </a:r>
          </a:p>
        </p:txBody>
      </p:sp>
      <p:sp>
        <p:nvSpPr>
          <p:cNvPr id="37" name="Rechteck: abgerundete Ecken 36">
            <a:extLst>
              <a:ext uri="{FF2B5EF4-FFF2-40B4-BE49-F238E27FC236}">
                <a16:creationId xmlns:a16="http://schemas.microsoft.com/office/drawing/2014/main" id="{C4BE9CCD-C203-414F-B252-20F9929F8E62}"/>
              </a:ext>
            </a:extLst>
          </p:cNvPr>
          <p:cNvSpPr/>
          <p:nvPr/>
        </p:nvSpPr>
        <p:spPr>
          <a:xfrm>
            <a:off x="1218206" y="2881040"/>
            <a:ext cx="1620000" cy="875128"/>
          </a:xfrm>
          <a:prstGeom prst="roundRect">
            <a:avLst/>
          </a:prstGeom>
          <a:solidFill>
            <a:srgbClr val="20386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a:latin typeface="Arial" panose="020B0604020202020204" pitchFamily="34" charset="0"/>
                <a:cs typeface="Arial" panose="020B0604020202020204" pitchFamily="34" charset="0"/>
              </a:rPr>
              <a:t>Mass </a:t>
            </a:r>
            <a:r>
              <a:rPr lang="de-CH" sz="1200" err="1">
                <a:latin typeface="Arial" panose="020B0604020202020204" pitchFamily="34" charset="0"/>
                <a:cs typeface="Arial" panose="020B0604020202020204" pitchFamily="34" charset="0"/>
              </a:rPr>
              <a:t>change</a:t>
            </a:r>
            <a:r>
              <a:rPr lang="de-CH" sz="1200">
                <a:latin typeface="Arial" panose="020B0604020202020204" pitchFamily="34" charset="0"/>
                <a:cs typeface="Arial" panose="020B0604020202020204" pitchFamily="34" charset="0"/>
              </a:rPr>
              <a:t> </a:t>
            </a:r>
          </a:p>
          <a:p>
            <a:pPr marL="171450" indent="-171450">
              <a:buFont typeface="Arial" panose="020B0604020202020204" pitchFamily="34" charset="0"/>
              <a:buChar char="•"/>
            </a:pPr>
            <a:r>
              <a:rPr lang="de-CH" sz="1200" err="1">
                <a:latin typeface="Arial" panose="020B0604020202020204" pitchFamily="34" charset="0"/>
                <a:cs typeface="Arial" panose="020B0604020202020204" pitchFamily="34" charset="0"/>
              </a:rPr>
              <a:t>with</a:t>
            </a:r>
            <a:r>
              <a:rPr lang="de-CH" sz="1200">
                <a:latin typeface="Arial" panose="020B0604020202020204" pitchFamily="34" charset="0"/>
                <a:cs typeface="Arial" panose="020B0604020202020204" pitchFamily="34" charset="0"/>
              </a:rPr>
              <a:t> Excel</a:t>
            </a:r>
          </a:p>
          <a:p>
            <a:pPr marL="171450" indent="-171450">
              <a:buFont typeface="Arial" panose="020B0604020202020204" pitchFamily="34" charset="0"/>
              <a:buChar char="•"/>
            </a:pPr>
            <a:r>
              <a:rPr lang="de-CH" sz="1200">
                <a:latin typeface="Arial" panose="020B0604020202020204" pitchFamily="34" charset="0"/>
                <a:cs typeface="Arial" panose="020B0604020202020204" pitchFamily="34" charset="0"/>
              </a:rPr>
              <a:t>in </a:t>
            </a:r>
            <a:r>
              <a:rPr lang="de-CH" sz="1200" err="1">
                <a:latin typeface="Arial" panose="020B0604020202020204" pitchFamily="34" charset="0"/>
                <a:cs typeface="Arial" panose="020B0604020202020204" pitchFamily="34" charset="0"/>
              </a:rPr>
              <a:t>the</a:t>
            </a:r>
            <a:r>
              <a:rPr lang="de-CH" sz="1200">
                <a:latin typeface="Arial" panose="020B0604020202020204" pitchFamily="34" charset="0"/>
                <a:cs typeface="Arial" panose="020B0604020202020204" pitchFamily="34" charset="0"/>
              </a:rPr>
              <a:t> Add-On</a:t>
            </a:r>
          </a:p>
        </p:txBody>
      </p:sp>
      <p:sp>
        <p:nvSpPr>
          <p:cNvPr id="38" name="Rechteck: abgerundete Ecken 37">
            <a:extLst>
              <a:ext uri="{FF2B5EF4-FFF2-40B4-BE49-F238E27FC236}">
                <a16:creationId xmlns:a16="http://schemas.microsoft.com/office/drawing/2014/main" id="{ED09656B-C0AC-4936-AD21-246475444A6A}"/>
              </a:ext>
            </a:extLst>
          </p:cNvPr>
          <p:cNvSpPr/>
          <p:nvPr/>
        </p:nvSpPr>
        <p:spPr>
          <a:xfrm>
            <a:off x="3209825" y="2881040"/>
            <a:ext cx="1620000" cy="875128"/>
          </a:xfrm>
          <a:prstGeom prst="roundRect">
            <a:avLst/>
          </a:prstGeom>
          <a:solidFill>
            <a:srgbClr val="20386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a:latin typeface="Arial" panose="020B0604020202020204" pitchFamily="34" charset="0"/>
                <a:cs typeface="Arial" panose="020B0604020202020204" pitchFamily="34" charset="0"/>
              </a:rPr>
              <a:t>Data </a:t>
            </a:r>
            <a:r>
              <a:rPr lang="de-CH" sz="1200" err="1">
                <a:latin typeface="Arial" panose="020B0604020202020204" pitchFamily="34" charset="0"/>
                <a:cs typeface="Arial" panose="020B0604020202020204" pitchFamily="34" charset="0"/>
              </a:rPr>
              <a:t>overview</a:t>
            </a:r>
            <a:r>
              <a:rPr lang="de-CH" sz="1200">
                <a:latin typeface="Arial" panose="020B0604020202020204" pitchFamily="34" charset="0"/>
                <a:cs typeface="Arial" panose="020B0604020202020204" pitchFamily="34" charset="0"/>
              </a:rPr>
              <a:t>,</a:t>
            </a:r>
          </a:p>
          <a:p>
            <a:pPr algn="ctr"/>
            <a:r>
              <a:rPr lang="de-CH" sz="1200" err="1">
                <a:latin typeface="Arial" panose="020B0604020202020204" pitchFamily="34" charset="0"/>
                <a:cs typeface="Arial" panose="020B0604020202020204" pitchFamily="34" charset="0"/>
              </a:rPr>
              <a:t>visual</a:t>
            </a:r>
            <a:r>
              <a:rPr lang="de-CH" sz="1200">
                <a:latin typeface="Arial" panose="020B0604020202020204" pitchFamily="34" charset="0"/>
                <a:cs typeface="Arial" panose="020B0604020202020204" pitchFamily="34" charset="0"/>
              </a:rPr>
              <a:t> </a:t>
            </a:r>
            <a:r>
              <a:rPr lang="de-CH" sz="1200" err="1">
                <a:latin typeface="Arial" panose="020B0604020202020204" pitchFamily="34" charset="0"/>
                <a:cs typeface="Arial" panose="020B0604020202020204" pitchFamily="34" charset="0"/>
              </a:rPr>
              <a:t>data</a:t>
            </a:r>
            <a:r>
              <a:rPr lang="de-CH" sz="1200">
                <a:latin typeface="Arial" panose="020B0604020202020204" pitchFamily="34" charset="0"/>
                <a:cs typeface="Arial" panose="020B0604020202020204" pitchFamily="34" charset="0"/>
              </a:rPr>
              <a:t> check</a:t>
            </a:r>
          </a:p>
          <a:p>
            <a:pPr algn="ctr"/>
            <a:r>
              <a:rPr lang="de-CH" sz="1200">
                <a:latin typeface="Arial" panose="020B0604020202020204" pitchFamily="34" charset="0"/>
                <a:cs typeface="Arial" panose="020B0604020202020204" pitchFamily="34" charset="0"/>
              </a:rPr>
              <a:t>/UDI/Attributes</a:t>
            </a:r>
          </a:p>
        </p:txBody>
      </p:sp>
      <p:sp>
        <p:nvSpPr>
          <p:cNvPr id="39" name="Rechteck: abgerundete Ecken 38">
            <a:extLst>
              <a:ext uri="{FF2B5EF4-FFF2-40B4-BE49-F238E27FC236}">
                <a16:creationId xmlns:a16="http://schemas.microsoft.com/office/drawing/2014/main" id="{9A5867D7-3747-4F74-80A8-1B5AF417EA49}"/>
              </a:ext>
            </a:extLst>
          </p:cNvPr>
          <p:cNvSpPr/>
          <p:nvPr/>
        </p:nvSpPr>
        <p:spPr>
          <a:xfrm>
            <a:off x="5222731" y="4115115"/>
            <a:ext cx="1620000" cy="702778"/>
          </a:xfrm>
          <a:prstGeom prst="roundRect">
            <a:avLst/>
          </a:prstGeom>
          <a:solidFill>
            <a:srgbClr val="20386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latin typeface="Arial" panose="020B0604020202020204" pitchFamily="34" charset="0"/>
                <a:cs typeface="Arial" panose="020B0604020202020204" pitchFamily="34" charset="0"/>
              </a:rPr>
              <a:t>Data release /</a:t>
            </a:r>
          </a:p>
          <a:p>
            <a:pPr algn="ctr"/>
            <a:r>
              <a:rPr lang="en-US" sz="1200">
                <a:latin typeface="Arial" panose="020B0604020202020204" pitchFamily="34" charset="0"/>
                <a:cs typeface="Arial" panose="020B0604020202020204" pitchFamily="34" charset="0"/>
              </a:rPr>
              <a:t>Lock trigger fields</a:t>
            </a:r>
          </a:p>
        </p:txBody>
      </p:sp>
      <p:sp>
        <p:nvSpPr>
          <p:cNvPr id="40" name="Rechteck: abgerundete Ecken 39">
            <a:extLst>
              <a:ext uri="{FF2B5EF4-FFF2-40B4-BE49-F238E27FC236}">
                <a16:creationId xmlns:a16="http://schemas.microsoft.com/office/drawing/2014/main" id="{1F9F01A8-FA07-42C7-AF3A-103F301FB65B}"/>
              </a:ext>
            </a:extLst>
          </p:cNvPr>
          <p:cNvSpPr/>
          <p:nvPr/>
        </p:nvSpPr>
        <p:spPr>
          <a:xfrm>
            <a:off x="5222731" y="2687416"/>
            <a:ext cx="1620000" cy="314633"/>
          </a:xfrm>
          <a:prstGeom prst="roundRect">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b="1">
                <a:latin typeface="Arial" panose="020B0604020202020204" pitchFamily="34" charset="0"/>
                <a:cs typeface="Arial" panose="020B0604020202020204" pitchFamily="34" charset="0"/>
              </a:rPr>
              <a:t>XML </a:t>
            </a:r>
            <a:r>
              <a:rPr lang="de-CH" sz="1200" b="1" err="1">
                <a:latin typeface="Arial" panose="020B0604020202020204" pitchFamily="34" charset="0"/>
                <a:cs typeface="Arial" panose="020B0604020202020204" pitchFamily="34" charset="0"/>
              </a:rPr>
              <a:t>export</a:t>
            </a:r>
            <a:endParaRPr lang="de-CH" sz="1200" b="1">
              <a:latin typeface="Arial" panose="020B0604020202020204" pitchFamily="34" charset="0"/>
              <a:cs typeface="Arial" panose="020B0604020202020204" pitchFamily="34" charset="0"/>
            </a:endParaRPr>
          </a:p>
        </p:txBody>
      </p:sp>
      <p:sp>
        <p:nvSpPr>
          <p:cNvPr id="41" name="Rechteck: abgerundete Ecken 40">
            <a:extLst>
              <a:ext uri="{FF2B5EF4-FFF2-40B4-BE49-F238E27FC236}">
                <a16:creationId xmlns:a16="http://schemas.microsoft.com/office/drawing/2014/main" id="{8E2A35B4-08DC-4C68-80B1-B6FA91906473}"/>
              </a:ext>
            </a:extLst>
          </p:cNvPr>
          <p:cNvSpPr/>
          <p:nvPr/>
        </p:nvSpPr>
        <p:spPr>
          <a:xfrm>
            <a:off x="3209824" y="4115115"/>
            <a:ext cx="1620000" cy="702778"/>
          </a:xfrm>
          <a:prstGeom prst="roundRect">
            <a:avLst/>
          </a:prstGeom>
          <a:solidFill>
            <a:srgbClr val="20386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a:latin typeface="Arial" panose="020B0604020202020204" pitchFamily="34" charset="0"/>
                <a:cs typeface="Arial" panose="020B0604020202020204" pitchFamily="34" charset="0"/>
              </a:rPr>
              <a:t>Integrity check</a:t>
            </a:r>
          </a:p>
          <a:p>
            <a:pPr algn="ctr"/>
            <a:r>
              <a:rPr lang="de-CH" sz="1200">
                <a:latin typeface="Arial" panose="020B0604020202020204" pitchFamily="34" charset="0"/>
                <a:cs typeface="Arial" panose="020B0604020202020204" pitchFamily="34" charset="0"/>
              </a:rPr>
              <a:t>Validation check</a:t>
            </a:r>
          </a:p>
        </p:txBody>
      </p:sp>
      <p:sp>
        <p:nvSpPr>
          <p:cNvPr id="43" name="Rechteck: abgerundete Ecken 42">
            <a:extLst>
              <a:ext uri="{FF2B5EF4-FFF2-40B4-BE49-F238E27FC236}">
                <a16:creationId xmlns:a16="http://schemas.microsoft.com/office/drawing/2014/main" id="{5B9B524D-B2AF-4C3A-9818-2DA5A726A8D0}"/>
              </a:ext>
            </a:extLst>
          </p:cNvPr>
          <p:cNvSpPr/>
          <p:nvPr/>
        </p:nvSpPr>
        <p:spPr>
          <a:xfrm>
            <a:off x="8531932" y="1949789"/>
            <a:ext cx="322128" cy="1761413"/>
          </a:xfrm>
          <a:prstGeom prst="round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CH" sz="1350" b="1"/>
              <a:t>E</a:t>
            </a:r>
          </a:p>
          <a:p>
            <a:r>
              <a:rPr lang="de-CH" sz="1350" b="1"/>
              <a:t>U</a:t>
            </a:r>
          </a:p>
          <a:p>
            <a:r>
              <a:rPr lang="de-CH" sz="1350" b="1"/>
              <a:t>D</a:t>
            </a:r>
          </a:p>
          <a:p>
            <a:r>
              <a:rPr lang="de-CH" sz="1350" b="1"/>
              <a:t>A</a:t>
            </a:r>
          </a:p>
          <a:p>
            <a:r>
              <a:rPr lang="de-CH" sz="1350" b="1"/>
              <a:t>M</a:t>
            </a:r>
          </a:p>
          <a:p>
            <a:r>
              <a:rPr lang="de-CH" sz="1350" b="1"/>
              <a:t>E</a:t>
            </a:r>
          </a:p>
          <a:p>
            <a:r>
              <a:rPr lang="de-CH" sz="1350" b="1"/>
              <a:t>D</a:t>
            </a:r>
          </a:p>
        </p:txBody>
      </p:sp>
      <p:sp>
        <p:nvSpPr>
          <p:cNvPr id="44" name="Rechteck: abgerundete Ecken 43">
            <a:extLst>
              <a:ext uri="{FF2B5EF4-FFF2-40B4-BE49-F238E27FC236}">
                <a16:creationId xmlns:a16="http://schemas.microsoft.com/office/drawing/2014/main" id="{87B16B71-40C1-4B47-96E8-5F15754C1997}"/>
              </a:ext>
            </a:extLst>
          </p:cNvPr>
          <p:cNvSpPr/>
          <p:nvPr/>
        </p:nvSpPr>
        <p:spPr>
          <a:xfrm>
            <a:off x="5221830" y="2249178"/>
            <a:ext cx="1620000" cy="314633"/>
          </a:xfrm>
          <a:prstGeom prst="roundRect">
            <a:avLst/>
          </a:prstGeom>
          <a:solidFill>
            <a:srgbClr val="20386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a:latin typeface="Arial" panose="020B0604020202020204" pitchFamily="34" charset="0"/>
                <a:cs typeface="Arial" panose="020B0604020202020204" pitchFamily="34" charset="0"/>
              </a:rPr>
              <a:t>Excel </a:t>
            </a:r>
            <a:r>
              <a:rPr lang="de-CH" sz="1200" err="1">
                <a:latin typeface="Arial" panose="020B0604020202020204" pitchFamily="34" charset="0"/>
                <a:cs typeface="Arial" panose="020B0604020202020204" pitchFamily="34" charset="0"/>
              </a:rPr>
              <a:t>export</a:t>
            </a:r>
            <a:endParaRPr lang="de-CH" sz="1200">
              <a:latin typeface="Arial" panose="020B0604020202020204" pitchFamily="34" charset="0"/>
              <a:cs typeface="Arial" panose="020B0604020202020204" pitchFamily="34" charset="0"/>
            </a:endParaRPr>
          </a:p>
        </p:txBody>
      </p:sp>
      <p:sp>
        <p:nvSpPr>
          <p:cNvPr id="45" name="Rechteck: abgerundete Ecken 44">
            <a:extLst>
              <a:ext uri="{FF2B5EF4-FFF2-40B4-BE49-F238E27FC236}">
                <a16:creationId xmlns:a16="http://schemas.microsoft.com/office/drawing/2014/main" id="{646486A8-D8A3-4FA5-875E-0F3F80A7D1A8}"/>
              </a:ext>
            </a:extLst>
          </p:cNvPr>
          <p:cNvSpPr/>
          <p:nvPr/>
        </p:nvSpPr>
        <p:spPr>
          <a:xfrm>
            <a:off x="5222731" y="3123064"/>
            <a:ext cx="1620000" cy="408087"/>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200">
              <a:latin typeface="Arial" panose="020B0604020202020204" pitchFamily="34" charset="0"/>
              <a:cs typeface="Arial" panose="020B0604020202020204" pitchFamily="34" charset="0"/>
            </a:endParaRPr>
          </a:p>
        </p:txBody>
      </p:sp>
      <p:sp>
        <p:nvSpPr>
          <p:cNvPr id="54" name="Rechteck: abgerundete Ecken 53">
            <a:extLst>
              <a:ext uri="{FF2B5EF4-FFF2-40B4-BE49-F238E27FC236}">
                <a16:creationId xmlns:a16="http://schemas.microsoft.com/office/drawing/2014/main" id="{C90BCC80-CC53-4FAB-90F5-99AED375928F}"/>
              </a:ext>
            </a:extLst>
          </p:cNvPr>
          <p:cNvSpPr/>
          <p:nvPr/>
        </p:nvSpPr>
        <p:spPr>
          <a:xfrm>
            <a:off x="374876" y="1139292"/>
            <a:ext cx="3298357" cy="415894"/>
          </a:xfrm>
          <a:prstGeom prst="roundRect">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solidFill>
                  <a:schemeClr val="bg1"/>
                </a:solidFill>
                <a:latin typeface="Arial" panose="020B0604020202020204" pitchFamily="34" charset="0"/>
                <a:cs typeface="Arial" panose="020B0604020202020204" pitchFamily="34" charset="0"/>
              </a:rPr>
              <a:t>UDI relevant </a:t>
            </a:r>
            <a:r>
              <a:rPr lang="de-DE" sz="1200" err="1">
                <a:solidFill>
                  <a:schemeClr val="bg1"/>
                </a:solidFill>
                <a:latin typeface="Arial" panose="020B0604020202020204" pitchFamily="34" charset="0"/>
                <a:cs typeface="Arial" panose="020B0604020202020204" pitchFamily="34" charset="0"/>
              </a:rPr>
              <a:t>marking</a:t>
            </a:r>
            <a:endParaRPr lang="de-DE" sz="1200">
              <a:solidFill>
                <a:schemeClr val="bg1"/>
              </a:solidFill>
              <a:latin typeface="Arial" panose="020B0604020202020204" pitchFamily="34" charset="0"/>
              <a:cs typeface="Arial" panose="020B0604020202020204" pitchFamily="34" charset="0"/>
            </a:endParaRPr>
          </a:p>
        </p:txBody>
      </p:sp>
      <p:cxnSp>
        <p:nvCxnSpPr>
          <p:cNvPr id="8" name="Gerade Verbindung mit Pfeil 7">
            <a:extLst>
              <a:ext uri="{FF2B5EF4-FFF2-40B4-BE49-F238E27FC236}">
                <a16:creationId xmlns:a16="http://schemas.microsoft.com/office/drawing/2014/main" id="{7F8FBB42-5E6F-494A-9FA9-D776E43B375D}"/>
              </a:ext>
            </a:extLst>
          </p:cNvPr>
          <p:cNvCxnSpPr>
            <a:cxnSpLocks/>
            <a:endCxn id="35" idx="0"/>
          </p:cNvCxnSpPr>
          <p:nvPr/>
        </p:nvCxnSpPr>
        <p:spPr>
          <a:xfrm>
            <a:off x="1184876" y="1555186"/>
            <a:ext cx="0" cy="274539"/>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0" name="Gerade Verbindung mit Pfeil 9">
            <a:extLst>
              <a:ext uri="{FF2B5EF4-FFF2-40B4-BE49-F238E27FC236}">
                <a16:creationId xmlns:a16="http://schemas.microsoft.com/office/drawing/2014/main" id="{3079ADE2-81AA-4647-AA7F-C4E7527E5280}"/>
              </a:ext>
            </a:extLst>
          </p:cNvPr>
          <p:cNvCxnSpPr>
            <a:cxnSpLocks/>
            <a:endCxn id="36" idx="0"/>
          </p:cNvCxnSpPr>
          <p:nvPr/>
        </p:nvCxnSpPr>
        <p:spPr>
          <a:xfrm>
            <a:off x="2863233" y="1550979"/>
            <a:ext cx="0" cy="28716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69" name="Gerade Verbindung mit Pfeil 68">
            <a:extLst>
              <a:ext uri="{FF2B5EF4-FFF2-40B4-BE49-F238E27FC236}">
                <a16:creationId xmlns:a16="http://schemas.microsoft.com/office/drawing/2014/main" id="{1B16878B-8423-441F-856F-52AE4DCDB29D}"/>
              </a:ext>
            </a:extLst>
          </p:cNvPr>
          <p:cNvCxnSpPr>
            <a:cxnSpLocks/>
          </p:cNvCxnSpPr>
          <p:nvPr/>
        </p:nvCxnSpPr>
        <p:spPr>
          <a:xfrm>
            <a:off x="1548144" y="2606501"/>
            <a:ext cx="0" cy="266124"/>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1" name="Gerade Verbindung mit Pfeil 70">
            <a:extLst>
              <a:ext uri="{FF2B5EF4-FFF2-40B4-BE49-F238E27FC236}">
                <a16:creationId xmlns:a16="http://schemas.microsoft.com/office/drawing/2014/main" id="{EB808EBE-B377-40AD-94B2-C1CD1E859C23}"/>
              </a:ext>
            </a:extLst>
          </p:cNvPr>
          <p:cNvCxnSpPr/>
          <p:nvPr/>
        </p:nvCxnSpPr>
        <p:spPr>
          <a:xfrm>
            <a:off x="2534971" y="2636056"/>
            <a:ext cx="0" cy="244984"/>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5" name="Gerade Verbindung mit Pfeil 74">
            <a:extLst>
              <a:ext uri="{FF2B5EF4-FFF2-40B4-BE49-F238E27FC236}">
                <a16:creationId xmlns:a16="http://schemas.microsoft.com/office/drawing/2014/main" id="{71D0F3A7-5FF8-4078-9F7D-F8BB0FEDE112}"/>
              </a:ext>
            </a:extLst>
          </p:cNvPr>
          <p:cNvCxnSpPr>
            <a:cxnSpLocks/>
            <a:stCxn id="37" idx="3"/>
            <a:endCxn id="38" idx="1"/>
          </p:cNvCxnSpPr>
          <p:nvPr/>
        </p:nvCxnSpPr>
        <p:spPr>
          <a:xfrm>
            <a:off x="2838206" y="3318604"/>
            <a:ext cx="371619"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7" name="Gerade Verbindung mit Pfeil 76">
            <a:extLst>
              <a:ext uri="{FF2B5EF4-FFF2-40B4-BE49-F238E27FC236}">
                <a16:creationId xmlns:a16="http://schemas.microsoft.com/office/drawing/2014/main" id="{3EA88A85-494A-4551-8527-12C496D561A3}"/>
              </a:ext>
            </a:extLst>
          </p:cNvPr>
          <p:cNvCxnSpPr>
            <a:cxnSpLocks/>
            <a:stCxn id="38" idx="2"/>
            <a:endCxn id="41" idx="0"/>
          </p:cNvCxnSpPr>
          <p:nvPr/>
        </p:nvCxnSpPr>
        <p:spPr>
          <a:xfrm flipH="1">
            <a:off x="4019824" y="3756168"/>
            <a:ext cx="1" cy="35894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9" name="Gerade Verbindung mit Pfeil 78">
            <a:extLst>
              <a:ext uri="{FF2B5EF4-FFF2-40B4-BE49-F238E27FC236}">
                <a16:creationId xmlns:a16="http://schemas.microsoft.com/office/drawing/2014/main" id="{EE89B85E-1B80-4056-9B33-499490C7AC53}"/>
              </a:ext>
            </a:extLst>
          </p:cNvPr>
          <p:cNvCxnSpPr>
            <a:cxnSpLocks/>
            <a:stCxn id="41" idx="3"/>
            <a:endCxn id="39" idx="1"/>
          </p:cNvCxnSpPr>
          <p:nvPr/>
        </p:nvCxnSpPr>
        <p:spPr>
          <a:xfrm>
            <a:off x="4829824" y="4466504"/>
            <a:ext cx="392907"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81" name="Gerade Verbindung mit Pfeil 80">
            <a:extLst>
              <a:ext uri="{FF2B5EF4-FFF2-40B4-BE49-F238E27FC236}">
                <a16:creationId xmlns:a16="http://schemas.microsoft.com/office/drawing/2014/main" id="{BD62FE4F-238A-4316-8DF4-8E2F26C7E1ED}"/>
              </a:ext>
            </a:extLst>
          </p:cNvPr>
          <p:cNvCxnSpPr>
            <a:cxnSpLocks/>
            <a:stCxn id="39" idx="0"/>
          </p:cNvCxnSpPr>
          <p:nvPr/>
        </p:nvCxnSpPr>
        <p:spPr>
          <a:xfrm flipH="1" flipV="1">
            <a:off x="6024969" y="3763728"/>
            <a:ext cx="7762" cy="35138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86" name="Textfeld 85">
            <a:extLst>
              <a:ext uri="{FF2B5EF4-FFF2-40B4-BE49-F238E27FC236}">
                <a16:creationId xmlns:a16="http://schemas.microsoft.com/office/drawing/2014/main" id="{BE02670F-8114-4463-936A-9D2672146D41}"/>
              </a:ext>
            </a:extLst>
          </p:cNvPr>
          <p:cNvSpPr txBox="1"/>
          <p:nvPr/>
        </p:nvSpPr>
        <p:spPr>
          <a:xfrm>
            <a:off x="5222731" y="3117396"/>
            <a:ext cx="1634256" cy="646331"/>
          </a:xfrm>
          <a:prstGeom prst="rect">
            <a:avLst/>
          </a:prstGeom>
          <a:noFill/>
        </p:spPr>
        <p:txBody>
          <a:bodyPr wrap="square" rtlCol="0">
            <a:spAutoFit/>
          </a:bodyPr>
          <a:lstStyle/>
          <a:p>
            <a:pPr algn="ctr"/>
            <a:r>
              <a:rPr lang="en-US" sz="1200">
                <a:solidFill>
                  <a:schemeClr val="bg1"/>
                </a:solidFill>
                <a:latin typeface="Arial" panose="020B0604020202020204" pitchFamily="34" charset="0"/>
                <a:cs typeface="Arial" panose="020B0604020202020204" pitchFamily="34" charset="0"/>
              </a:rPr>
              <a:t>Europe IT Consulting Web Service</a:t>
            </a:r>
          </a:p>
          <a:p>
            <a:pPr algn="ctr"/>
            <a:endParaRPr lang="en-US" sz="1200">
              <a:solidFill>
                <a:schemeClr val="bg1"/>
              </a:solidFill>
              <a:latin typeface="Arial" panose="020B0604020202020204" pitchFamily="34" charset="0"/>
              <a:cs typeface="Arial" panose="020B0604020202020204" pitchFamily="34" charset="0"/>
            </a:endParaRPr>
          </a:p>
        </p:txBody>
      </p:sp>
      <p:cxnSp>
        <p:nvCxnSpPr>
          <p:cNvPr id="104" name="Gerade Verbindung mit Pfeil 103">
            <a:extLst>
              <a:ext uri="{FF2B5EF4-FFF2-40B4-BE49-F238E27FC236}">
                <a16:creationId xmlns:a16="http://schemas.microsoft.com/office/drawing/2014/main" id="{98A2D59C-096A-46B5-8EBF-CAAECD1A9BCB}"/>
              </a:ext>
            </a:extLst>
          </p:cNvPr>
          <p:cNvCxnSpPr>
            <a:cxnSpLocks/>
            <a:stCxn id="40" idx="3"/>
            <a:endCxn id="43" idx="1"/>
          </p:cNvCxnSpPr>
          <p:nvPr/>
        </p:nvCxnSpPr>
        <p:spPr>
          <a:xfrm flipV="1">
            <a:off x="6842731" y="2830496"/>
            <a:ext cx="1689201" cy="1423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06" name="Verbinder: gewinkelt 105">
            <a:extLst>
              <a:ext uri="{FF2B5EF4-FFF2-40B4-BE49-F238E27FC236}">
                <a16:creationId xmlns:a16="http://schemas.microsoft.com/office/drawing/2014/main" id="{7F8C2BBE-4ED8-4524-9F9D-68F561918F36}"/>
              </a:ext>
            </a:extLst>
          </p:cNvPr>
          <p:cNvCxnSpPr>
            <a:cxnSpLocks/>
            <a:stCxn id="44" idx="3"/>
          </p:cNvCxnSpPr>
          <p:nvPr/>
        </p:nvCxnSpPr>
        <p:spPr>
          <a:xfrm flipV="1">
            <a:off x="6841830" y="2133831"/>
            <a:ext cx="1690102" cy="272664"/>
          </a:xfrm>
          <a:prstGeom prst="bentConnector3">
            <a:avLst>
              <a:gd name="adj1" fmla="val 19466"/>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08" name="Verbinder: gewinkelt 107">
            <a:extLst>
              <a:ext uri="{FF2B5EF4-FFF2-40B4-BE49-F238E27FC236}">
                <a16:creationId xmlns:a16="http://schemas.microsoft.com/office/drawing/2014/main" id="{ADDCFB2A-B92B-402C-8E9F-2C24F61DFD77}"/>
              </a:ext>
            </a:extLst>
          </p:cNvPr>
          <p:cNvCxnSpPr>
            <a:cxnSpLocks/>
          </p:cNvCxnSpPr>
          <p:nvPr/>
        </p:nvCxnSpPr>
        <p:spPr>
          <a:xfrm>
            <a:off x="6841830" y="3318604"/>
            <a:ext cx="1660625" cy="177230"/>
          </a:xfrm>
          <a:prstGeom prst="bentConnector3">
            <a:avLst>
              <a:gd name="adj1" fmla="val 21105"/>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53" name="Rechteck: abgerundete Ecken 52">
            <a:extLst>
              <a:ext uri="{FF2B5EF4-FFF2-40B4-BE49-F238E27FC236}">
                <a16:creationId xmlns:a16="http://schemas.microsoft.com/office/drawing/2014/main" id="{DC1BB485-83A3-4556-8949-E18D80FCAA63}"/>
              </a:ext>
            </a:extLst>
          </p:cNvPr>
          <p:cNvSpPr/>
          <p:nvPr/>
        </p:nvSpPr>
        <p:spPr>
          <a:xfrm>
            <a:off x="7385220" y="1940928"/>
            <a:ext cx="784325" cy="484748"/>
          </a:xfrm>
          <a:prstGeom prst="roundRect">
            <a:avLst/>
          </a:prstGeom>
          <a:solidFill>
            <a:srgbClr val="20386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a:t>3rd Party</a:t>
            </a:r>
          </a:p>
        </p:txBody>
      </p:sp>
      <p:sp>
        <p:nvSpPr>
          <p:cNvPr id="46" name="Rechteck: abgerundete Ecken 45">
            <a:extLst>
              <a:ext uri="{FF2B5EF4-FFF2-40B4-BE49-F238E27FC236}">
                <a16:creationId xmlns:a16="http://schemas.microsoft.com/office/drawing/2014/main" id="{55F6C6E1-DD30-43DE-BD84-8F53864D115C}"/>
              </a:ext>
            </a:extLst>
          </p:cNvPr>
          <p:cNvSpPr/>
          <p:nvPr/>
        </p:nvSpPr>
        <p:spPr>
          <a:xfrm>
            <a:off x="7392257" y="3254377"/>
            <a:ext cx="784325" cy="484748"/>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err="1"/>
              <a:t>WebService</a:t>
            </a:r>
            <a:endParaRPr lang="de-DE" sz="800"/>
          </a:p>
          <a:p>
            <a:pPr algn="ctr"/>
            <a:r>
              <a:rPr lang="de-DE" sz="800"/>
              <a:t>(SSL</a:t>
            </a:r>
            <a:r>
              <a:rPr lang="de-DE" sz="900"/>
              <a:t>)</a:t>
            </a:r>
          </a:p>
        </p:txBody>
      </p:sp>
      <p:sp>
        <p:nvSpPr>
          <p:cNvPr id="48" name="Rechteck: abgerundete Ecken 47">
            <a:extLst>
              <a:ext uri="{FF2B5EF4-FFF2-40B4-BE49-F238E27FC236}">
                <a16:creationId xmlns:a16="http://schemas.microsoft.com/office/drawing/2014/main" id="{E166C7F1-E948-4DCE-95F4-24D33AEBBFBE}"/>
              </a:ext>
            </a:extLst>
          </p:cNvPr>
          <p:cNvSpPr/>
          <p:nvPr/>
        </p:nvSpPr>
        <p:spPr>
          <a:xfrm>
            <a:off x="7388977" y="2597194"/>
            <a:ext cx="784325" cy="484748"/>
          </a:xfrm>
          <a:prstGeom prst="roundRect">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b="1" err="1"/>
              <a:t>WebTrader</a:t>
            </a:r>
            <a:endParaRPr lang="de-DE" sz="800" b="1"/>
          </a:p>
        </p:txBody>
      </p:sp>
    </p:spTree>
    <p:extLst>
      <p:ext uri="{BB962C8B-B14F-4D97-AF65-F5344CB8AC3E}">
        <p14:creationId xmlns:p14="http://schemas.microsoft.com/office/powerpoint/2010/main" val="82239487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C3EA7832-C805-4116-9589-310EEDE59D3A}"/>
              </a:ext>
            </a:extLst>
          </p:cNvPr>
          <p:cNvPicPr>
            <a:picLocks noChangeAspect="1"/>
          </p:cNvPicPr>
          <p:nvPr/>
        </p:nvPicPr>
        <p:blipFill>
          <a:blip r:embed="rId2"/>
          <a:stretch>
            <a:fillRect/>
          </a:stretch>
        </p:blipFill>
        <p:spPr>
          <a:xfrm>
            <a:off x="4671508" y="621282"/>
            <a:ext cx="2982328" cy="4234002"/>
          </a:xfrm>
          <a:prstGeom prst="rect">
            <a:avLst/>
          </a:prstGeom>
          <a:ln w="19050">
            <a:solidFill>
              <a:srgbClr val="2F5597"/>
            </a:solidFill>
          </a:ln>
          <a:effectLst/>
        </p:spPr>
      </p:pic>
      <p:sp>
        <p:nvSpPr>
          <p:cNvPr id="21" name="Textplatzhalter 5">
            <a:extLst>
              <a:ext uri="{FF2B5EF4-FFF2-40B4-BE49-F238E27FC236}">
                <a16:creationId xmlns:a16="http://schemas.microsoft.com/office/drawing/2014/main" id="{AC66332B-B9BF-4160-A9A2-2AF54C3580BB}"/>
              </a:ext>
            </a:extLst>
          </p:cNvPr>
          <p:cNvSpPr>
            <a:spLocks noGrp="1"/>
          </p:cNvSpPr>
          <p:nvPr>
            <p:ph type="body" sz="quarter" idx="18"/>
          </p:nvPr>
        </p:nvSpPr>
        <p:spPr>
          <a:xfrm>
            <a:off x="219267" y="794161"/>
            <a:ext cx="8600883" cy="330544"/>
          </a:xfrm>
        </p:spPr>
        <p:txBody>
          <a:bodyPr>
            <a:normAutofit/>
          </a:bodyPr>
          <a:lstStyle/>
          <a:p>
            <a:r>
              <a:rPr lang="de-DE"/>
              <a:t>2.9 XML </a:t>
            </a:r>
            <a:r>
              <a:rPr lang="de-DE" err="1"/>
              <a:t>export</a:t>
            </a:r>
            <a:r>
              <a:rPr lang="de-DE"/>
              <a:t> </a:t>
            </a:r>
            <a:endParaRPr lang="en-US"/>
          </a:p>
          <a:p>
            <a:endParaRPr lang="de-DE"/>
          </a:p>
          <a:p>
            <a:endParaRPr lang="de-DE"/>
          </a:p>
        </p:txBody>
      </p:sp>
      <p:sp>
        <p:nvSpPr>
          <p:cNvPr id="22" name="Titel 2">
            <a:extLst>
              <a:ext uri="{FF2B5EF4-FFF2-40B4-BE49-F238E27FC236}">
                <a16:creationId xmlns:a16="http://schemas.microsoft.com/office/drawing/2014/main" id="{D7D5B5A6-DB8D-40FE-A6F6-B34313B7B903}"/>
              </a:ext>
            </a:extLst>
          </p:cNvPr>
          <p:cNvSpPr>
            <a:spLocks noGrp="1"/>
          </p:cNvSpPr>
          <p:nvPr>
            <p:ph type="title"/>
          </p:nvPr>
        </p:nvSpPr>
        <p:spPr>
          <a:xfrm>
            <a:off x="269393" y="78770"/>
            <a:ext cx="7907189" cy="330545"/>
          </a:xfrm>
        </p:spPr>
        <p:txBody>
          <a:bodyPr>
            <a:normAutofit fontScale="90000"/>
          </a:bodyPr>
          <a:lstStyle/>
          <a:p>
            <a:r>
              <a:rPr lang="de-DE"/>
              <a:t>2. </a:t>
            </a:r>
            <a:r>
              <a:rPr lang="en-US"/>
              <a:t>W</a:t>
            </a:r>
            <a:r>
              <a:rPr lang="en-US" sz="1800" b="1"/>
              <a:t>ork processes from the database to data transmission </a:t>
            </a:r>
            <a:endParaRPr lang="de-DE"/>
          </a:p>
        </p:txBody>
      </p:sp>
      <p:sp>
        <p:nvSpPr>
          <p:cNvPr id="24" name="Rechteck 23">
            <a:extLst>
              <a:ext uri="{FF2B5EF4-FFF2-40B4-BE49-F238E27FC236}">
                <a16:creationId xmlns:a16="http://schemas.microsoft.com/office/drawing/2014/main" id="{0C038D7E-3153-4884-A0D6-A87CDE1ABDAE}"/>
              </a:ext>
            </a:extLst>
          </p:cNvPr>
          <p:cNvSpPr/>
          <p:nvPr/>
        </p:nvSpPr>
        <p:spPr>
          <a:xfrm>
            <a:off x="5500048" y="1050042"/>
            <a:ext cx="539086" cy="120065"/>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5" name="Rechteck 24">
            <a:extLst>
              <a:ext uri="{FF2B5EF4-FFF2-40B4-BE49-F238E27FC236}">
                <a16:creationId xmlns:a16="http://schemas.microsoft.com/office/drawing/2014/main" id="{7954A657-8287-48EA-A62F-59FFB7F2D6FD}"/>
              </a:ext>
            </a:extLst>
          </p:cNvPr>
          <p:cNvSpPr/>
          <p:nvPr/>
        </p:nvSpPr>
        <p:spPr>
          <a:xfrm>
            <a:off x="4695415" y="1445088"/>
            <a:ext cx="2496956" cy="210865"/>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7" name="Rechteck 26">
            <a:extLst>
              <a:ext uri="{FF2B5EF4-FFF2-40B4-BE49-F238E27FC236}">
                <a16:creationId xmlns:a16="http://schemas.microsoft.com/office/drawing/2014/main" id="{1298B177-F9FA-4EE2-9B62-D16991C6198B}"/>
              </a:ext>
            </a:extLst>
          </p:cNvPr>
          <p:cNvSpPr/>
          <p:nvPr/>
        </p:nvSpPr>
        <p:spPr>
          <a:xfrm>
            <a:off x="4695414" y="1738424"/>
            <a:ext cx="1391487" cy="663814"/>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8" name="Rechteck 27">
            <a:extLst>
              <a:ext uri="{FF2B5EF4-FFF2-40B4-BE49-F238E27FC236}">
                <a16:creationId xmlns:a16="http://schemas.microsoft.com/office/drawing/2014/main" id="{7D539016-2407-4C42-BBF0-732FD9C4F657}"/>
              </a:ext>
            </a:extLst>
          </p:cNvPr>
          <p:cNvSpPr/>
          <p:nvPr/>
        </p:nvSpPr>
        <p:spPr>
          <a:xfrm>
            <a:off x="4700367" y="2447931"/>
            <a:ext cx="2635306" cy="820708"/>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35" name="Rechteck 34">
            <a:extLst>
              <a:ext uri="{FF2B5EF4-FFF2-40B4-BE49-F238E27FC236}">
                <a16:creationId xmlns:a16="http://schemas.microsoft.com/office/drawing/2014/main" id="{BEAE9307-0251-46CC-9716-BC034EDBC2BF}"/>
              </a:ext>
            </a:extLst>
          </p:cNvPr>
          <p:cNvSpPr/>
          <p:nvPr/>
        </p:nvSpPr>
        <p:spPr>
          <a:xfrm>
            <a:off x="4687290" y="778033"/>
            <a:ext cx="150427" cy="136367"/>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8" name="Ellipse 17">
            <a:extLst>
              <a:ext uri="{FF2B5EF4-FFF2-40B4-BE49-F238E27FC236}">
                <a16:creationId xmlns:a16="http://schemas.microsoft.com/office/drawing/2014/main" id="{D49BAB6D-BE61-44D4-B46F-21F3BA0A0764}"/>
              </a:ext>
            </a:extLst>
          </p:cNvPr>
          <p:cNvSpPr/>
          <p:nvPr/>
        </p:nvSpPr>
        <p:spPr>
          <a:xfrm>
            <a:off x="5861299" y="812982"/>
            <a:ext cx="177835" cy="136367"/>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a:t>1</a:t>
            </a:r>
            <a:endParaRPr lang="en-US" sz="1000"/>
          </a:p>
        </p:txBody>
      </p:sp>
      <p:sp>
        <p:nvSpPr>
          <p:cNvPr id="33" name="Ellipse 32">
            <a:extLst>
              <a:ext uri="{FF2B5EF4-FFF2-40B4-BE49-F238E27FC236}">
                <a16:creationId xmlns:a16="http://schemas.microsoft.com/office/drawing/2014/main" id="{9ABBAC7D-C309-4C8F-8B39-7F28B014BDF2}"/>
              </a:ext>
            </a:extLst>
          </p:cNvPr>
          <p:cNvSpPr/>
          <p:nvPr/>
        </p:nvSpPr>
        <p:spPr>
          <a:xfrm>
            <a:off x="4950052" y="779437"/>
            <a:ext cx="150427" cy="134963"/>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a:t>6</a:t>
            </a:r>
            <a:endParaRPr lang="en-US" sz="1000"/>
          </a:p>
        </p:txBody>
      </p:sp>
      <p:pic>
        <p:nvPicPr>
          <p:cNvPr id="30" name="Grafik 29">
            <a:extLst>
              <a:ext uri="{FF2B5EF4-FFF2-40B4-BE49-F238E27FC236}">
                <a16:creationId xmlns:a16="http://schemas.microsoft.com/office/drawing/2014/main" id="{AA88EABD-CF48-4BAE-8407-C278E4CE28AD}"/>
              </a:ext>
            </a:extLst>
          </p:cNvPr>
          <p:cNvPicPr>
            <a:picLocks noChangeAspect="1"/>
          </p:cNvPicPr>
          <p:nvPr/>
        </p:nvPicPr>
        <p:blipFill>
          <a:blip r:embed="rId3"/>
          <a:stretch>
            <a:fillRect/>
          </a:stretch>
        </p:blipFill>
        <p:spPr>
          <a:xfrm>
            <a:off x="248505" y="1529756"/>
            <a:ext cx="3416835" cy="1208527"/>
          </a:xfrm>
          <a:prstGeom prst="rect">
            <a:avLst/>
          </a:prstGeom>
          <a:ln w="19050">
            <a:solidFill>
              <a:srgbClr val="2F5597"/>
            </a:solidFill>
          </a:ln>
          <a:effectLst/>
        </p:spPr>
      </p:pic>
      <p:sp>
        <p:nvSpPr>
          <p:cNvPr id="31" name="Ellipse 30">
            <a:extLst>
              <a:ext uri="{FF2B5EF4-FFF2-40B4-BE49-F238E27FC236}">
                <a16:creationId xmlns:a16="http://schemas.microsoft.com/office/drawing/2014/main" id="{78A5A45C-85D9-4ADA-8357-6D51F52894AF}"/>
              </a:ext>
            </a:extLst>
          </p:cNvPr>
          <p:cNvSpPr/>
          <p:nvPr/>
        </p:nvSpPr>
        <p:spPr>
          <a:xfrm>
            <a:off x="7248306" y="1380623"/>
            <a:ext cx="185731" cy="149134"/>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a:t>2</a:t>
            </a:r>
            <a:endParaRPr lang="en-US" sz="1000"/>
          </a:p>
        </p:txBody>
      </p:sp>
      <p:sp>
        <p:nvSpPr>
          <p:cNvPr id="34" name="Ellipse 33">
            <a:extLst>
              <a:ext uri="{FF2B5EF4-FFF2-40B4-BE49-F238E27FC236}">
                <a16:creationId xmlns:a16="http://schemas.microsoft.com/office/drawing/2014/main" id="{11FA9368-D712-47A4-8CD7-2208F655E53E}"/>
              </a:ext>
            </a:extLst>
          </p:cNvPr>
          <p:cNvSpPr/>
          <p:nvPr/>
        </p:nvSpPr>
        <p:spPr>
          <a:xfrm>
            <a:off x="6162672" y="1840138"/>
            <a:ext cx="176713" cy="167344"/>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a:t>3</a:t>
            </a:r>
            <a:endParaRPr lang="en-US" sz="1000"/>
          </a:p>
        </p:txBody>
      </p:sp>
      <p:sp>
        <p:nvSpPr>
          <p:cNvPr id="38" name="Rechteck 37">
            <a:extLst>
              <a:ext uri="{FF2B5EF4-FFF2-40B4-BE49-F238E27FC236}">
                <a16:creationId xmlns:a16="http://schemas.microsoft.com/office/drawing/2014/main" id="{916D9392-EDE3-4F45-A410-CF1F3280AEF9}"/>
              </a:ext>
            </a:extLst>
          </p:cNvPr>
          <p:cNvSpPr/>
          <p:nvPr/>
        </p:nvSpPr>
        <p:spPr>
          <a:xfrm>
            <a:off x="4695414" y="3351110"/>
            <a:ext cx="2635306" cy="1504174"/>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39" name="Ellipse 38">
            <a:extLst>
              <a:ext uri="{FF2B5EF4-FFF2-40B4-BE49-F238E27FC236}">
                <a16:creationId xmlns:a16="http://schemas.microsoft.com/office/drawing/2014/main" id="{CE3DAFD7-CDAA-42E7-9E69-8A9621E6C793}"/>
              </a:ext>
            </a:extLst>
          </p:cNvPr>
          <p:cNvSpPr/>
          <p:nvPr/>
        </p:nvSpPr>
        <p:spPr>
          <a:xfrm>
            <a:off x="7381953" y="2858286"/>
            <a:ext cx="185731" cy="149134"/>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a:t>4</a:t>
            </a:r>
            <a:endParaRPr lang="en-US" sz="1000"/>
          </a:p>
        </p:txBody>
      </p:sp>
      <p:sp>
        <p:nvSpPr>
          <p:cNvPr id="40" name="Ellipse 39">
            <a:extLst>
              <a:ext uri="{FF2B5EF4-FFF2-40B4-BE49-F238E27FC236}">
                <a16:creationId xmlns:a16="http://schemas.microsoft.com/office/drawing/2014/main" id="{5184C557-9A4E-4708-AF10-59FEBFF80C36}"/>
              </a:ext>
            </a:extLst>
          </p:cNvPr>
          <p:cNvSpPr/>
          <p:nvPr/>
        </p:nvSpPr>
        <p:spPr>
          <a:xfrm>
            <a:off x="7379477" y="3438608"/>
            <a:ext cx="188207" cy="149133"/>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a:t>5</a:t>
            </a:r>
            <a:endParaRPr lang="en-US" sz="1000"/>
          </a:p>
        </p:txBody>
      </p:sp>
      <p:pic>
        <p:nvPicPr>
          <p:cNvPr id="6" name="Grafik 5">
            <a:extLst>
              <a:ext uri="{FF2B5EF4-FFF2-40B4-BE49-F238E27FC236}">
                <a16:creationId xmlns:a16="http://schemas.microsoft.com/office/drawing/2014/main" id="{8A8CE6A3-0FBF-44A5-B64C-B906E1E6A5B6}"/>
              </a:ext>
            </a:extLst>
          </p:cNvPr>
          <p:cNvPicPr>
            <a:picLocks noChangeAspect="1"/>
          </p:cNvPicPr>
          <p:nvPr/>
        </p:nvPicPr>
        <p:blipFill rotWithShape="1">
          <a:blip r:embed="rId4"/>
          <a:srcRect r="2053"/>
          <a:stretch/>
        </p:blipFill>
        <p:spPr>
          <a:xfrm>
            <a:off x="2509044" y="3666309"/>
            <a:ext cx="2929589" cy="984301"/>
          </a:xfrm>
          <a:prstGeom prst="rect">
            <a:avLst/>
          </a:prstGeom>
          <a:ln w="19050">
            <a:solidFill>
              <a:srgbClr val="2F5597"/>
            </a:solidFill>
          </a:ln>
          <a:effectLst/>
        </p:spPr>
      </p:pic>
      <p:sp>
        <p:nvSpPr>
          <p:cNvPr id="42" name="Rechteck 41">
            <a:extLst>
              <a:ext uri="{FF2B5EF4-FFF2-40B4-BE49-F238E27FC236}">
                <a16:creationId xmlns:a16="http://schemas.microsoft.com/office/drawing/2014/main" id="{989BBA40-4DC1-4C27-8E50-8194E42B9A69}"/>
              </a:ext>
            </a:extLst>
          </p:cNvPr>
          <p:cNvSpPr/>
          <p:nvPr/>
        </p:nvSpPr>
        <p:spPr>
          <a:xfrm>
            <a:off x="2741028" y="4426517"/>
            <a:ext cx="656259" cy="133489"/>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43" name="Ellipse 42">
            <a:extLst>
              <a:ext uri="{FF2B5EF4-FFF2-40B4-BE49-F238E27FC236}">
                <a16:creationId xmlns:a16="http://schemas.microsoft.com/office/drawing/2014/main" id="{9D51A718-80A3-4F0F-A6A4-B59276DDDFB1}"/>
              </a:ext>
            </a:extLst>
          </p:cNvPr>
          <p:cNvSpPr/>
          <p:nvPr/>
        </p:nvSpPr>
        <p:spPr>
          <a:xfrm>
            <a:off x="3083098" y="4218525"/>
            <a:ext cx="140853" cy="149133"/>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a:t>7</a:t>
            </a:r>
            <a:endParaRPr lang="en-US" sz="1000"/>
          </a:p>
        </p:txBody>
      </p:sp>
    </p:spTree>
    <p:extLst>
      <p:ext uri="{BB962C8B-B14F-4D97-AF65-F5344CB8AC3E}">
        <p14:creationId xmlns:p14="http://schemas.microsoft.com/office/powerpoint/2010/main" val="9023960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8"/>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0"/>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5"/>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33"/>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43"/>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42"/>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P spid="27" grpId="0" animBg="1"/>
      <p:bldP spid="28" grpId="0" animBg="1"/>
      <p:bldP spid="35" grpId="0" animBg="1"/>
      <p:bldP spid="18" grpId="0" animBg="1"/>
      <p:bldP spid="33" grpId="0" animBg="1"/>
      <p:bldP spid="31" grpId="0" animBg="1"/>
      <p:bldP spid="34" grpId="0" animBg="1"/>
      <p:bldP spid="38" grpId="0" animBg="1"/>
      <p:bldP spid="39" grpId="0" animBg="1"/>
      <p:bldP spid="40" grpId="0" animBg="1"/>
      <p:bldP spid="42" grpId="0" animBg="1"/>
      <p:bldP spid="43"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A19744FE-0122-4458-A703-1ED9355A7C5F}"/>
              </a:ext>
            </a:extLst>
          </p:cNvPr>
          <p:cNvSpPr>
            <a:spLocks noGrp="1"/>
          </p:cNvSpPr>
          <p:nvPr>
            <p:ph type="body" sz="quarter" idx="18"/>
          </p:nvPr>
        </p:nvSpPr>
        <p:spPr/>
        <p:txBody>
          <a:bodyPr>
            <a:normAutofit/>
          </a:bodyPr>
          <a:lstStyle/>
          <a:p>
            <a:r>
              <a:rPr lang="de-DE"/>
              <a:t>2.9 XML </a:t>
            </a:r>
            <a:r>
              <a:rPr lang="de-DE" err="1"/>
              <a:t>export</a:t>
            </a:r>
            <a:r>
              <a:rPr lang="de-DE"/>
              <a:t> </a:t>
            </a:r>
            <a:endParaRPr lang="en-US"/>
          </a:p>
        </p:txBody>
      </p:sp>
      <p:sp>
        <p:nvSpPr>
          <p:cNvPr id="20" name="Inhaltsplatzhalter 6">
            <a:extLst>
              <a:ext uri="{FF2B5EF4-FFF2-40B4-BE49-F238E27FC236}">
                <a16:creationId xmlns:a16="http://schemas.microsoft.com/office/drawing/2014/main" id="{32454CC3-385C-42A1-829D-CBADBEF3B39D}"/>
              </a:ext>
            </a:extLst>
          </p:cNvPr>
          <p:cNvSpPr>
            <a:spLocks noGrp="1"/>
          </p:cNvSpPr>
          <p:nvPr>
            <p:ph sz="quarter" idx="19"/>
          </p:nvPr>
        </p:nvSpPr>
        <p:spPr>
          <a:xfrm>
            <a:off x="239962" y="1185216"/>
            <a:ext cx="8597540" cy="305953"/>
          </a:xfrm>
        </p:spPr>
        <p:txBody>
          <a:bodyPr>
            <a:noAutofit/>
          </a:bodyPr>
          <a:lstStyle/>
          <a:p>
            <a:pPr marL="0" indent="0">
              <a:buNone/>
            </a:pPr>
            <a:r>
              <a:rPr lang="en-US"/>
              <a:t>The Basic UDI-DI and the corresponding UDI-DIs are exported according to the settings in the selection screen (in the example below a new subfolder was created, and multiple UDI records were merged into a single XML file): </a:t>
            </a:r>
          </a:p>
        </p:txBody>
      </p:sp>
      <p:sp>
        <p:nvSpPr>
          <p:cNvPr id="11" name="Titel 2">
            <a:extLst>
              <a:ext uri="{FF2B5EF4-FFF2-40B4-BE49-F238E27FC236}">
                <a16:creationId xmlns:a16="http://schemas.microsoft.com/office/drawing/2014/main" id="{5BC4C9E0-C44F-4822-A912-4BF08A235DA2}"/>
              </a:ext>
            </a:extLst>
          </p:cNvPr>
          <p:cNvSpPr>
            <a:spLocks noGrp="1"/>
          </p:cNvSpPr>
          <p:nvPr>
            <p:ph type="title"/>
          </p:nvPr>
        </p:nvSpPr>
        <p:spPr>
          <a:xfrm>
            <a:off x="269393" y="78770"/>
            <a:ext cx="7907189" cy="330545"/>
          </a:xfrm>
        </p:spPr>
        <p:txBody>
          <a:bodyPr>
            <a:normAutofit fontScale="90000"/>
          </a:bodyPr>
          <a:lstStyle/>
          <a:p>
            <a:r>
              <a:rPr lang="de-DE"/>
              <a:t>2. </a:t>
            </a:r>
            <a:r>
              <a:rPr lang="en-US"/>
              <a:t>W</a:t>
            </a:r>
            <a:r>
              <a:rPr lang="en-US" sz="1800" b="1"/>
              <a:t>ork processes from the database to data transmission </a:t>
            </a:r>
            <a:endParaRPr lang="de-DE"/>
          </a:p>
        </p:txBody>
      </p:sp>
      <p:pic>
        <p:nvPicPr>
          <p:cNvPr id="3" name="Grafik 2">
            <a:extLst>
              <a:ext uri="{FF2B5EF4-FFF2-40B4-BE49-F238E27FC236}">
                <a16:creationId xmlns:a16="http://schemas.microsoft.com/office/drawing/2014/main" id="{0AFCD8EE-686F-40D6-BD5B-4350C292F5D2}"/>
              </a:ext>
            </a:extLst>
          </p:cNvPr>
          <p:cNvPicPr>
            <a:picLocks noChangeAspect="1"/>
          </p:cNvPicPr>
          <p:nvPr/>
        </p:nvPicPr>
        <p:blipFill rotWithShape="1">
          <a:blip r:embed="rId2"/>
          <a:srcRect l="7801"/>
          <a:stretch/>
        </p:blipFill>
        <p:spPr>
          <a:xfrm>
            <a:off x="683971" y="2164875"/>
            <a:ext cx="4974609" cy="661790"/>
          </a:xfrm>
          <a:prstGeom prst="rect">
            <a:avLst/>
          </a:prstGeom>
          <a:ln w="19050">
            <a:solidFill>
              <a:srgbClr val="2F5597"/>
            </a:solidFill>
          </a:ln>
          <a:effectLst>
            <a:outerShdw blurRad="63500" sx="102000" sy="102000" algn="ctr" rotWithShape="0">
              <a:prstClr val="black">
                <a:alpha val="40000"/>
              </a:prstClr>
            </a:outerShdw>
          </a:effectLst>
        </p:spPr>
      </p:pic>
      <p:sp>
        <p:nvSpPr>
          <p:cNvPr id="18" name="Rechteck 17">
            <a:extLst>
              <a:ext uri="{FF2B5EF4-FFF2-40B4-BE49-F238E27FC236}">
                <a16:creationId xmlns:a16="http://schemas.microsoft.com/office/drawing/2014/main" id="{CFE59228-346F-4FE3-9D6C-D376D8B28378}"/>
              </a:ext>
            </a:extLst>
          </p:cNvPr>
          <p:cNvSpPr/>
          <p:nvPr/>
        </p:nvSpPr>
        <p:spPr>
          <a:xfrm>
            <a:off x="1349326" y="2203423"/>
            <a:ext cx="482195" cy="147744"/>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5" name="Grafik 4">
            <a:extLst>
              <a:ext uri="{FF2B5EF4-FFF2-40B4-BE49-F238E27FC236}">
                <a16:creationId xmlns:a16="http://schemas.microsoft.com/office/drawing/2014/main" id="{40FC1654-671A-44B1-BAED-927DC33DF6CE}"/>
              </a:ext>
            </a:extLst>
          </p:cNvPr>
          <p:cNvPicPr>
            <a:picLocks noChangeAspect="1"/>
          </p:cNvPicPr>
          <p:nvPr/>
        </p:nvPicPr>
        <p:blipFill>
          <a:blip r:embed="rId3"/>
          <a:stretch>
            <a:fillRect/>
          </a:stretch>
        </p:blipFill>
        <p:spPr>
          <a:xfrm>
            <a:off x="1590423" y="3235173"/>
            <a:ext cx="6664723" cy="865549"/>
          </a:xfrm>
          <a:prstGeom prst="rect">
            <a:avLst/>
          </a:prstGeom>
          <a:ln w="19050">
            <a:solidFill>
              <a:srgbClr val="2F5597"/>
            </a:solidFill>
          </a:ln>
          <a:effectLst>
            <a:outerShdw blurRad="63500" sx="102000" sy="102000" algn="ctr" rotWithShape="0">
              <a:prstClr val="black">
                <a:alpha val="40000"/>
              </a:prstClr>
            </a:outerShdw>
          </a:effectLst>
        </p:spPr>
      </p:pic>
      <p:sp>
        <p:nvSpPr>
          <p:cNvPr id="13" name="Rechteck 12">
            <a:extLst>
              <a:ext uri="{FF2B5EF4-FFF2-40B4-BE49-F238E27FC236}">
                <a16:creationId xmlns:a16="http://schemas.microsoft.com/office/drawing/2014/main" id="{C6BE8EA2-AD8F-4C2B-9034-8B08A1074488}"/>
              </a:ext>
            </a:extLst>
          </p:cNvPr>
          <p:cNvSpPr/>
          <p:nvPr/>
        </p:nvSpPr>
        <p:spPr>
          <a:xfrm>
            <a:off x="3394190" y="2657523"/>
            <a:ext cx="941695" cy="169142"/>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4" name="Rechteck 13">
            <a:extLst>
              <a:ext uri="{FF2B5EF4-FFF2-40B4-BE49-F238E27FC236}">
                <a16:creationId xmlns:a16="http://schemas.microsoft.com/office/drawing/2014/main" id="{1545CDD7-E935-4A6B-9782-BC01CDDC7E98}"/>
              </a:ext>
            </a:extLst>
          </p:cNvPr>
          <p:cNvSpPr/>
          <p:nvPr/>
        </p:nvSpPr>
        <p:spPr>
          <a:xfrm>
            <a:off x="4556525" y="3821159"/>
            <a:ext cx="2222309" cy="17596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Tree>
    <p:extLst>
      <p:ext uri="{BB962C8B-B14F-4D97-AF65-F5344CB8AC3E}">
        <p14:creationId xmlns:p14="http://schemas.microsoft.com/office/powerpoint/2010/main" val="283624657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A19744FE-0122-4458-A703-1ED9355A7C5F}"/>
              </a:ext>
            </a:extLst>
          </p:cNvPr>
          <p:cNvSpPr>
            <a:spLocks noGrp="1"/>
          </p:cNvSpPr>
          <p:nvPr>
            <p:ph type="body" sz="quarter" idx="18"/>
          </p:nvPr>
        </p:nvSpPr>
        <p:spPr/>
        <p:txBody>
          <a:bodyPr>
            <a:normAutofit/>
          </a:bodyPr>
          <a:lstStyle/>
          <a:p>
            <a:r>
              <a:rPr lang="de-DE"/>
              <a:t>2.9 XML </a:t>
            </a:r>
            <a:r>
              <a:rPr lang="de-DE" err="1"/>
              <a:t>export</a:t>
            </a:r>
            <a:r>
              <a:rPr lang="de-DE"/>
              <a:t> </a:t>
            </a:r>
            <a:endParaRPr lang="en-US"/>
          </a:p>
        </p:txBody>
      </p:sp>
      <p:sp>
        <p:nvSpPr>
          <p:cNvPr id="20" name="Inhaltsplatzhalter 6">
            <a:extLst>
              <a:ext uri="{FF2B5EF4-FFF2-40B4-BE49-F238E27FC236}">
                <a16:creationId xmlns:a16="http://schemas.microsoft.com/office/drawing/2014/main" id="{32454CC3-385C-42A1-829D-CBADBEF3B39D}"/>
              </a:ext>
            </a:extLst>
          </p:cNvPr>
          <p:cNvSpPr>
            <a:spLocks noGrp="1"/>
          </p:cNvSpPr>
          <p:nvPr>
            <p:ph sz="quarter" idx="19"/>
          </p:nvPr>
        </p:nvSpPr>
        <p:spPr>
          <a:xfrm>
            <a:off x="239962" y="1185216"/>
            <a:ext cx="8597540" cy="2609843"/>
          </a:xfrm>
        </p:spPr>
        <p:txBody>
          <a:bodyPr>
            <a:noAutofit/>
          </a:bodyPr>
          <a:lstStyle/>
          <a:p>
            <a:pPr marL="0" indent="0">
              <a:lnSpc>
                <a:spcPct val="107000"/>
              </a:lnSpc>
              <a:spcAft>
                <a:spcPts val="800"/>
              </a:spcAft>
              <a:buNone/>
            </a:pPr>
            <a:r>
              <a:rPr lang="en-US" sz="1000">
                <a:effectLst/>
                <a:latin typeface="Arial" panose="020B0604020202020204" pitchFamily="34" charset="0"/>
                <a:ea typeface="Calibri" panose="020F0502020204030204" pitchFamily="34" charset="0"/>
              </a:rPr>
              <a:t>Defined by EUDAMED, there exist 4 different XML file structures. These file structures are:</a:t>
            </a:r>
            <a:endParaRPr lang="de-DE" sz="1000">
              <a:effectLst/>
              <a:latin typeface="Arial" panose="020B0604020202020204" pitchFamily="34" charset="0"/>
              <a:ea typeface="Calibri" panose="020F0502020204030204" pitchFamily="34" charset="0"/>
            </a:endParaRPr>
          </a:p>
          <a:p>
            <a:pPr marL="342900" lvl="0" indent="-342900">
              <a:lnSpc>
                <a:spcPct val="107000"/>
              </a:lnSpc>
              <a:spcBef>
                <a:spcPts val="0"/>
              </a:spcBef>
              <a:buFont typeface="+mj-lt"/>
              <a:buAutoNum type="arabicPeriod"/>
            </a:pPr>
            <a:r>
              <a:rPr lang="en-US" sz="1000">
                <a:effectLst/>
                <a:latin typeface="Arial" panose="020B0604020202020204" pitchFamily="34" charset="0"/>
                <a:ea typeface="Calibri" panose="020F0502020204030204" pitchFamily="34" charset="0"/>
              </a:rPr>
              <a:t>Insert action with 1 x Basic UDI-DI and 1-n UDI-DI (to EUDAMED database)</a:t>
            </a:r>
            <a:endParaRPr lang="de-DE" sz="1000">
              <a:effectLst/>
              <a:latin typeface="Arial" panose="020B0604020202020204" pitchFamily="34" charset="0"/>
              <a:ea typeface="Calibri" panose="020F0502020204030204" pitchFamily="34" charset="0"/>
            </a:endParaRPr>
          </a:p>
          <a:p>
            <a:pPr marL="342900" lvl="0" indent="-342900">
              <a:lnSpc>
                <a:spcPct val="107000"/>
              </a:lnSpc>
              <a:spcBef>
                <a:spcPts val="0"/>
              </a:spcBef>
              <a:buFont typeface="+mj-lt"/>
              <a:buAutoNum type="arabicPeriod"/>
            </a:pPr>
            <a:r>
              <a:rPr lang="en-US" sz="1000">
                <a:effectLst/>
                <a:latin typeface="Arial" panose="020B0604020202020204" pitchFamily="34" charset="0"/>
                <a:ea typeface="Calibri" panose="020F0502020204030204" pitchFamily="34" charset="0"/>
              </a:rPr>
              <a:t>Update 1 x Basic UDI-DI (in EUDAMED database)</a:t>
            </a:r>
            <a:endParaRPr lang="de-DE" sz="1000">
              <a:effectLst/>
              <a:latin typeface="Arial" panose="020B0604020202020204" pitchFamily="34" charset="0"/>
              <a:ea typeface="Calibri" panose="020F0502020204030204" pitchFamily="34" charset="0"/>
            </a:endParaRPr>
          </a:p>
          <a:p>
            <a:pPr marL="342900" lvl="0" indent="-342900">
              <a:lnSpc>
                <a:spcPct val="107000"/>
              </a:lnSpc>
              <a:spcBef>
                <a:spcPts val="0"/>
              </a:spcBef>
              <a:buFont typeface="+mj-lt"/>
              <a:buAutoNum type="arabicPeriod"/>
            </a:pPr>
            <a:r>
              <a:rPr lang="en-US" sz="1000">
                <a:effectLst/>
                <a:latin typeface="Arial" panose="020B0604020202020204" pitchFamily="34" charset="0"/>
                <a:ea typeface="Calibri" panose="020F0502020204030204" pitchFamily="34" charset="0"/>
              </a:rPr>
              <a:t>Add 1-n UDI-DI to existing Basic UDI-DI (in EUDAMED database)</a:t>
            </a:r>
            <a:endParaRPr lang="de-DE" sz="1000">
              <a:effectLst/>
              <a:latin typeface="Arial" panose="020B0604020202020204" pitchFamily="34" charset="0"/>
              <a:ea typeface="Calibri" panose="020F0502020204030204" pitchFamily="34" charset="0"/>
            </a:endParaRPr>
          </a:p>
          <a:p>
            <a:pPr marL="342900" lvl="0" indent="-342900">
              <a:lnSpc>
                <a:spcPct val="107000"/>
              </a:lnSpc>
              <a:spcBef>
                <a:spcPts val="0"/>
              </a:spcBef>
              <a:spcAft>
                <a:spcPts val="800"/>
              </a:spcAft>
              <a:buFont typeface="+mj-lt"/>
              <a:buAutoNum type="arabicPeriod"/>
            </a:pPr>
            <a:r>
              <a:rPr lang="en-US" sz="1000">
                <a:effectLst/>
                <a:latin typeface="Arial" panose="020B0604020202020204" pitchFamily="34" charset="0"/>
                <a:ea typeface="Calibri" panose="020F0502020204030204" pitchFamily="34" charset="0"/>
              </a:rPr>
              <a:t>Update 1-n UDI-DI (in EUDAMED database)</a:t>
            </a:r>
            <a:endParaRPr lang="de-DE" sz="1000">
              <a:ea typeface="Calibri" panose="020F0502020204030204" pitchFamily="34" charset="0"/>
            </a:endParaRPr>
          </a:p>
          <a:p>
            <a:pPr marL="0" lvl="0" indent="0">
              <a:lnSpc>
                <a:spcPct val="107000"/>
              </a:lnSpc>
              <a:spcAft>
                <a:spcPts val="800"/>
              </a:spcAft>
              <a:buNone/>
            </a:pPr>
            <a:r>
              <a:rPr lang="en-US" sz="1000">
                <a:effectLst/>
                <a:latin typeface="Arial" panose="020B0604020202020204" pitchFamily="34" charset="0"/>
                <a:ea typeface="Calibri" panose="020F0502020204030204" pitchFamily="34" charset="0"/>
              </a:rPr>
              <a:t>The option “Merge multiple XML files into a single XML file” will create only one file for all same action types. This allows you to have less manual upload effort.</a:t>
            </a:r>
            <a:endParaRPr lang="de-DE" sz="1000">
              <a:effectLst/>
              <a:latin typeface="Arial" panose="020B0604020202020204" pitchFamily="34" charset="0"/>
              <a:ea typeface="Calibri" panose="020F0502020204030204" pitchFamily="34" charset="0"/>
            </a:endParaRPr>
          </a:p>
          <a:p>
            <a:pPr marL="0" indent="0">
              <a:lnSpc>
                <a:spcPct val="107000"/>
              </a:lnSpc>
              <a:spcAft>
                <a:spcPts val="800"/>
              </a:spcAft>
              <a:buNone/>
            </a:pPr>
            <a:r>
              <a:rPr lang="en-US" sz="1000">
                <a:effectLst/>
                <a:latin typeface="Arial" panose="020B0604020202020204" pitchFamily="34" charset="0"/>
                <a:ea typeface="Calibri" panose="020F0502020204030204" pitchFamily="34" charset="0"/>
              </a:rPr>
              <a:t>The option “System controlled” will determine if a UDI record was already exported and which version this record has. Depending on these parameters the program will create one of above XML file types. All other options are forcing the program to create the selected file type. </a:t>
            </a:r>
            <a:endParaRPr lang="de-DE" sz="1000">
              <a:effectLst/>
              <a:latin typeface="Arial" panose="020B0604020202020204" pitchFamily="34" charset="0"/>
              <a:ea typeface="Calibri" panose="020F0502020204030204" pitchFamily="34" charset="0"/>
            </a:endParaRPr>
          </a:p>
          <a:p>
            <a:pPr marL="0" indent="0">
              <a:buNone/>
            </a:pPr>
            <a:endParaRPr lang="en-US"/>
          </a:p>
        </p:txBody>
      </p:sp>
      <p:sp>
        <p:nvSpPr>
          <p:cNvPr id="11" name="Titel 2">
            <a:extLst>
              <a:ext uri="{FF2B5EF4-FFF2-40B4-BE49-F238E27FC236}">
                <a16:creationId xmlns:a16="http://schemas.microsoft.com/office/drawing/2014/main" id="{5BC4C9E0-C44F-4822-A912-4BF08A235DA2}"/>
              </a:ext>
            </a:extLst>
          </p:cNvPr>
          <p:cNvSpPr>
            <a:spLocks noGrp="1"/>
          </p:cNvSpPr>
          <p:nvPr>
            <p:ph type="title"/>
          </p:nvPr>
        </p:nvSpPr>
        <p:spPr>
          <a:xfrm>
            <a:off x="269393" y="78770"/>
            <a:ext cx="7907189" cy="330545"/>
          </a:xfrm>
        </p:spPr>
        <p:txBody>
          <a:bodyPr>
            <a:normAutofit fontScale="90000"/>
          </a:bodyPr>
          <a:lstStyle/>
          <a:p>
            <a:r>
              <a:rPr lang="de-DE"/>
              <a:t>2. </a:t>
            </a:r>
            <a:r>
              <a:rPr lang="en-US"/>
              <a:t>W</a:t>
            </a:r>
            <a:r>
              <a:rPr lang="en-US" sz="1800" b="1"/>
              <a:t>ork processes from the database to data transmission </a:t>
            </a:r>
            <a:endParaRPr lang="de-DE"/>
          </a:p>
        </p:txBody>
      </p:sp>
      <p:pic>
        <p:nvPicPr>
          <p:cNvPr id="10" name="Grafik 9" descr="Ein Bild, das Text enthält.&#10;&#10;Automatisch generierte Beschreibung">
            <a:extLst>
              <a:ext uri="{FF2B5EF4-FFF2-40B4-BE49-F238E27FC236}">
                <a16:creationId xmlns:a16="http://schemas.microsoft.com/office/drawing/2014/main" id="{A6D71771-9B52-4EEB-8F30-E0F29537C3ED}"/>
              </a:ext>
            </a:extLst>
          </p:cNvPr>
          <p:cNvPicPr>
            <a:picLocks noChangeAspect="1"/>
          </p:cNvPicPr>
          <p:nvPr/>
        </p:nvPicPr>
        <p:blipFill>
          <a:blip r:embed="rId2"/>
          <a:stretch>
            <a:fillRect/>
          </a:stretch>
        </p:blipFill>
        <p:spPr>
          <a:xfrm>
            <a:off x="5648211" y="1249082"/>
            <a:ext cx="3189291" cy="1010098"/>
          </a:xfrm>
          <a:prstGeom prst="rect">
            <a:avLst/>
          </a:prstGeom>
          <a:ln w="19050">
            <a:solidFill>
              <a:schemeClr val="tx1"/>
            </a:solidFill>
          </a:ln>
        </p:spPr>
      </p:pic>
    </p:spTree>
    <p:extLst>
      <p:ext uri="{BB962C8B-B14F-4D97-AF65-F5344CB8AC3E}">
        <p14:creationId xmlns:p14="http://schemas.microsoft.com/office/powerpoint/2010/main" val="288665781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A19744FE-0122-4458-A703-1ED9355A7C5F}"/>
              </a:ext>
            </a:extLst>
          </p:cNvPr>
          <p:cNvSpPr>
            <a:spLocks noGrp="1"/>
          </p:cNvSpPr>
          <p:nvPr>
            <p:ph type="body" sz="quarter" idx="18"/>
          </p:nvPr>
        </p:nvSpPr>
        <p:spPr/>
        <p:txBody>
          <a:bodyPr>
            <a:normAutofit/>
          </a:bodyPr>
          <a:lstStyle/>
          <a:p>
            <a:r>
              <a:rPr lang="de-DE"/>
              <a:t>2.9 XML </a:t>
            </a:r>
            <a:r>
              <a:rPr lang="de-DE" err="1"/>
              <a:t>export</a:t>
            </a:r>
            <a:r>
              <a:rPr lang="de-DE"/>
              <a:t> </a:t>
            </a:r>
            <a:endParaRPr lang="en-US"/>
          </a:p>
        </p:txBody>
      </p:sp>
      <p:sp>
        <p:nvSpPr>
          <p:cNvPr id="10" name="Titel 2">
            <a:extLst>
              <a:ext uri="{FF2B5EF4-FFF2-40B4-BE49-F238E27FC236}">
                <a16:creationId xmlns:a16="http://schemas.microsoft.com/office/drawing/2014/main" id="{0257BA0C-0C73-477A-9A47-D0A34BC97D30}"/>
              </a:ext>
            </a:extLst>
          </p:cNvPr>
          <p:cNvSpPr>
            <a:spLocks noGrp="1"/>
          </p:cNvSpPr>
          <p:nvPr>
            <p:ph type="title"/>
          </p:nvPr>
        </p:nvSpPr>
        <p:spPr>
          <a:xfrm>
            <a:off x="269393" y="78770"/>
            <a:ext cx="7907189" cy="330545"/>
          </a:xfrm>
        </p:spPr>
        <p:txBody>
          <a:bodyPr>
            <a:normAutofit fontScale="90000"/>
          </a:bodyPr>
          <a:lstStyle/>
          <a:p>
            <a:r>
              <a:rPr lang="de-DE"/>
              <a:t>2. </a:t>
            </a:r>
            <a:r>
              <a:rPr lang="en-US"/>
              <a:t>W</a:t>
            </a:r>
            <a:r>
              <a:rPr lang="en-US" sz="1800" b="1"/>
              <a:t>ork processes from the database to data transmission </a:t>
            </a:r>
            <a:endParaRPr lang="de-DE"/>
          </a:p>
        </p:txBody>
      </p:sp>
      <p:pic>
        <p:nvPicPr>
          <p:cNvPr id="3" name="Grafik 2">
            <a:extLst>
              <a:ext uri="{FF2B5EF4-FFF2-40B4-BE49-F238E27FC236}">
                <a16:creationId xmlns:a16="http://schemas.microsoft.com/office/drawing/2014/main" id="{011EB904-83DB-433E-84D5-7B30ACE4CBE6}"/>
              </a:ext>
            </a:extLst>
          </p:cNvPr>
          <p:cNvPicPr>
            <a:picLocks noChangeAspect="1"/>
          </p:cNvPicPr>
          <p:nvPr/>
        </p:nvPicPr>
        <p:blipFill rotWithShape="1">
          <a:blip r:embed="rId2"/>
          <a:srcRect r="36060"/>
          <a:stretch/>
        </p:blipFill>
        <p:spPr>
          <a:xfrm>
            <a:off x="1484339" y="1254848"/>
            <a:ext cx="3201984" cy="3094491"/>
          </a:xfrm>
          <a:prstGeom prst="rect">
            <a:avLst/>
          </a:prstGeom>
          <a:ln w="19050">
            <a:solidFill>
              <a:srgbClr val="2F5597"/>
            </a:solidFill>
          </a:ln>
          <a:effectLst/>
        </p:spPr>
      </p:pic>
      <p:pic>
        <p:nvPicPr>
          <p:cNvPr id="5" name="Grafik 4">
            <a:extLst>
              <a:ext uri="{FF2B5EF4-FFF2-40B4-BE49-F238E27FC236}">
                <a16:creationId xmlns:a16="http://schemas.microsoft.com/office/drawing/2014/main" id="{CB2DDAC2-B663-4DFA-8035-6410A44D523F}"/>
              </a:ext>
            </a:extLst>
          </p:cNvPr>
          <p:cNvPicPr>
            <a:picLocks noChangeAspect="1"/>
          </p:cNvPicPr>
          <p:nvPr/>
        </p:nvPicPr>
        <p:blipFill rotWithShape="1">
          <a:blip r:embed="rId3"/>
          <a:srcRect r="39681" b="15573"/>
          <a:stretch/>
        </p:blipFill>
        <p:spPr>
          <a:xfrm>
            <a:off x="4974598" y="1254848"/>
            <a:ext cx="3201984" cy="3094491"/>
          </a:xfrm>
          <a:prstGeom prst="rect">
            <a:avLst/>
          </a:prstGeom>
          <a:ln w="19050">
            <a:solidFill>
              <a:srgbClr val="2F5597"/>
            </a:solidFill>
          </a:ln>
          <a:effectLst/>
        </p:spPr>
      </p:pic>
      <p:sp>
        <p:nvSpPr>
          <p:cNvPr id="7" name="Rechteck 6">
            <a:extLst>
              <a:ext uri="{FF2B5EF4-FFF2-40B4-BE49-F238E27FC236}">
                <a16:creationId xmlns:a16="http://schemas.microsoft.com/office/drawing/2014/main" id="{90E25B4F-9ED9-4857-B3DD-BCFBE0BBA17F}"/>
              </a:ext>
            </a:extLst>
          </p:cNvPr>
          <p:cNvSpPr/>
          <p:nvPr/>
        </p:nvSpPr>
        <p:spPr>
          <a:xfrm>
            <a:off x="1793711" y="2978073"/>
            <a:ext cx="741083" cy="77694"/>
          </a:xfrm>
          <a:prstGeom prst="rect">
            <a:avLst/>
          </a:prstGeom>
          <a:solidFill>
            <a:srgbClr val="FF0000">
              <a:alpha val="25000"/>
            </a:srgbClr>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hteck 14">
            <a:extLst>
              <a:ext uri="{FF2B5EF4-FFF2-40B4-BE49-F238E27FC236}">
                <a16:creationId xmlns:a16="http://schemas.microsoft.com/office/drawing/2014/main" id="{C25AD8E8-A48A-4D64-BE5E-D7FF7609E549}"/>
              </a:ext>
            </a:extLst>
          </p:cNvPr>
          <p:cNvSpPr/>
          <p:nvPr/>
        </p:nvSpPr>
        <p:spPr>
          <a:xfrm>
            <a:off x="5285815" y="1473205"/>
            <a:ext cx="888649" cy="76492"/>
          </a:xfrm>
          <a:prstGeom prst="rect">
            <a:avLst/>
          </a:prstGeom>
          <a:solidFill>
            <a:srgbClr val="FF0000">
              <a:alpha val="25000"/>
            </a:srgbClr>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62372745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A19744FE-0122-4458-A703-1ED9355A7C5F}"/>
              </a:ext>
            </a:extLst>
          </p:cNvPr>
          <p:cNvSpPr>
            <a:spLocks noGrp="1"/>
          </p:cNvSpPr>
          <p:nvPr>
            <p:ph type="body" sz="quarter" idx="18"/>
          </p:nvPr>
        </p:nvSpPr>
        <p:spPr/>
        <p:txBody>
          <a:bodyPr>
            <a:normAutofit/>
          </a:bodyPr>
          <a:lstStyle/>
          <a:p>
            <a:r>
              <a:rPr lang="de-DE"/>
              <a:t>2.10 EITC Web Service</a:t>
            </a:r>
            <a:endParaRPr lang="en-US"/>
          </a:p>
          <a:p>
            <a:endParaRPr lang="de-DE"/>
          </a:p>
          <a:p>
            <a:endParaRPr lang="de-DE"/>
          </a:p>
        </p:txBody>
      </p:sp>
      <p:sp>
        <p:nvSpPr>
          <p:cNvPr id="3" name="Titel 2">
            <a:extLst>
              <a:ext uri="{FF2B5EF4-FFF2-40B4-BE49-F238E27FC236}">
                <a16:creationId xmlns:a16="http://schemas.microsoft.com/office/drawing/2014/main" id="{17403686-94D3-4A24-BDEB-07854049E7FA}"/>
              </a:ext>
            </a:extLst>
          </p:cNvPr>
          <p:cNvSpPr>
            <a:spLocks noGrp="1"/>
          </p:cNvSpPr>
          <p:nvPr>
            <p:ph type="title"/>
          </p:nvPr>
        </p:nvSpPr>
        <p:spPr/>
        <p:txBody>
          <a:bodyPr>
            <a:normAutofit fontScale="90000"/>
          </a:bodyPr>
          <a:lstStyle/>
          <a:p>
            <a:r>
              <a:rPr lang="de-DE"/>
              <a:t>2. </a:t>
            </a:r>
            <a:r>
              <a:rPr lang="en-US"/>
              <a:t>W</a:t>
            </a:r>
            <a:r>
              <a:rPr lang="en-US" sz="1800" b="1"/>
              <a:t>ork processes from the database to data transmission </a:t>
            </a:r>
            <a:endParaRPr lang="de-DE"/>
          </a:p>
        </p:txBody>
      </p:sp>
      <p:sp>
        <p:nvSpPr>
          <p:cNvPr id="31" name="Rechteck: abgerundete Ecken 30">
            <a:extLst>
              <a:ext uri="{FF2B5EF4-FFF2-40B4-BE49-F238E27FC236}">
                <a16:creationId xmlns:a16="http://schemas.microsoft.com/office/drawing/2014/main" id="{C2E356A7-F0C9-4E37-8904-4CFAE1F864A1}"/>
              </a:ext>
            </a:extLst>
          </p:cNvPr>
          <p:cNvSpPr/>
          <p:nvPr/>
        </p:nvSpPr>
        <p:spPr>
          <a:xfrm>
            <a:off x="5124177" y="1827482"/>
            <a:ext cx="1797627" cy="1936246"/>
          </a:xfrm>
          <a:prstGeom prst="round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sz="1200" b="1">
                <a:solidFill>
                  <a:schemeClr val="tx1"/>
                </a:solidFill>
                <a:latin typeface="Arial" panose="020B0604020202020204" pitchFamily="34" charset="0"/>
                <a:cs typeface="Arial" panose="020B0604020202020204" pitchFamily="34" charset="0"/>
              </a:rPr>
              <a:t>Data </a:t>
            </a:r>
            <a:r>
              <a:rPr lang="de-DE" sz="1200" b="1" err="1">
                <a:solidFill>
                  <a:schemeClr val="tx1"/>
                </a:solidFill>
                <a:latin typeface="Arial" panose="020B0604020202020204" pitchFamily="34" charset="0"/>
                <a:cs typeface="Arial" panose="020B0604020202020204" pitchFamily="34" charset="0"/>
              </a:rPr>
              <a:t>transmission</a:t>
            </a:r>
            <a:endParaRPr lang="de-DE" sz="1200" b="1">
              <a:solidFill>
                <a:schemeClr val="tx1"/>
              </a:solidFill>
              <a:latin typeface="Arial" panose="020B0604020202020204" pitchFamily="34" charset="0"/>
              <a:cs typeface="Arial" panose="020B0604020202020204" pitchFamily="34" charset="0"/>
            </a:endParaRPr>
          </a:p>
          <a:p>
            <a:pPr algn="ctr"/>
            <a:endParaRPr lang="de-DE" sz="1200">
              <a:latin typeface="Arial" panose="020B0604020202020204" pitchFamily="34" charset="0"/>
              <a:cs typeface="Arial" panose="020B0604020202020204" pitchFamily="34" charset="0"/>
            </a:endParaRPr>
          </a:p>
          <a:p>
            <a:pPr algn="ctr"/>
            <a:endParaRPr lang="de-DE" sz="1200">
              <a:latin typeface="Arial" panose="020B0604020202020204" pitchFamily="34" charset="0"/>
              <a:cs typeface="Arial" panose="020B0604020202020204" pitchFamily="34" charset="0"/>
            </a:endParaRPr>
          </a:p>
          <a:p>
            <a:pPr algn="ctr"/>
            <a:endParaRPr lang="de-DE" sz="1200">
              <a:latin typeface="Arial" panose="020B0604020202020204" pitchFamily="34" charset="0"/>
              <a:cs typeface="Arial" panose="020B0604020202020204" pitchFamily="34" charset="0"/>
            </a:endParaRPr>
          </a:p>
          <a:p>
            <a:pPr algn="ctr"/>
            <a:endParaRPr lang="de-DE" sz="1200">
              <a:latin typeface="Arial" panose="020B0604020202020204" pitchFamily="34" charset="0"/>
              <a:cs typeface="Arial" panose="020B0604020202020204" pitchFamily="34" charset="0"/>
            </a:endParaRPr>
          </a:p>
          <a:p>
            <a:pPr algn="ctr"/>
            <a:endParaRPr lang="de-CH" sz="1200">
              <a:latin typeface="Arial" panose="020B0604020202020204" pitchFamily="34" charset="0"/>
              <a:cs typeface="Arial" panose="020B0604020202020204" pitchFamily="34" charset="0"/>
            </a:endParaRPr>
          </a:p>
        </p:txBody>
      </p:sp>
      <p:sp>
        <p:nvSpPr>
          <p:cNvPr id="35" name="Rechteck: abgerundete Ecken 34">
            <a:extLst>
              <a:ext uri="{FF2B5EF4-FFF2-40B4-BE49-F238E27FC236}">
                <a16:creationId xmlns:a16="http://schemas.microsoft.com/office/drawing/2014/main" id="{2F00C498-6C91-4802-B79A-B21A351086B1}"/>
              </a:ext>
            </a:extLst>
          </p:cNvPr>
          <p:cNvSpPr/>
          <p:nvPr/>
        </p:nvSpPr>
        <p:spPr>
          <a:xfrm>
            <a:off x="374876" y="1829725"/>
            <a:ext cx="1620000" cy="776776"/>
          </a:xfrm>
          <a:prstGeom prst="roundRect">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Arial" panose="020B0604020202020204" pitchFamily="34" charset="0"/>
                <a:cs typeface="Arial" panose="020B0604020202020204" pitchFamily="34" charset="0"/>
              </a:rPr>
              <a:t>Product creation in the Add-On</a:t>
            </a:r>
          </a:p>
        </p:txBody>
      </p:sp>
      <p:sp>
        <p:nvSpPr>
          <p:cNvPr id="36" name="Rechteck: abgerundete Ecken 35">
            <a:extLst>
              <a:ext uri="{FF2B5EF4-FFF2-40B4-BE49-F238E27FC236}">
                <a16:creationId xmlns:a16="http://schemas.microsoft.com/office/drawing/2014/main" id="{D66D3841-4BE4-4211-9A3B-E6FBAB054984}"/>
              </a:ext>
            </a:extLst>
          </p:cNvPr>
          <p:cNvSpPr/>
          <p:nvPr/>
        </p:nvSpPr>
        <p:spPr>
          <a:xfrm>
            <a:off x="2053233" y="1838140"/>
            <a:ext cx="1620000" cy="776776"/>
          </a:xfrm>
          <a:prstGeom prst="roundRect">
            <a:avLst/>
          </a:prstGeom>
          <a:solidFill>
            <a:srgbClr val="20386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err="1">
                <a:solidFill>
                  <a:schemeClr val="bg1"/>
                </a:solidFill>
                <a:latin typeface="Arial" panose="020B0604020202020204" pitchFamily="34" charset="0"/>
                <a:cs typeface="Arial" panose="020B0604020202020204" pitchFamily="34" charset="0"/>
              </a:rPr>
              <a:t>Product</a:t>
            </a:r>
            <a:r>
              <a:rPr lang="de-CH" sz="1200">
                <a:solidFill>
                  <a:schemeClr val="bg1"/>
                </a:solidFill>
                <a:latin typeface="Arial" panose="020B0604020202020204" pitchFamily="34" charset="0"/>
                <a:cs typeface="Arial" panose="020B0604020202020204" pitchFamily="34" charset="0"/>
              </a:rPr>
              <a:t> </a:t>
            </a:r>
            <a:r>
              <a:rPr lang="de-CH" sz="1200" err="1">
                <a:solidFill>
                  <a:schemeClr val="bg1"/>
                </a:solidFill>
                <a:latin typeface="Arial" panose="020B0604020202020204" pitchFamily="34" charset="0"/>
                <a:cs typeface="Arial" panose="020B0604020202020204" pitchFamily="34" charset="0"/>
              </a:rPr>
              <a:t>creation</a:t>
            </a:r>
            <a:r>
              <a:rPr lang="de-CH" sz="1200">
                <a:solidFill>
                  <a:schemeClr val="bg1"/>
                </a:solidFill>
                <a:latin typeface="Arial" panose="020B0604020202020204" pitchFamily="34" charset="0"/>
                <a:cs typeface="Arial" panose="020B0604020202020204" pitchFamily="34" charset="0"/>
              </a:rPr>
              <a:t> </a:t>
            </a:r>
            <a:r>
              <a:rPr lang="de-CH" sz="1200" err="1">
                <a:solidFill>
                  <a:schemeClr val="bg1"/>
                </a:solidFill>
                <a:latin typeface="Arial" panose="020B0604020202020204" pitchFamily="34" charset="0"/>
                <a:cs typeface="Arial" panose="020B0604020202020204" pitchFamily="34" charset="0"/>
              </a:rPr>
              <a:t>with</a:t>
            </a:r>
            <a:r>
              <a:rPr lang="de-CH" sz="1200">
                <a:solidFill>
                  <a:schemeClr val="bg1"/>
                </a:solidFill>
                <a:latin typeface="Arial" panose="020B0604020202020204" pitchFamily="34" charset="0"/>
                <a:cs typeface="Arial" panose="020B0604020202020204" pitchFamily="34" charset="0"/>
              </a:rPr>
              <a:t> Excel</a:t>
            </a:r>
          </a:p>
        </p:txBody>
      </p:sp>
      <p:sp>
        <p:nvSpPr>
          <p:cNvPr id="37" name="Rechteck: abgerundete Ecken 36">
            <a:extLst>
              <a:ext uri="{FF2B5EF4-FFF2-40B4-BE49-F238E27FC236}">
                <a16:creationId xmlns:a16="http://schemas.microsoft.com/office/drawing/2014/main" id="{C4BE9CCD-C203-414F-B252-20F9929F8E62}"/>
              </a:ext>
            </a:extLst>
          </p:cNvPr>
          <p:cNvSpPr/>
          <p:nvPr/>
        </p:nvSpPr>
        <p:spPr>
          <a:xfrm>
            <a:off x="1218206" y="2881040"/>
            <a:ext cx="1620000" cy="875128"/>
          </a:xfrm>
          <a:prstGeom prst="roundRect">
            <a:avLst/>
          </a:prstGeom>
          <a:solidFill>
            <a:srgbClr val="20386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a:latin typeface="Arial" panose="020B0604020202020204" pitchFamily="34" charset="0"/>
                <a:cs typeface="Arial" panose="020B0604020202020204" pitchFamily="34" charset="0"/>
              </a:rPr>
              <a:t>Mass </a:t>
            </a:r>
            <a:r>
              <a:rPr lang="de-CH" sz="1200" err="1">
                <a:latin typeface="Arial" panose="020B0604020202020204" pitchFamily="34" charset="0"/>
                <a:cs typeface="Arial" panose="020B0604020202020204" pitchFamily="34" charset="0"/>
              </a:rPr>
              <a:t>change</a:t>
            </a:r>
            <a:r>
              <a:rPr lang="de-CH" sz="1200">
                <a:latin typeface="Arial" panose="020B0604020202020204" pitchFamily="34" charset="0"/>
                <a:cs typeface="Arial" panose="020B0604020202020204" pitchFamily="34" charset="0"/>
              </a:rPr>
              <a:t> </a:t>
            </a:r>
          </a:p>
          <a:p>
            <a:pPr marL="171450" indent="-171450">
              <a:buFont typeface="Arial" panose="020B0604020202020204" pitchFamily="34" charset="0"/>
              <a:buChar char="•"/>
            </a:pPr>
            <a:r>
              <a:rPr lang="de-CH" sz="1200" err="1">
                <a:latin typeface="Arial" panose="020B0604020202020204" pitchFamily="34" charset="0"/>
                <a:cs typeface="Arial" panose="020B0604020202020204" pitchFamily="34" charset="0"/>
              </a:rPr>
              <a:t>with</a:t>
            </a:r>
            <a:r>
              <a:rPr lang="de-CH" sz="1200">
                <a:latin typeface="Arial" panose="020B0604020202020204" pitchFamily="34" charset="0"/>
                <a:cs typeface="Arial" panose="020B0604020202020204" pitchFamily="34" charset="0"/>
              </a:rPr>
              <a:t> Excel</a:t>
            </a:r>
          </a:p>
          <a:p>
            <a:pPr marL="171450" indent="-171450">
              <a:buFont typeface="Arial" panose="020B0604020202020204" pitchFamily="34" charset="0"/>
              <a:buChar char="•"/>
            </a:pPr>
            <a:r>
              <a:rPr lang="de-CH" sz="1200">
                <a:latin typeface="Arial" panose="020B0604020202020204" pitchFamily="34" charset="0"/>
                <a:cs typeface="Arial" panose="020B0604020202020204" pitchFamily="34" charset="0"/>
              </a:rPr>
              <a:t>in </a:t>
            </a:r>
            <a:r>
              <a:rPr lang="de-CH" sz="1200" err="1">
                <a:latin typeface="Arial" panose="020B0604020202020204" pitchFamily="34" charset="0"/>
                <a:cs typeface="Arial" panose="020B0604020202020204" pitchFamily="34" charset="0"/>
              </a:rPr>
              <a:t>the</a:t>
            </a:r>
            <a:r>
              <a:rPr lang="de-CH" sz="1200">
                <a:latin typeface="Arial" panose="020B0604020202020204" pitchFamily="34" charset="0"/>
                <a:cs typeface="Arial" panose="020B0604020202020204" pitchFamily="34" charset="0"/>
              </a:rPr>
              <a:t> Add-On</a:t>
            </a:r>
          </a:p>
        </p:txBody>
      </p:sp>
      <p:sp>
        <p:nvSpPr>
          <p:cNvPr id="38" name="Rechteck: abgerundete Ecken 37">
            <a:extLst>
              <a:ext uri="{FF2B5EF4-FFF2-40B4-BE49-F238E27FC236}">
                <a16:creationId xmlns:a16="http://schemas.microsoft.com/office/drawing/2014/main" id="{ED09656B-C0AC-4936-AD21-246475444A6A}"/>
              </a:ext>
            </a:extLst>
          </p:cNvPr>
          <p:cNvSpPr/>
          <p:nvPr/>
        </p:nvSpPr>
        <p:spPr>
          <a:xfrm>
            <a:off x="3209825" y="2881040"/>
            <a:ext cx="1620000" cy="875128"/>
          </a:xfrm>
          <a:prstGeom prst="roundRect">
            <a:avLst/>
          </a:prstGeom>
          <a:solidFill>
            <a:srgbClr val="20386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a:latin typeface="Arial" panose="020B0604020202020204" pitchFamily="34" charset="0"/>
                <a:cs typeface="Arial" panose="020B0604020202020204" pitchFamily="34" charset="0"/>
              </a:rPr>
              <a:t>Data </a:t>
            </a:r>
            <a:r>
              <a:rPr lang="de-CH" sz="1200" err="1">
                <a:latin typeface="Arial" panose="020B0604020202020204" pitchFamily="34" charset="0"/>
                <a:cs typeface="Arial" panose="020B0604020202020204" pitchFamily="34" charset="0"/>
              </a:rPr>
              <a:t>overview</a:t>
            </a:r>
            <a:r>
              <a:rPr lang="de-CH" sz="1200">
                <a:latin typeface="Arial" panose="020B0604020202020204" pitchFamily="34" charset="0"/>
                <a:cs typeface="Arial" panose="020B0604020202020204" pitchFamily="34" charset="0"/>
              </a:rPr>
              <a:t>,</a:t>
            </a:r>
          </a:p>
          <a:p>
            <a:pPr algn="ctr"/>
            <a:r>
              <a:rPr lang="de-CH" sz="1200" err="1">
                <a:latin typeface="Arial" panose="020B0604020202020204" pitchFamily="34" charset="0"/>
                <a:cs typeface="Arial" panose="020B0604020202020204" pitchFamily="34" charset="0"/>
              </a:rPr>
              <a:t>visual</a:t>
            </a:r>
            <a:r>
              <a:rPr lang="de-CH" sz="1200">
                <a:latin typeface="Arial" panose="020B0604020202020204" pitchFamily="34" charset="0"/>
                <a:cs typeface="Arial" panose="020B0604020202020204" pitchFamily="34" charset="0"/>
              </a:rPr>
              <a:t> </a:t>
            </a:r>
            <a:r>
              <a:rPr lang="de-CH" sz="1200" err="1">
                <a:latin typeface="Arial" panose="020B0604020202020204" pitchFamily="34" charset="0"/>
                <a:cs typeface="Arial" panose="020B0604020202020204" pitchFamily="34" charset="0"/>
              </a:rPr>
              <a:t>data</a:t>
            </a:r>
            <a:r>
              <a:rPr lang="de-CH" sz="1200">
                <a:latin typeface="Arial" panose="020B0604020202020204" pitchFamily="34" charset="0"/>
                <a:cs typeface="Arial" panose="020B0604020202020204" pitchFamily="34" charset="0"/>
              </a:rPr>
              <a:t> check</a:t>
            </a:r>
          </a:p>
          <a:p>
            <a:pPr algn="ctr"/>
            <a:r>
              <a:rPr lang="de-CH" sz="1200">
                <a:latin typeface="Arial" panose="020B0604020202020204" pitchFamily="34" charset="0"/>
                <a:cs typeface="Arial" panose="020B0604020202020204" pitchFamily="34" charset="0"/>
              </a:rPr>
              <a:t>/UDI/Attributes</a:t>
            </a:r>
          </a:p>
        </p:txBody>
      </p:sp>
      <p:sp>
        <p:nvSpPr>
          <p:cNvPr id="39" name="Rechteck: abgerundete Ecken 38">
            <a:extLst>
              <a:ext uri="{FF2B5EF4-FFF2-40B4-BE49-F238E27FC236}">
                <a16:creationId xmlns:a16="http://schemas.microsoft.com/office/drawing/2014/main" id="{9A5867D7-3747-4F74-80A8-1B5AF417EA49}"/>
              </a:ext>
            </a:extLst>
          </p:cNvPr>
          <p:cNvSpPr/>
          <p:nvPr/>
        </p:nvSpPr>
        <p:spPr>
          <a:xfrm>
            <a:off x="5222731" y="4115115"/>
            <a:ext cx="1620000" cy="702778"/>
          </a:xfrm>
          <a:prstGeom prst="roundRect">
            <a:avLst/>
          </a:prstGeom>
          <a:solidFill>
            <a:srgbClr val="20386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latin typeface="Arial" panose="020B0604020202020204" pitchFamily="34" charset="0"/>
                <a:cs typeface="Arial" panose="020B0604020202020204" pitchFamily="34" charset="0"/>
              </a:rPr>
              <a:t>Data release /</a:t>
            </a:r>
          </a:p>
          <a:p>
            <a:pPr algn="ctr"/>
            <a:r>
              <a:rPr lang="en-US" sz="1200">
                <a:latin typeface="Arial" panose="020B0604020202020204" pitchFamily="34" charset="0"/>
                <a:cs typeface="Arial" panose="020B0604020202020204" pitchFamily="34" charset="0"/>
              </a:rPr>
              <a:t>Lock trigger fields</a:t>
            </a:r>
          </a:p>
        </p:txBody>
      </p:sp>
      <p:sp>
        <p:nvSpPr>
          <p:cNvPr id="40" name="Rechteck: abgerundete Ecken 39">
            <a:extLst>
              <a:ext uri="{FF2B5EF4-FFF2-40B4-BE49-F238E27FC236}">
                <a16:creationId xmlns:a16="http://schemas.microsoft.com/office/drawing/2014/main" id="{1F9F01A8-FA07-42C7-AF3A-103F301FB65B}"/>
              </a:ext>
            </a:extLst>
          </p:cNvPr>
          <p:cNvSpPr/>
          <p:nvPr/>
        </p:nvSpPr>
        <p:spPr>
          <a:xfrm>
            <a:off x="5222731" y="2687416"/>
            <a:ext cx="1620000" cy="314633"/>
          </a:xfrm>
          <a:prstGeom prst="roundRect">
            <a:avLst/>
          </a:prstGeom>
          <a:solidFill>
            <a:srgbClr val="20386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a:latin typeface="Arial" panose="020B0604020202020204" pitchFamily="34" charset="0"/>
                <a:cs typeface="Arial" panose="020B0604020202020204" pitchFamily="34" charset="0"/>
              </a:rPr>
              <a:t>XML </a:t>
            </a:r>
            <a:r>
              <a:rPr lang="de-CH" sz="1200" err="1">
                <a:latin typeface="Arial" panose="020B0604020202020204" pitchFamily="34" charset="0"/>
                <a:cs typeface="Arial" panose="020B0604020202020204" pitchFamily="34" charset="0"/>
              </a:rPr>
              <a:t>export</a:t>
            </a:r>
            <a:endParaRPr lang="de-CH" sz="1200">
              <a:latin typeface="Arial" panose="020B0604020202020204" pitchFamily="34" charset="0"/>
              <a:cs typeface="Arial" panose="020B0604020202020204" pitchFamily="34" charset="0"/>
            </a:endParaRPr>
          </a:p>
        </p:txBody>
      </p:sp>
      <p:sp>
        <p:nvSpPr>
          <p:cNvPr id="41" name="Rechteck: abgerundete Ecken 40">
            <a:extLst>
              <a:ext uri="{FF2B5EF4-FFF2-40B4-BE49-F238E27FC236}">
                <a16:creationId xmlns:a16="http://schemas.microsoft.com/office/drawing/2014/main" id="{8E2A35B4-08DC-4C68-80B1-B6FA91906473}"/>
              </a:ext>
            </a:extLst>
          </p:cNvPr>
          <p:cNvSpPr/>
          <p:nvPr/>
        </p:nvSpPr>
        <p:spPr>
          <a:xfrm>
            <a:off x="3209824" y="4115115"/>
            <a:ext cx="1620000" cy="702778"/>
          </a:xfrm>
          <a:prstGeom prst="roundRect">
            <a:avLst/>
          </a:prstGeom>
          <a:solidFill>
            <a:srgbClr val="20386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a:latin typeface="Arial" panose="020B0604020202020204" pitchFamily="34" charset="0"/>
                <a:cs typeface="Arial" panose="020B0604020202020204" pitchFamily="34" charset="0"/>
              </a:rPr>
              <a:t>Integrity check</a:t>
            </a:r>
          </a:p>
          <a:p>
            <a:pPr algn="ctr"/>
            <a:r>
              <a:rPr lang="de-CH" sz="1200">
                <a:latin typeface="Arial" panose="020B0604020202020204" pitchFamily="34" charset="0"/>
                <a:cs typeface="Arial" panose="020B0604020202020204" pitchFamily="34" charset="0"/>
              </a:rPr>
              <a:t>Validation check</a:t>
            </a:r>
          </a:p>
        </p:txBody>
      </p:sp>
      <p:sp>
        <p:nvSpPr>
          <p:cNvPr id="43" name="Rechteck: abgerundete Ecken 42">
            <a:extLst>
              <a:ext uri="{FF2B5EF4-FFF2-40B4-BE49-F238E27FC236}">
                <a16:creationId xmlns:a16="http://schemas.microsoft.com/office/drawing/2014/main" id="{5B9B524D-B2AF-4C3A-9818-2DA5A726A8D0}"/>
              </a:ext>
            </a:extLst>
          </p:cNvPr>
          <p:cNvSpPr/>
          <p:nvPr/>
        </p:nvSpPr>
        <p:spPr>
          <a:xfrm>
            <a:off x="8531932" y="1949789"/>
            <a:ext cx="322128" cy="1761413"/>
          </a:xfrm>
          <a:prstGeom prst="round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CH" sz="1350" b="1"/>
              <a:t>E</a:t>
            </a:r>
          </a:p>
          <a:p>
            <a:r>
              <a:rPr lang="de-CH" sz="1350" b="1"/>
              <a:t>U</a:t>
            </a:r>
          </a:p>
          <a:p>
            <a:r>
              <a:rPr lang="de-CH" sz="1350" b="1"/>
              <a:t>D</a:t>
            </a:r>
          </a:p>
          <a:p>
            <a:r>
              <a:rPr lang="de-CH" sz="1350" b="1"/>
              <a:t>A</a:t>
            </a:r>
          </a:p>
          <a:p>
            <a:r>
              <a:rPr lang="de-CH" sz="1350" b="1"/>
              <a:t>M</a:t>
            </a:r>
          </a:p>
          <a:p>
            <a:r>
              <a:rPr lang="de-CH" sz="1350" b="1"/>
              <a:t>E</a:t>
            </a:r>
          </a:p>
          <a:p>
            <a:r>
              <a:rPr lang="de-CH" sz="1350" b="1"/>
              <a:t>D</a:t>
            </a:r>
          </a:p>
        </p:txBody>
      </p:sp>
      <p:sp>
        <p:nvSpPr>
          <p:cNvPr id="44" name="Rechteck: abgerundete Ecken 43">
            <a:extLst>
              <a:ext uri="{FF2B5EF4-FFF2-40B4-BE49-F238E27FC236}">
                <a16:creationId xmlns:a16="http://schemas.microsoft.com/office/drawing/2014/main" id="{87B16B71-40C1-4B47-96E8-5F15754C1997}"/>
              </a:ext>
            </a:extLst>
          </p:cNvPr>
          <p:cNvSpPr/>
          <p:nvPr/>
        </p:nvSpPr>
        <p:spPr>
          <a:xfrm>
            <a:off x="5221830" y="2249178"/>
            <a:ext cx="1620000" cy="314633"/>
          </a:xfrm>
          <a:prstGeom prst="roundRect">
            <a:avLst/>
          </a:prstGeom>
          <a:solidFill>
            <a:srgbClr val="20386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a:latin typeface="Arial" panose="020B0604020202020204" pitchFamily="34" charset="0"/>
                <a:cs typeface="Arial" panose="020B0604020202020204" pitchFamily="34" charset="0"/>
              </a:rPr>
              <a:t>Excel </a:t>
            </a:r>
            <a:r>
              <a:rPr lang="de-CH" sz="1200" err="1">
                <a:latin typeface="Arial" panose="020B0604020202020204" pitchFamily="34" charset="0"/>
                <a:cs typeface="Arial" panose="020B0604020202020204" pitchFamily="34" charset="0"/>
              </a:rPr>
              <a:t>export</a:t>
            </a:r>
            <a:endParaRPr lang="de-CH" sz="1200">
              <a:latin typeface="Arial" panose="020B0604020202020204" pitchFamily="34" charset="0"/>
              <a:cs typeface="Arial" panose="020B0604020202020204" pitchFamily="34" charset="0"/>
            </a:endParaRPr>
          </a:p>
        </p:txBody>
      </p:sp>
      <p:sp>
        <p:nvSpPr>
          <p:cNvPr id="45" name="Rechteck: abgerundete Ecken 44">
            <a:extLst>
              <a:ext uri="{FF2B5EF4-FFF2-40B4-BE49-F238E27FC236}">
                <a16:creationId xmlns:a16="http://schemas.microsoft.com/office/drawing/2014/main" id="{646486A8-D8A3-4FA5-875E-0F3F80A7D1A8}"/>
              </a:ext>
            </a:extLst>
          </p:cNvPr>
          <p:cNvSpPr/>
          <p:nvPr/>
        </p:nvSpPr>
        <p:spPr>
          <a:xfrm>
            <a:off x="5222731" y="3123064"/>
            <a:ext cx="1620000" cy="408087"/>
          </a:xfrm>
          <a:prstGeom prst="roundRect">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200">
              <a:latin typeface="Arial" panose="020B0604020202020204" pitchFamily="34" charset="0"/>
              <a:cs typeface="Arial" panose="020B0604020202020204" pitchFamily="34" charset="0"/>
            </a:endParaRPr>
          </a:p>
        </p:txBody>
      </p:sp>
      <p:sp>
        <p:nvSpPr>
          <p:cNvPr id="54" name="Rechteck: abgerundete Ecken 53">
            <a:extLst>
              <a:ext uri="{FF2B5EF4-FFF2-40B4-BE49-F238E27FC236}">
                <a16:creationId xmlns:a16="http://schemas.microsoft.com/office/drawing/2014/main" id="{C90BCC80-CC53-4FAB-90F5-99AED375928F}"/>
              </a:ext>
            </a:extLst>
          </p:cNvPr>
          <p:cNvSpPr/>
          <p:nvPr/>
        </p:nvSpPr>
        <p:spPr>
          <a:xfrm>
            <a:off x="374876" y="1139292"/>
            <a:ext cx="3298357" cy="415894"/>
          </a:xfrm>
          <a:prstGeom prst="roundRect">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solidFill>
                  <a:schemeClr val="bg1"/>
                </a:solidFill>
                <a:latin typeface="Arial" panose="020B0604020202020204" pitchFamily="34" charset="0"/>
                <a:cs typeface="Arial" panose="020B0604020202020204" pitchFamily="34" charset="0"/>
              </a:rPr>
              <a:t>UDI relevant </a:t>
            </a:r>
            <a:r>
              <a:rPr lang="de-DE" sz="1200" err="1">
                <a:solidFill>
                  <a:schemeClr val="bg1"/>
                </a:solidFill>
                <a:latin typeface="Arial" panose="020B0604020202020204" pitchFamily="34" charset="0"/>
                <a:cs typeface="Arial" panose="020B0604020202020204" pitchFamily="34" charset="0"/>
              </a:rPr>
              <a:t>marking</a:t>
            </a:r>
            <a:endParaRPr lang="de-DE" sz="1200">
              <a:solidFill>
                <a:schemeClr val="bg1"/>
              </a:solidFill>
              <a:latin typeface="Arial" panose="020B0604020202020204" pitchFamily="34" charset="0"/>
              <a:cs typeface="Arial" panose="020B0604020202020204" pitchFamily="34" charset="0"/>
            </a:endParaRPr>
          </a:p>
        </p:txBody>
      </p:sp>
      <p:cxnSp>
        <p:nvCxnSpPr>
          <p:cNvPr id="8" name="Gerade Verbindung mit Pfeil 7">
            <a:extLst>
              <a:ext uri="{FF2B5EF4-FFF2-40B4-BE49-F238E27FC236}">
                <a16:creationId xmlns:a16="http://schemas.microsoft.com/office/drawing/2014/main" id="{7F8FBB42-5E6F-494A-9FA9-D776E43B375D}"/>
              </a:ext>
            </a:extLst>
          </p:cNvPr>
          <p:cNvCxnSpPr>
            <a:cxnSpLocks/>
            <a:endCxn id="35" idx="0"/>
          </p:cNvCxnSpPr>
          <p:nvPr/>
        </p:nvCxnSpPr>
        <p:spPr>
          <a:xfrm>
            <a:off x="1184876" y="1555186"/>
            <a:ext cx="0" cy="274539"/>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0" name="Gerade Verbindung mit Pfeil 9">
            <a:extLst>
              <a:ext uri="{FF2B5EF4-FFF2-40B4-BE49-F238E27FC236}">
                <a16:creationId xmlns:a16="http://schemas.microsoft.com/office/drawing/2014/main" id="{3079ADE2-81AA-4647-AA7F-C4E7527E5280}"/>
              </a:ext>
            </a:extLst>
          </p:cNvPr>
          <p:cNvCxnSpPr>
            <a:cxnSpLocks/>
            <a:endCxn id="36" idx="0"/>
          </p:cNvCxnSpPr>
          <p:nvPr/>
        </p:nvCxnSpPr>
        <p:spPr>
          <a:xfrm>
            <a:off x="2863233" y="1550979"/>
            <a:ext cx="0" cy="28716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69" name="Gerade Verbindung mit Pfeil 68">
            <a:extLst>
              <a:ext uri="{FF2B5EF4-FFF2-40B4-BE49-F238E27FC236}">
                <a16:creationId xmlns:a16="http://schemas.microsoft.com/office/drawing/2014/main" id="{1B16878B-8423-441F-856F-52AE4DCDB29D}"/>
              </a:ext>
            </a:extLst>
          </p:cNvPr>
          <p:cNvCxnSpPr>
            <a:cxnSpLocks/>
          </p:cNvCxnSpPr>
          <p:nvPr/>
        </p:nvCxnSpPr>
        <p:spPr>
          <a:xfrm>
            <a:off x="1548144" y="2606501"/>
            <a:ext cx="0" cy="266124"/>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1" name="Gerade Verbindung mit Pfeil 70">
            <a:extLst>
              <a:ext uri="{FF2B5EF4-FFF2-40B4-BE49-F238E27FC236}">
                <a16:creationId xmlns:a16="http://schemas.microsoft.com/office/drawing/2014/main" id="{EB808EBE-B377-40AD-94B2-C1CD1E859C23}"/>
              </a:ext>
            </a:extLst>
          </p:cNvPr>
          <p:cNvCxnSpPr/>
          <p:nvPr/>
        </p:nvCxnSpPr>
        <p:spPr>
          <a:xfrm>
            <a:off x="2534971" y="2636056"/>
            <a:ext cx="0" cy="244984"/>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5" name="Gerade Verbindung mit Pfeil 74">
            <a:extLst>
              <a:ext uri="{FF2B5EF4-FFF2-40B4-BE49-F238E27FC236}">
                <a16:creationId xmlns:a16="http://schemas.microsoft.com/office/drawing/2014/main" id="{71D0F3A7-5FF8-4078-9F7D-F8BB0FEDE112}"/>
              </a:ext>
            </a:extLst>
          </p:cNvPr>
          <p:cNvCxnSpPr>
            <a:cxnSpLocks/>
            <a:stCxn id="37" idx="3"/>
            <a:endCxn id="38" idx="1"/>
          </p:cNvCxnSpPr>
          <p:nvPr/>
        </p:nvCxnSpPr>
        <p:spPr>
          <a:xfrm>
            <a:off x="2838206" y="3318604"/>
            <a:ext cx="371619"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7" name="Gerade Verbindung mit Pfeil 76">
            <a:extLst>
              <a:ext uri="{FF2B5EF4-FFF2-40B4-BE49-F238E27FC236}">
                <a16:creationId xmlns:a16="http://schemas.microsoft.com/office/drawing/2014/main" id="{3EA88A85-494A-4551-8527-12C496D561A3}"/>
              </a:ext>
            </a:extLst>
          </p:cNvPr>
          <p:cNvCxnSpPr>
            <a:cxnSpLocks/>
            <a:stCxn id="38" idx="2"/>
            <a:endCxn id="41" idx="0"/>
          </p:cNvCxnSpPr>
          <p:nvPr/>
        </p:nvCxnSpPr>
        <p:spPr>
          <a:xfrm flipH="1">
            <a:off x="4019824" y="3756168"/>
            <a:ext cx="1" cy="35894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9" name="Gerade Verbindung mit Pfeil 78">
            <a:extLst>
              <a:ext uri="{FF2B5EF4-FFF2-40B4-BE49-F238E27FC236}">
                <a16:creationId xmlns:a16="http://schemas.microsoft.com/office/drawing/2014/main" id="{EE89B85E-1B80-4056-9B33-499490C7AC53}"/>
              </a:ext>
            </a:extLst>
          </p:cNvPr>
          <p:cNvCxnSpPr>
            <a:cxnSpLocks/>
            <a:stCxn id="41" idx="3"/>
            <a:endCxn id="39" idx="1"/>
          </p:cNvCxnSpPr>
          <p:nvPr/>
        </p:nvCxnSpPr>
        <p:spPr>
          <a:xfrm>
            <a:off x="4829824" y="4466504"/>
            <a:ext cx="392907"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81" name="Gerade Verbindung mit Pfeil 80">
            <a:extLst>
              <a:ext uri="{FF2B5EF4-FFF2-40B4-BE49-F238E27FC236}">
                <a16:creationId xmlns:a16="http://schemas.microsoft.com/office/drawing/2014/main" id="{BD62FE4F-238A-4316-8DF4-8E2F26C7E1ED}"/>
              </a:ext>
            </a:extLst>
          </p:cNvPr>
          <p:cNvCxnSpPr>
            <a:cxnSpLocks/>
            <a:stCxn id="39" idx="0"/>
          </p:cNvCxnSpPr>
          <p:nvPr/>
        </p:nvCxnSpPr>
        <p:spPr>
          <a:xfrm flipH="1" flipV="1">
            <a:off x="6024969" y="3763728"/>
            <a:ext cx="7762" cy="35138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86" name="Textfeld 85">
            <a:extLst>
              <a:ext uri="{FF2B5EF4-FFF2-40B4-BE49-F238E27FC236}">
                <a16:creationId xmlns:a16="http://schemas.microsoft.com/office/drawing/2014/main" id="{BE02670F-8114-4463-936A-9D2672146D41}"/>
              </a:ext>
            </a:extLst>
          </p:cNvPr>
          <p:cNvSpPr txBox="1"/>
          <p:nvPr/>
        </p:nvSpPr>
        <p:spPr>
          <a:xfrm>
            <a:off x="5187330" y="3113616"/>
            <a:ext cx="1729449" cy="646331"/>
          </a:xfrm>
          <a:prstGeom prst="rect">
            <a:avLst/>
          </a:prstGeom>
          <a:noFill/>
          <a:ln>
            <a:noFill/>
          </a:ln>
        </p:spPr>
        <p:txBody>
          <a:bodyPr wrap="square" rtlCol="0">
            <a:spAutoFit/>
          </a:bodyPr>
          <a:lstStyle/>
          <a:p>
            <a:pPr algn="ctr"/>
            <a:r>
              <a:rPr lang="en-US" sz="1200" b="1">
                <a:solidFill>
                  <a:schemeClr val="bg1"/>
                </a:solidFill>
                <a:latin typeface="Arial" panose="020B0604020202020204" pitchFamily="34" charset="0"/>
                <a:cs typeface="Arial" panose="020B0604020202020204" pitchFamily="34" charset="0"/>
              </a:rPr>
              <a:t>Europe IT Consulting Web Service</a:t>
            </a:r>
          </a:p>
          <a:p>
            <a:pPr algn="ctr"/>
            <a:endParaRPr lang="en-US" sz="1200" b="1">
              <a:solidFill>
                <a:schemeClr val="bg1"/>
              </a:solidFill>
              <a:latin typeface="Arial" panose="020B0604020202020204" pitchFamily="34" charset="0"/>
              <a:cs typeface="Arial" panose="020B0604020202020204" pitchFamily="34" charset="0"/>
            </a:endParaRPr>
          </a:p>
        </p:txBody>
      </p:sp>
      <p:cxnSp>
        <p:nvCxnSpPr>
          <p:cNvPr id="104" name="Gerade Verbindung mit Pfeil 103">
            <a:extLst>
              <a:ext uri="{FF2B5EF4-FFF2-40B4-BE49-F238E27FC236}">
                <a16:creationId xmlns:a16="http://schemas.microsoft.com/office/drawing/2014/main" id="{98A2D59C-096A-46B5-8EBF-CAAECD1A9BCB}"/>
              </a:ext>
            </a:extLst>
          </p:cNvPr>
          <p:cNvCxnSpPr>
            <a:cxnSpLocks/>
            <a:stCxn id="40" idx="3"/>
            <a:endCxn id="43" idx="1"/>
          </p:cNvCxnSpPr>
          <p:nvPr/>
        </p:nvCxnSpPr>
        <p:spPr>
          <a:xfrm flipV="1">
            <a:off x="6842731" y="2830496"/>
            <a:ext cx="1689201" cy="1423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06" name="Verbinder: gewinkelt 105">
            <a:extLst>
              <a:ext uri="{FF2B5EF4-FFF2-40B4-BE49-F238E27FC236}">
                <a16:creationId xmlns:a16="http://schemas.microsoft.com/office/drawing/2014/main" id="{7F8C2BBE-4ED8-4524-9F9D-68F561918F36}"/>
              </a:ext>
            </a:extLst>
          </p:cNvPr>
          <p:cNvCxnSpPr>
            <a:cxnSpLocks/>
            <a:stCxn id="44" idx="3"/>
          </p:cNvCxnSpPr>
          <p:nvPr/>
        </p:nvCxnSpPr>
        <p:spPr>
          <a:xfrm flipV="1">
            <a:off x="6841830" y="2133831"/>
            <a:ext cx="1690102" cy="272664"/>
          </a:xfrm>
          <a:prstGeom prst="bentConnector3">
            <a:avLst>
              <a:gd name="adj1" fmla="val 19466"/>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08" name="Verbinder: gewinkelt 107">
            <a:extLst>
              <a:ext uri="{FF2B5EF4-FFF2-40B4-BE49-F238E27FC236}">
                <a16:creationId xmlns:a16="http://schemas.microsoft.com/office/drawing/2014/main" id="{ADDCFB2A-B92B-402C-8E9F-2C24F61DFD77}"/>
              </a:ext>
            </a:extLst>
          </p:cNvPr>
          <p:cNvCxnSpPr>
            <a:cxnSpLocks/>
          </p:cNvCxnSpPr>
          <p:nvPr/>
        </p:nvCxnSpPr>
        <p:spPr>
          <a:xfrm>
            <a:off x="6841830" y="3318604"/>
            <a:ext cx="1660625" cy="177230"/>
          </a:xfrm>
          <a:prstGeom prst="bentConnector3">
            <a:avLst>
              <a:gd name="adj1" fmla="val 21105"/>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53" name="Rechteck: abgerundete Ecken 52">
            <a:extLst>
              <a:ext uri="{FF2B5EF4-FFF2-40B4-BE49-F238E27FC236}">
                <a16:creationId xmlns:a16="http://schemas.microsoft.com/office/drawing/2014/main" id="{DC1BB485-83A3-4556-8949-E18D80FCAA63}"/>
              </a:ext>
            </a:extLst>
          </p:cNvPr>
          <p:cNvSpPr/>
          <p:nvPr/>
        </p:nvSpPr>
        <p:spPr>
          <a:xfrm>
            <a:off x="7385220" y="1940928"/>
            <a:ext cx="784325" cy="484748"/>
          </a:xfrm>
          <a:prstGeom prst="roundRect">
            <a:avLst/>
          </a:prstGeom>
          <a:solidFill>
            <a:srgbClr val="20386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a:t>3rd Party</a:t>
            </a:r>
          </a:p>
        </p:txBody>
      </p:sp>
      <p:sp>
        <p:nvSpPr>
          <p:cNvPr id="46" name="Rechteck: abgerundete Ecken 45">
            <a:extLst>
              <a:ext uri="{FF2B5EF4-FFF2-40B4-BE49-F238E27FC236}">
                <a16:creationId xmlns:a16="http://schemas.microsoft.com/office/drawing/2014/main" id="{55F6C6E1-DD30-43DE-BD84-8F53864D115C}"/>
              </a:ext>
            </a:extLst>
          </p:cNvPr>
          <p:cNvSpPr/>
          <p:nvPr/>
        </p:nvSpPr>
        <p:spPr>
          <a:xfrm>
            <a:off x="7377363" y="3253460"/>
            <a:ext cx="821903" cy="484748"/>
          </a:xfrm>
          <a:prstGeom prst="roundRect">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b="1" err="1"/>
              <a:t>WebService</a:t>
            </a:r>
            <a:endParaRPr lang="de-DE" sz="800" b="1"/>
          </a:p>
          <a:p>
            <a:pPr algn="ctr"/>
            <a:r>
              <a:rPr lang="de-DE" sz="800" b="1"/>
              <a:t>(SSL</a:t>
            </a:r>
            <a:r>
              <a:rPr lang="de-DE" sz="900" b="1"/>
              <a:t>)</a:t>
            </a:r>
          </a:p>
        </p:txBody>
      </p:sp>
      <p:sp>
        <p:nvSpPr>
          <p:cNvPr id="48" name="Rechteck: abgerundete Ecken 47">
            <a:extLst>
              <a:ext uri="{FF2B5EF4-FFF2-40B4-BE49-F238E27FC236}">
                <a16:creationId xmlns:a16="http://schemas.microsoft.com/office/drawing/2014/main" id="{E166C7F1-E948-4DCE-95F4-24D33AEBBFBE}"/>
              </a:ext>
            </a:extLst>
          </p:cNvPr>
          <p:cNvSpPr/>
          <p:nvPr/>
        </p:nvSpPr>
        <p:spPr>
          <a:xfrm>
            <a:off x="7388977" y="2597194"/>
            <a:ext cx="784325" cy="484748"/>
          </a:xfrm>
          <a:prstGeom prst="roundRect">
            <a:avLst/>
          </a:prstGeom>
          <a:solidFill>
            <a:srgbClr val="20386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err="1"/>
              <a:t>WebTrader</a:t>
            </a:r>
            <a:endParaRPr lang="de-DE" sz="800"/>
          </a:p>
        </p:txBody>
      </p:sp>
    </p:spTree>
    <p:extLst>
      <p:ext uri="{BB962C8B-B14F-4D97-AF65-F5344CB8AC3E}">
        <p14:creationId xmlns:p14="http://schemas.microsoft.com/office/powerpoint/2010/main" val="209214685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3F5B10F8-B8B0-4E94-A54E-C677DF7FDB05}"/>
              </a:ext>
            </a:extLst>
          </p:cNvPr>
          <p:cNvPicPr>
            <a:picLocks noChangeAspect="1"/>
          </p:cNvPicPr>
          <p:nvPr/>
        </p:nvPicPr>
        <p:blipFill>
          <a:blip r:embed="rId2"/>
          <a:stretch>
            <a:fillRect/>
          </a:stretch>
        </p:blipFill>
        <p:spPr>
          <a:xfrm>
            <a:off x="3511277" y="635323"/>
            <a:ext cx="5308873" cy="4083260"/>
          </a:xfrm>
          <a:prstGeom prst="rect">
            <a:avLst/>
          </a:prstGeom>
          <a:ln w="19050">
            <a:solidFill>
              <a:srgbClr val="2F5597"/>
            </a:solidFill>
          </a:ln>
          <a:effectLst/>
        </p:spPr>
      </p:pic>
      <p:sp>
        <p:nvSpPr>
          <p:cNvPr id="14" name="Textplatzhalter 5">
            <a:extLst>
              <a:ext uri="{FF2B5EF4-FFF2-40B4-BE49-F238E27FC236}">
                <a16:creationId xmlns:a16="http://schemas.microsoft.com/office/drawing/2014/main" id="{36915E40-EA46-477B-8522-263023964501}"/>
              </a:ext>
            </a:extLst>
          </p:cNvPr>
          <p:cNvSpPr>
            <a:spLocks noGrp="1"/>
          </p:cNvSpPr>
          <p:nvPr>
            <p:ph type="body" sz="quarter" idx="18"/>
          </p:nvPr>
        </p:nvSpPr>
        <p:spPr>
          <a:xfrm>
            <a:off x="219267" y="794161"/>
            <a:ext cx="8600883" cy="330544"/>
          </a:xfrm>
        </p:spPr>
        <p:txBody>
          <a:bodyPr>
            <a:normAutofit/>
          </a:bodyPr>
          <a:lstStyle/>
          <a:p>
            <a:r>
              <a:rPr lang="de-DE"/>
              <a:t>2.10 EITC Web Service</a:t>
            </a:r>
            <a:endParaRPr lang="en-US"/>
          </a:p>
          <a:p>
            <a:endParaRPr lang="de-DE"/>
          </a:p>
          <a:p>
            <a:endParaRPr lang="de-DE"/>
          </a:p>
        </p:txBody>
      </p:sp>
      <p:sp>
        <p:nvSpPr>
          <p:cNvPr id="15" name="Titel 2">
            <a:extLst>
              <a:ext uri="{FF2B5EF4-FFF2-40B4-BE49-F238E27FC236}">
                <a16:creationId xmlns:a16="http://schemas.microsoft.com/office/drawing/2014/main" id="{D5856704-B36F-4714-BEA2-D26C5802B693}"/>
              </a:ext>
            </a:extLst>
          </p:cNvPr>
          <p:cNvSpPr>
            <a:spLocks noGrp="1"/>
          </p:cNvSpPr>
          <p:nvPr>
            <p:ph type="title"/>
          </p:nvPr>
        </p:nvSpPr>
        <p:spPr>
          <a:xfrm>
            <a:off x="269393" y="78770"/>
            <a:ext cx="7907189" cy="330545"/>
          </a:xfrm>
        </p:spPr>
        <p:txBody>
          <a:bodyPr>
            <a:normAutofit fontScale="90000"/>
          </a:bodyPr>
          <a:lstStyle/>
          <a:p>
            <a:r>
              <a:rPr lang="de-DE"/>
              <a:t>2. </a:t>
            </a:r>
            <a:r>
              <a:rPr lang="en-US"/>
              <a:t>W</a:t>
            </a:r>
            <a:r>
              <a:rPr lang="en-US" sz="1800" b="1"/>
              <a:t>ork processes from the database to data transmission </a:t>
            </a:r>
            <a:endParaRPr lang="de-DE"/>
          </a:p>
        </p:txBody>
      </p:sp>
      <p:sp>
        <p:nvSpPr>
          <p:cNvPr id="19" name="Rechteck 18">
            <a:extLst>
              <a:ext uri="{FF2B5EF4-FFF2-40B4-BE49-F238E27FC236}">
                <a16:creationId xmlns:a16="http://schemas.microsoft.com/office/drawing/2014/main" id="{F3A4EE3E-3685-4698-AEB2-63A87360DF91}"/>
              </a:ext>
            </a:extLst>
          </p:cNvPr>
          <p:cNvSpPr/>
          <p:nvPr/>
        </p:nvSpPr>
        <p:spPr>
          <a:xfrm>
            <a:off x="5517559" y="1250352"/>
            <a:ext cx="946114" cy="151769"/>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0" name="Rechteck 19">
            <a:extLst>
              <a:ext uri="{FF2B5EF4-FFF2-40B4-BE49-F238E27FC236}">
                <a16:creationId xmlns:a16="http://schemas.microsoft.com/office/drawing/2014/main" id="{4C28A8D8-0D36-4001-8895-E5E6EE701754}"/>
              </a:ext>
            </a:extLst>
          </p:cNvPr>
          <p:cNvSpPr/>
          <p:nvPr/>
        </p:nvSpPr>
        <p:spPr>
          <a:xfrm>
            <a:off x="3546417" y="1513031"/>
            <a:ext cx="1916077" cy="930383"/>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1" name="Rechteck 20">
            <a:extLst>
              <a:ext uri="{FF2B5EF4-FFF2-40B4-BE49-F238E27FC236}">
                <a16:creationId xmlns:a16="http://schemas.microsoft.com/office/drawing/2014/main" id="{68FC3A2E-2ED8-48D0-BA9B-01E972C76214}"/>
              </a:ext>
            </a:extLst>
          </p:cNvPr>
          <p:cNvSpPr/>
          <p:nvPr/>
        </p:nvSpPr>
        <p:spPr>
          <a:xfrm>
            <a:off x="3546416" y="2510118"/>
            <a:ext cx="3643277" cy="2109694"/>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0" name="Ellipse 9">
            <a:extLst>
              <a:ext uri="{FF2B5EF4-FFF2-40B4-BE49-F238E27FC236}">
                <a16:creationId xmlns:a16="http://schemas.microsoft.com/office/drawing/2014/main" id="{4794B1DF-3901-4965-87B4-E0D9465C43B4}"/>
              </a:ext>
            </a:extLst>
          </p:cNvPr>
          <p:cNvSpPr/>
          <p:nvPr/>
        </p:nvSpPr>
        <p:spPr>
          <a:xfrm>
            <a:off x="6541376" y="1195828"/>
            <a:ext cx="196616" cy="193134"/>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t>1</a:t>
            </a:r>
            <a:endParaRPr lang="en-US"/>
          </a:p>
        </p:txBody>
      </p:sp>
      <p:sp>
        <p:nvSpPr>
          <p:cNvPr id="11" name="Ellipse 10">
            <a:extLst>
              <a:ext uri="{FF2B5EF4-FFF2-40B4-BE49-F238E27FC236}">
                <a16:creationId xmlns:a16="http://schemas.microsoft.com/office/drawing/2014/main" id="{03642EBD-47BC-49BD-90C8-10EAD4A2C93E}"/>
              </a:ext>
            </a:extLst>
          </p:cNvPr>
          <p:cNvSpPr/>
          <p:nvPr/>
        </p:nvSpPr>
        <p:spPr>
          <a:xfrm>
            <a:off x="7246791" y="3137268"/>
            <a:ext cx="196616" cy="193134"/>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t>3</a:t>
            </a:r>
            <a:endParaRPr lang="en-US"/>
          </a:p>
        </p:txBody>
      </p:sp>
      <p:sp>
        <p:nvSpPr>
          <p:cNvPr id="12" name="Ellipse 11">
            <a:extLst>
              <a:ext uri="{FF2B5EF4-FFF2-40B4-BE49-F238E27FC236}">
                <a16:creationId xmlns:a16="http://schemas.microsoft.com/office/drawing/2014/main" id="{5E380A8B-C845-4236-95EE-9472A414EA3F}"/>
              </a:ext>
            </a:extLst>
          </p:cNvPr>
          <p:cNvSpPr/>
          <p:nvPr/>
        </p:nvSpPr>
        <p:spPr>
          <a:xfrm>
            <a:off x="5563455" y="1815828"/>
            <a:ext cx="196616" cy="193134"/>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t>2</a:t>
            </a:r>
            <a:endParaRPr lang="en-US"/>
          </a:p>
        </p:txBody>
      </p:sp>
      <p:pic>
        <p:nvPicPr>
          <p:cNvPr id="17" name="Grafik 16">
            <a:extLst>
              <a:ext uri="{FF2B5EF4-FFF2-40B4-BE49-F238E27FC236}">
                <a16:creationId xmlns:a16="http://schemas.microsoft.com/office/drawing/2014/main" id="{FA40DEDD-AFB5-4817-AD91-F568574C48D6}"/>
              </a:ext>
            </a:extLst>
          </p:cNvPr>
          <p:cNvPicPr>
            <a:picLocks noChangeAspect="1"/>
          </p:cNvPicPr>
          <p:nvPr/>
        </p:nvPicPr>
        <p:blipFill>
          <a:blip r:embed="rId3"/>
          <a:stretch>
            <a:fillRect/>
          </a:stretch>
        </p:blipFill>
        <p:spPr>
          <a:xfrm>
            <a:off x="219267" y="1567543"/>
            <a:ext cx="3136604" cy="1109410"/>
          </a:xfrm>
          <a:prstGeom prst="rect">
            <a:avLst/>
          </a:prstGeom>
          <a:ln w="19050">
            <a:solidFill>
              <a:srgbClr val="2F5597"/>
            </a:solidFill>
          </a:ln>
          <a:effectLst/>
        </p:spPr>
      </p:pic>
      <p:sp>
        <p:nvSpPr>
          <p:cNvPr id="4" name="Textfeld 3">
            <a:extLst>
              <a:ext uri="{FF2B5EF4-FFF2-40B4-BE49-F238E27FC236}">
                <a16:creationId xmlns:a16="http://schemas.microsoft.com/office/drawing/2014/main" id="{E9954FDD-5B03-4DB9-B89E-D5908C258231}"/>
              </a:ext>
            </a:extLst>
          </p:cNvPr>
          <p:cNvSpPr txBox="1"/>
          <p:nvPr/>
        </p:nvSpPr>
        <p:spPr>
          <a:xfrm>
            <a:off x="199727" y="1041910"/>
            <a:ext cx="2876461" cy="400110"/>
          </a:xfrm>
          <a:prstGeom prst="rect">
            <a:avLst/>
          </a:prstGeom>
          <a:noFill/>
        </p:spPr>
        <p:txBody>
          <a:bodyPr wrap="square" rtlCol="0">
            <a:spAutoFit/>
          </a:bodyPr>
          <a:lstStyle/>
          <a:p>
            <a:r>
              <a:rPr lang="en-US" sz="1000" b="1">
                <a:solidFill>
                  <a:srgbClr val="FF0000"/>
                </a:solidFill>
                <a:latin typeface="Arial" panose="020B0604020202020204" pitchFamily="34" charset="0"/>
                <a:cs typeface="Arial" panose="020B0604020202020204" pitchFamily="34" charset="0"/>
              </a:rPr>
              <a:t>Web Service Transfer is still not released and functional.</a:t>
            </a:r>
            <a:endParaRPr lang="en-GB" sz="1000" b="1">
              <a:solidFill>
                <a:srgbClr val="FF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720981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10" grpId="0" animBg="1"/>
      <p:bldP spid="11" grpId="0" animBg="1"/>
      <p:bldP spid="12" grpId="0"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fik 9">
            <a:extLst>
              <a:ext uri="{FF2B5EF4-FFF2-40B4-BE49-F238E27FC236}">
                <a16:creationId xmlns:a16="http://schemas.microsoft.com/office/drawing/2014/main" id="{C3F44269-5CA9-44D9-BD8D-2C21A497D1E3}"/>
              </a:ext>
            </a:extLst>
          </p:cNvPr>
          <p:cNvPicPr>
            <a:picLocks noChangeAspect="1"/>
          </p:cNvPicPr>
          <p:nvPr/>
        </p:nvPicPr>
        <p:blipFill>
          <a:blip r:embed="rId2"/>
          <a:stretch>
            <a:fillRect/>
          </a:stretch>
        </p:blipFill>
        <p:spPr>
          <a:xfrm>
            <a:off x="3242926" y="695088"/>
            <a:ext cx="5308873" cy="4083260"/>
          </a:xfrm>
          <a:prstGeom prst="rect">
            <a:avLst/>
          </a:prstGeom>
          <a:ln w="19050">
            <a:solidFill>
              <a:srgbClr val="2F5597"/>
            </a:solidFill>
          </a:ln>
          <a:effectLst/>
        </p:spPr>
      </p:pic>
      <p:sp>
        <p:nvSpPr>
          <p:cNvPr id="15" name="Textplatzhalter 5">
            <a:extLst>
              <a:ext uri="{FF2B5EF4-FFF2-40B4-BE49-F238E27FC236}">
                <a16:creationId xmlns:a16="http://schemas.microsoft.com/office/drawing/2014/main" id="{E4CEB371-9A1C-4F6A-AEDB-34DFE231AA01}"/>
              </a:ext>
            </a:extLst>
          </p:cNvPr>
          <p:cNvSpPr>
            <a:spLocks noGrp="1"/>
          </p:cNvSpPr>
          <p:nvPr>
            <p:ph type="body" sz="quarter" idx="18"/>
          </p:nvPr>
        </p:nvSpPr>
        <p:spPr>
          <a:xfrm>
            <a:off x="219267" y="794161"/>
            <a:ext cx="8600883" cy="330544"/>
          </a:xfrm>
        </p:spPr>
        <p:txBody>
          <a:bodyPr>
            <a:normAutofit/>
          </a:bodyPr>
          <a:lstStyle/>
          <a:p>
            <a:r>
              <a:rPr lang="de-DE"/>
              <a:t>2.10 EITC Web Service</a:t>
            </a:r>
            <a:endParaRPr lang="en-US"/>
          </a:p>
          <a:p>
            <a:endParaRPr lang="de-DE"/>
          </a:p>
          <a:p>
            <a:endParaRPr lang="de-DE"/>
          </a:p>
        </p:txBody>
      </p:sp>
      <p:sp>
        <p:nvSpPr>
          <p:cNvPr id="16" name="Titel 2">
            <a:extLst>
              <a:ext uri="{FF2B5EF4-FFF2-40B4-BE49-F238E27FC236}">
                <a16:creationId xmlns:a16="http://schemas.microsoft.com/office/drawing/2014/main" id="{554016AE-BCE9-4790-8983-F91A21C836B0}"/>
              </a:ext>
            </a:extLst>
          </p:cNvPr>
          <p:cNvSpPr>
            <a:spLocks noGrp="1"/>
          </p:cNvSpPr>
          <p:nvPr>
            <p:ph type="title"/>
          </p:nvPr>
        </p:nvSpPr>
        <p:spPr>
          <a:xfrm>
            <a:off x="269393" y="78770"/>
            <a:ext cx="7907189" cy="330545"/>
          </a:xfrm>
        </p:spPr>
        <p:txBody>
          <a:bodyPr>
            <a:normAutofit fontScale="90000"/>
          </a:bodyPr>
          <a:lstStyle/>
          <a:p>
            <a:r>
              <a:rPr lang="de-DE"/>
              <a:t>2. </a:t>
            </a:r>
            <a:r>
              <a:rPr lang="en-US"/>
              <a:t>W</a:t>
            </a:r>
            <a:r>
              <a:rPr lang="en-US" sz="1800" b="1"/>
              <a:t>ork processes from the database to data transmission </a:t>
            </a:r>
            <a:endParaRPr lang="de-DE"/>
          </a:p>
        </p:txBody>
      </p:sp>
      <p:sp>
        <p:nvSpPr>
          <p:cNvPr id="18" name="Rechteck 17">
            <a:extLst>
              <a:ext uri="{FF2B5EF4-FFF2-40B4-BE49-F238E27FC236}">
                <a16:creationId xmlns:a16="http://schemas.microsoft.com/office/drawing/2014/main" id="{92D2B0A5-D21B-44F8-950C-5EE61FBCB909}"/>
              </a:ext>
            </a:extLst>
          </p:cNvPr>
          <p:cNvSpPr/>
          <p:nvPr/>
        </p:nvSpPr>
        <p:spPr>
          <a:xfrm>
            <a:off x="3280208" y="928877"/>
            <a:ext cx="166141" cy="147554"/>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9" name="Ellipse 8">
            <a:extLst>
              <a:ext uri="{FF2B5EF4-FFF2-40B4-BE49-F238E27FC236}">
                <a16:creationId xmlns:a16="http://schemas.microsoft.com/office/drawing/2014/main" id="{7863C5E6-6444-49B0-A98D-E83734695839}"/>
              </a:ext>
            </a:extLst>
          </p:cNvPr>
          <p:cNvSpPr/>
          <p:nvPr/>
        </p:nvSpPr>
        <p:spPr>
          <a:xfrm>
            <a:off x="3616340" y="906087"/>
            <a:ext cx="196616" cy="193134"/>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t>4</a:t>
            </a:r>
            <a:endParaRPr lang="en-US"/>
          </a:p>
        </p:txBody>
      </p:sp>
      <p:grpSp>
        <p:nvGrpSpPr>
          <p:cNvPr id="2" name="Gruppieren 1">
            <a:extLst>
              <a:ext uri="{FF2B5EF4-FFF2-40B4-BE49-F238E27FC236}">
                <a16:creationId xmlns:a16="http://schemas.microsoft.com/office/drawing/2014/main" id="{7B0CA601-927C-4FC8-9D80-CF2CA15A356F}"/>
              </a:ext>
            </a:extLst>
          </p:cNvPr>
          <p:cNvGrpSpPr/>
          <p:nvPr/>
        </p:nvGrpSpPr>
        <p:grpSpPr>
          <a:xfrm>
            <a:off x="2695185" y="2279132"/>
            <a:ext cx="3454604" cy="1126982"/>
            <a:chOff x="2695185" y="2279132"/>
            <a:chExt cx="3454604" cy="1126982"/>
          </a:xfrm>
        </p:grpSpPr>
        <p:pic>
          <p:nvPicPr>
            <p:cNvPr id="19" name="Grafik 18">
              <a:extLst>
                <a:ext uri="{FF2B5EF4-FFF2-40B4-BE49-F238E27FC236}">
                  <a16:creationId xmlns:a16="http://schemas.microsoft.com/office/drawing/2014/main" id="{F9A98996-DF80-4200-9EC1-705C348B47B6}"/>
                </a:ext>
              </a:extLst>
            </p:cNvPr>
            <p:cNvPicPr>
              <a:picLocks noChangeAspect="1"/>
            </p:cNvPicPr>
            <p:nvPr/>
          </p:nvPicPr>
          <p:blipFill>
            <a:blip r:embed="rId3"/>
            <a:stretch>
              <a:fillRect/>
            </a:stretch>
          </p:blipFill>
          <p:spPr>
            <a:xfrm>
              <a:off x="2695185" y="2279132"/>
              <a:ext cx="3454604" cy="1126982"/>
            </a:xfrm>
            <a:prstGeom prst="rect">
              <a:avLst/>
            </a:prstGeom>
            <a:ln w="19050">
              <a:solidFill>
                <a:srgbClr val="2F5597"/>
              </a:solidFill>
            </a:ln>
            <a:effectLst/>
          </p:spPr>
        </p:pic>
        <p:sp>
          <p:nvSpPr>
            <p:cNvPr id="20" name="Rechteck 19">
              <a:extLst>
                <a:ext uri="{FF2B5EF4-FFF2-40B4-BE49-F238E27FC236}">
                  <a16:creationId xmlns:a16="http://schemas.microsoft.com/office/drawing/2014/main" id="{CA4356EA-D0F3-4734-8919-6D4BA4699E51}"/>
                </a:ext>
              </a:extLst>
            </p:cNvPr>
            <p:cNvSpPr/>
            <p:nvPr/>
          </p:nvSpPr>
          <p:spPr>
            <a:xfrm>
              <a:off x="2985906" y="3179482"/>
              <a:ext cx="754743" cy="14744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1" name="Ellipse 10">
              <a:extLst>
                <a:ext uri="{FF2B5EF4-FFF2-40B4-BE49-F238E27FC236}">
                  <a16:creationId xmlns:a16="http://schemas.microsoft.com/office/drawing/2014/main" id="{9768C9E1-6C7C-4776-968C-043CD5851B4A}"/>
                </a:ext>
              </a:extLst>
            </p:cNvPr>
            <p:cNvSpPr/>
            <p:nvPr/>
          </p:nvSpPr>
          <p:spPr>
            <a:xfrm>
              <a:off x="3556508" y="2906712"/>
              <a:ext cx="196616" cy="193134"/>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t>5</a:t>
              </a:r>
              <a:endParaRPr lang="en-US"/>
            </a:p>
          </p:txBody>
        </p:sp>
      </p:grpSp>
      <p:pic>
        <p:nvPicPr>
          <p:cNvPr id="21" name="Grafik 20">
            <a:extLst>
              <a:ext uri="{FF2B5EF4-FFF2-40B4-BE49-F238E27FC236}">
                <a16:creationId xmlns:a16="http://schemas.microsoft.com/office/drawing/2014/main" id="{B6E35AD9-8D14-40FB-B3A8-F2F6D8D671FB}"/>
              </a:ext>
            </a:extLst>
          </p:cNvPr>
          <p:cNvPicPr>
            <a:picLocks noChangeAspect="1"/>
          </p:cNvPicPr>
          <p:nvPr/>
        </p:nvPicPr>
        <p:blipFill>
          <a:blip r:embed="rId4"/>
          <a:stretch>
            <a:fillRect/>
          </a:stretch>
        </p:blipFill>
        <p:spPr>
          <a:xfrm>
            <a:off x="1785425" y="1678364"/>
            <a:ext cx="4875124" cy="2456695"/>
          </a:xfrm>
          <a:prstGeom prst="rect">
            <a:avLst/>
          </a:prstGeom>
          <a:ln w="19050">
            <a:solidFill>
              <a:srgbClr val="2F5597"/>
            </a:solidFill>
          </a:ln>
          <a:effectLst/>
        </p:spPr>
      </p:pic>
      <p:sp>
        <p:nvSpPr>
          <p:cNvPr id="13" name="Textfeld 12">
            <a:extLst>
              <a:ext uri="{FF2B5EF4-FFF2-40B4-BE49-F238E27FC236}">
                <a16:creationId xmlns:a16="http://schemas.microsoft.com/office/drawing/2014/main" id="{1BFAF987-AB23-4973-8BEF-706FA9857F1C}"/>
              </a:ext>
            </a:extLst>
          </p:cNvPr>
          <p:cNvSpPr txBox="1"/>
          <p:nvPr/>
        </p:nvSpPr>
        <p:spPr>
          <a:xfrm>
            <a:off x="219267" y="1078284"/>
            <a:ext cx="2876461" cy="400110"/>
          </a:xfrm>
          <a:prstGeom prst="rect">
            <a:avLst/>
          </a:prstGeom>
          <a:noFill/>
        </p:spPr>
        <p:txBody>
          <a:bodyPr wrap="square" rtlCol="0">
            <a:spAutoFit/>
          </a:bodyPr>
          <a:lstStyle/>
          <a:p>
            <a:r>
              <a:rPr lang="en-US" sz="1000" b="1">
                <a:solidFill>
                  <a:srgbClr val="FF0000"/>
                </a:solidFill>
                <a:latin typeface="Arial" panose="020B0604020202020204" pitchFamily="34" charset="0"/>
                <a:cs typeface="Arial" panose="020B0604020202020204" pitchFamily="34" charset="0"/>
              </a:rPr>
              <a:t>Web Service Transfer is still not released and functional.</a:t>
            </a:r>
            <a:endParaRPr lang="en-GB" sz="1000" b="1">
              <a:solidFill>
                <a:srgbClr val="FF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182818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lowchart: Magnetic Disk 83">
            <a:extLst>
              <a:ext uri="{FF2B5EF4-FFF2-40B4-BE49-F238E27FC236}">
                <a16:creationId xmlns:a16="http://schemas.microsoft.com/office/drawing/2014/main" id="{F4D9E3FC-C4FD-4384-AAE7-059CE89AE488}"/>
              </a:ext>
            </a:extLst>
          </p:cNvPr>
          <p:cNvSpPr/>
          <p:nvPr/>
        </p:nvSpPr>
        <p:spPr bwMode="auto">
          <a:xfrm>
            <a:off x="7056176" y="1673643"/>
            <a:ext cx="701972" cy="466283"/>
          </a:xfrm>
          <a:prstGeom prst="flowChartMagneticDisk">
            <a:avLst/>
          </a:prstGeom>
          <a:solidFill>
            <a:srgbClr val="95DE70"/>
          </a:solidFill>
          <a:ln w="9525"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en-US"/>
            </a:defPPr>
            <a:lvl1pPr algn="l" rtl="0" fontAlgn="base">
              <a:spcBef>
                <a:spcPct val="0"/>
              </a:spcBef>
              <a:spcAft>
                <a:spcPct val="0"/>
              </a:spcAft>
              <a:defRPr sz="1000" b="1" kern="1200">
                <a:solidFill>
                  <a:schemeClr val="tx1"/>
                </a:solidFill>
                <a:latin typeface="Arial" charset="0"/>
                <a:ea typeface="+mn-ea"/>
                <a:cs typeface="Arial" charset="0"/>
              </a:defRPr>
            </a:lvl1pPr>
            <a:lvl2pPr marL="457200" algn="l" rtl="0" fontAlgn="base">
              <a:spcBef>
                <a:spcPct val="0"/>
              </a:spcBef>
              <a:spcAft>
                <a:spcPct val="0"/>
              </a:spcAft>
              <a:defRPr sz="1000" b="1" kern="1200">
                <a:solidFill>
                  <a:schemeClr val="tx1"/>
                </a:solidFill>
                <a:latin typeface="Arial" charset="0"/>
                <a:ea typeface="+mn-ea"/>
                <a:cs typeface="Arial" charset="0"/>
              </a:defRPr>
            </a:lvl2pPr>
            <a:lvl3pPr marL="914400" algn="l" rtl="0" fontAlgn="base">
              <a:spcBef>
                <a:spcPct val="0"/>
              </a:spcBef>
              <a:spcAft>
                <a:spcPct val="0"/>
              </a:spcAft>
              <a:defRPr sz="1000" b="1" kern="1200">
                <a:solidFill>
                  <a:schemeClr val="tx1"/>
                </a:solidFill>
                <a:latin typeface="Arial" charset="0"/>
                <a:ea typeface="+mn-ea"/>
                <a:cs typeface="Arial" charset="0"/>
              </a:defRPr>
            </a:lvl3pPr>
            <a:lvl4pPr marL="1371600" algn="l" rtl="0" fontAlgn="base">
              <a:spcBef>
                <a:spcPct val="0"/>
              </a:spcBef>
              <a:spcAft>
                <a:spcPct val="0"/>
              </a:spcAft>
              <a:defRPr sz="1000" b="1" kern="1200">
                <a:solidFill>
                  <a:schemeClr val="tx1"/>
                </a:solidFill>
                <a:latin typeface="Arial" charset="0"/>
                <a:ea typeface="+mn-ea"/>
                <a:cs typeface="Arial" charset="0"/>
              </a:defRPr>
            </a:lvl4pPr>
            <a:lvl5pPr marL="1828800" algn="l" rtl="0" fontAlgn="base">
              <a:spcBef>
                <a:spcPct val="0"/>
              </a:spcBef>
              <a:spcAft>
                <a:spcPct val="0"/>
              </a:spcAft>
              <a:defRPr sz="1000" b="1" kern="1200">
                <a:solidFill>
                  <a:schemeClr val="tx1"/>
                </a:solidFill>
                <a:latin typeface="Arial" charset="0"/>
                <a:ea typeface="+mn-ea"/>
                <a:cs typeface="Arial" charset="0"/>
              </a:defRPr>
            </a:lvl5pPr>
            <a:lvl6pPr marL="2286000" algn="l" defTabSz="914400" rtl="0" eaLnBrk="1" latinLnBrk="0" hangingPunct="1">
              <a:defRPr sz="1000" b="1" kern="1200">
                <a:solidFill>
                  <a:schemeClr val="tx1"/>
                </a:solidFill>
                <a:latin typeface="Arial" charset="0"/>
                <a:ea typeface="+mn-ea"/>
                <a:cs typeface="Arial" charset="0"/>
              </a:defRPr>
            </a:lvl6pPr>
            <a:lvl7pPr marL="2743200" algn="l" defTabSz="914400" rtl="0" eaLnBrk="1" latinLnBrk="0" hangingPunct="1">
              <a:defRPr sz="1000" b="1" kern="1200">
                <a:solidFill>
                  <a:schemeClr val="tx1"/>
                </a:solidFill>
                <a:latin typeface="Arial" charset="0"/>
                <a:ea typeface="+mn-ea"/>
                <a:cs typeface="Arial" charset="0"/>
              </a:defRPr>
            </a:lvl7pPr>
            <a:lvl8pPr marL="3200400" algn="l" defTabSz="914400" rtl="0" eaLnBrk="1" latinLnBrk="0" hangingPunct="1">
              <a:defRPr sz="1000" b="1" kern="1200">
                <a:solidFill>
                  <a:schemeClr val="tx1"/>
                </a:solidFill>
                <a:latin typeface="Arial" charset="0"/>
                <a:ea typeface="+mn-ea"/>
                <a:cs typeface="Arial" charset="0"/>
              </a:defRPr>
            </a:lvl8pPr>
            <a:lvl9pPr marL="3657600" algn="l" defTabSz="914400" rtl="0" eaLnBrk="1" latinLnBrk="0" hangingPunct="1">
              <a:defRPr sz="1000" b="1" kern="1200">
                <a:solidFill>
                  <a:schemeClr val="tx1"/>
                </a:solidFill>
                <a:latin typeface="Arial" charset="0"/>
                <a:ea typeface="+mn-ea"/>
                <a:cs typeface="Arial" charset="0"/>
              </a:defRPr>
            </a:lvl9pPr>
          </a:lstStyle>
          <a:p>
            <a:pPr algn="ctr"/>
            <a:r>
              <a:rPr lang="de-CH" sz="900"/>
              <a:t>GUDID</a:t>
            </a:r>
          </a:p>
        </p:txBody>
      </p:sp>
      <p:pic>
        <p:nvPicPr>
          <p:cNvPr id="15" name="Picture 2" descr="Food and Drug Administration">
            <a:hlinkClick r:id="rId2"/>
            <a:extLst>
              <a:ext uri="{FF2B5EF4-FFF2-40B4-BE49-F238E27FC236}">
                <a16:creationId xmlns:a16="http://schemas.microsoft.com/office/drawing/2014/main" id="{919D84F5-0B61-4565-800B-174887CDFF3E}"/>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27389" b="27022"/>
          <a:stretch/>
        </p:blipFill>
        <p:spPr bwMode="auto">
          <a:xfrm>
            <a:off x="7202647" y="1688154"/>
            <a:ext cx="425297" cy="193888"/>
          </a:xfrm>
          <a:prstGeom prst="rect">
            <a:avLst/>
          </a:prstGeom>
          <a:noFill/>
          <a:extLst>
            <a:ext uri="{909E8E84-426E-40DD-AFC4-6F175D3DCCD1}">
              <a14:hiddenFill xmlns:a14="http://schemas.microsoft.com/office/drawing/2010/main">
                <a:solidFill>
                  <a:srgbClr val="FFFFFF"/>
                </a:solidFill>
              </a14:hiddenFill>
            </a:ext>
          </a:extLst>
        </p:spPr>
      </p:pic>
      <p:pic>
        <p:nvPicPr>
          <p:cNvPr id="16" name="Grafik 15">
            <a:extLst>
              <a:ext uri="{FF2B5EF4-FFF2-40B4-BE49-F238E27FC236}">
                <a16:creationId xmlns:a16="http://schemas.microsoft.com/office/drawing/2014/main" id="{3A9C845C-2B4B-4475-8104-68B82569341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22389" y="2305956"/>
            <a:ext cx="409006" cy="456122"/>
          </a:xfrm>
          <a:prstGeom prst="rect">
            <a:avLst/>
          </a:prstGeom>
        </p:spPr>
      </p:pic>
      <p:sp>
        <p:nvSpPr>
          <p:cNvPr id="17" name="Rectangle 29">
            <a:extLst>
              <a:ext uri="{FF2B5EF4-FFF2-40B4-BE49-F238E27FC236}">
                <a16:creationId xmlns:a16="http://schemas.microsoft.com/office/drawing/2014/main" id="{F3C01D98-EE46-4988-9667-F1DD555AA08C}"/>
              </a:ext>
            </a:extLst>
          </p:cNvPr>
          <p:cNvSpPr/>
          <p:nvPr/>
        </p:nvSpPr>
        <p:spPr bwMode="auto">
          <a:xfrm>
            <a:off x="6374551" y="1719223"/>
            <a:ext cx="561719" cy="368858"/>
          </a:xfrm>
          <a:prstGeom prst="rect">
            <a:avLst/>
          </a:prstGeom>
          <a:solidFill>
            <a:srgbClr val="95DE70"/>
          </a:solidFill>
          <a:ln w="9525"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r>
              <a:rPr lang="de-DE" sz="788">
                <a:latin typeface="Arial" panose="020B0604020202020204" pitchFamily="34" charset="0"/>
                <a:cs typeface="Arial" panose="020B0604020202020204" pitchFamily="34" charset="0"/>
              </a:rPr>
              <a:t>FDA WTHS</a:t>
            </a:r>
            <a:endParaRPr lang="en-US" sz="788">
              <a:latin typeface="Arial" panose="020B0604020202020204" pitchFamily="34" charset="0"/>
              <a:cs typeface="Arial" panose="020B0604020202020204" pitchFamily="34" charset="0"/>
            </a:endParaRPr>
          </a:p>
        </p:txBody>
      </p:sp>
      <p:cxnSp>
        <p:nvCxnSpPr>
          <p:cNvPr id="18" name="Straight Arrow Connector 105">
            <a:extLst>
              <a:ext uri="{FF2B5EF4-FFF2-40B4-BE49-F238E27FC236}">
                <a16:creationId xmlns:a16="http://schemas.microsoft.com/office/drawing/2014/main" id="{966CE09D-D789-49DA-B619-B5B35E9661A2}"/>
              </a:ext>
            </a:extLst>
          </p:cNvPr>
          <p:cNvCxnSpPr>
            <a:stCxn id="17" idx="3"/>
            <a:endCxn id="9" idx="2"/>
          </p:cNvCxnSpPr>
          <p:nvPr/>
        </p:nvCxnSpPr>
        <p:spPr bwMode="auto">
          <a:xfrm>
            <a:off x="6936271" y="1903651"/>
            <a:ext cx="119906" cy="3134"/>
          </a:xfrm>
          <a:prstGeom prst="straightConnector1">
            <a:avLst/>
          </a:prstGeom>
          <a:solidFill>
            <a:schemeClr val="accent1"/>
          </a:solidFill>
          <a:ln w="19050" cap="flat" cmpd="sng" algn="ctr">
            <a:solidFill>
              <a:schemeClr val="tx1"/>
            </a:solidFill>
            <a:prstDash val="solid"/>
            <a:round/>
            <a:headEnd type="none" w="med" len="med"/>
            <a:tailEnd type="triangle"/>
          </a:ln>
          <a:effectLst/>
        </p:spPr>
      </p:cxnSp>
      <p:sp>
        <p:nvSpPr>
          <p:cNvPr id="19" name="Ellipse 18">
            <a:extLst>
              <a:ext uri="{FF2B5EF4-FFF2-40B4-BE49-F238E27FC236}">
                <a16:creationId xmlns:a16="http://schemas.microsoft.com/office/drawing/2014/main" id="{2DC7B97B-D93E-4A2A-8632-33985CBB10B1}"/>
              </a:ext>
            </a:extLst>
          </p:cNvPr>
          <p:cNvSpPr/>
          <p:nvPr/>
        </p:nvSpPr>
        <p:spPr>
          <a:xfrm>
            <a:off x="6203410" y="3680674"/>
            <a:ext cx="80519" cy="92494"/>
          </a:xfrm>
          <a:prstGeom prst="ellipse">
            <a:avLst/>
          </a:prstGeom>
          <a:solidFill>
            <a:srgbClr val="FF0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sz="1013"/>
          </a:p>
        </p:txBody>
      </p:sp>
      <p:sp>
        <p:nvSpPr>
          <p:cNvPr id="20" name="Textfeld 19">
            <a:extLst>
              <a:ext uri="{FF2B5EF4-FFF2-40B4-BE49-F238E27FC236}">
                <a16:creationId xmlns:a16="http://schemas.microsoft.com/office/drawing/2014/main" id="{1C8BE7AD-845D-4F62-A40D-8DC4F6EED8C2}"/>
              </a:ext>
            </a:extLst>
          </p:cNvPr>
          <p:cNvSpPr txBox="1"/>
          <p:nvPr/>
        </p:nvSpPr>
        <p:spPr>
          <a:xfrm>
            <a:off x="6117116" y="2167929"/>
            <a:ext cx="992951" cy="187615"/>
          </a:xfrm>
          <a:prstGeom prst="rect">
            <a:avLst/>
          </a:prstGeom>
          <a:noFill/>
        </p:spPr>
        <p:txBody>
          <a:bodyPr wrap="square" rtlCol="0">
            <a:spAutoFit/>
          </a:bodyPr>
          <a:lstStyle/>
          <a:p>
            <a:r>
              <a:rPr lang="de-DE" sz="619"/>
              <a:t>Manueller  Datei Upload</a:t>
            </a:r>
          </a:p>
        </p:txBody>
      </p:sp>
      <p:sp>
        <p:nvSpPr>
          <p:cNvPr id="21" name="Ellipse 20">
            <a:extLst>
              <a:ext uri="{FF2B5EF4-FFF2-40B4-BE49-F238E27FC236}">
                <a16:creationId xmlns:a16="http://schemas.microsoft.com/office/drawing/2014/main" id="{090198E3-664B-4680-AE40-72C828982281}"/>
              </a:ext>
            </a:extLst>
          </p:cNvPr>
          <p:cNvSpPr/>
          <p:nvPr/>
        </p:nvSpPr>
        <p:spPr>
          <a:xfrm>
            <a:off x="6203410" y="4010731"/>
            <a:ext cx="80519" cy="92494"/>
          </a:xfrm>
          <a:prstGeom prst="ellipse">
            <a:avLst/>
          </a:prstGeom>
          <a:solidFill>
            <a:srgbClr val="FF0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sz="1013"/>
          </a:p>
        </p:txBody>
      </p:sp>
      <p:sp>
        <p:nvSpPr>
          <p:cNvPr id="22" name="Gleichschenkliges Dreieck 21">
            <a:extLst>
              <a:ext uri="{FF2B5EF4-FFF2-40B4-BE49-F238E27FC236}">
                <a16:creationId xmlns:a16="http://schemas.microsoft.com/office/drawing/2014/main" id="{FB55565A-5057-44A0-A5E1-2FEDEF597A01}"/>
              </a:ext>
            </a:extLst>
          </p:cNvPr>
          <p:cNvSpPr/>
          <p:nvPr/>
        </p:nvSpPr>
        <p:spPr>
          <a:xfrm>
            <a:off x="6079567" y="987902"/>
            <a:ext cx="1896968" cy="608181"/>
          </a:xfrm>
          <a:prstGeom prst="triangle">
            <a:avLst>
              <a:gd name="adj" fmla="val 4998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b="1">
              <a:latin typeface="Arial Narrow" panose="020B0606020202030204" pitchFamily="34" charset="0"/>
              <a:cs typeface="Arial" panose="020B0604020202020204" pitchFamily="34" charset="0"/>
            </a:endParaRPr>
          </a:p>
          <a:p>
            <a:pPr algn="ctr"/>
            <a:r>
              <a:rPr lang="de-DE" sz="1400" b="1">
                <a:latin typeface="Arial Narrow" panose="020B0606020202030204" pitchFamily="34" charset="0"/>
                <a:cs typeface="Arial" panose="020B0604020202020204" pitchFamily="34" charset="0"/>
              </a:rPr>
              <a:t>EUDAMED</a:t>
            </a:r>
          </a:p>
          <a:p>
            <a:pPr algn="ctr"/>
            <a:endParaRPr lang="de-DE" sz="1350" b="1">
              <a:latin typeface="Arial Narrow" panose="020B0606020202030204" pitchFamily="34" charset="0"/>
              <a:cs typeface="Arial" panose="020B0604020202020204" pitchFamily="34" charset="0"/>
            </a:endParaRPr>
          </a:p>
          <a:p>
            <a:pPr algn="ctr"/>
            <a:endParaRPr lang="de-CH" sz="1350" b="1">
              <a:latin typeface="Arial Narrow" panose="020B0606020202030204" pitchFamily="34" charset="0"/>
              <a:cs typeface="Arial" panose="020B0604020202020204" pitchFamily="34" charset="0"/>
            </a:endParaRPr>
          </a:p>
        </p:txBody>
      </p:sp>
      <p:sp>
        <p:nvSpPr>
          <p:cNvPr id="23" name="Rechteck 22">
            <a:extLst>
              <a:ext uri="{FF2B5EF4-FFF2-40B4-BE49-F238E27FC236}">
                <a16:creationId xmlns:a16="http://schemas.microsoft.com/office/drawing/2014/main" id="{F90EBF36-97B9-4CD8-9BC1-DB38C509019F}"/>
              </a:ext>
            </a:extLst>
          </p:cNvPr>
          <p:cNvSpPr/>
          <p:nvPr/>
        </p:nvSpPr>
        <p:spPr>
          <a:xfrm>
            <a:off x="6183557" y="1598327"/>
            <a:ext cx="1733331" cy="288950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a:p>
        </p:txBody>
      </p:sp>
      <p:sp>
        <p:nvSpPr>
          <p:cNvPr id="24" name="Flussdiagramm: Magnetplattenspeicher 23">
            <a:extLst>
              <a:ext uri="{FF2B5EF4-FFF2-40B4-BE49-F238E27FC236}">
                <a16:creationId xmlns:a16="http://schemas.microsoft.com/office/drawing/2014/main" id="{6A1ED590-B48D-4918-910B-6C6C144B9865}"/>
              </a:ext>
            </a:extLst>
          </p:cNvPr>
          <p:cNvSpPr/>
          <p:nvPr/>
        </p:nvSpPr>
        <p:spPr>
          <a:xfrm>
            <a:off x="6487867" y="2768619"/>
            <a:ext cx="1064049" cy="715685"/>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350"/>
              <a:t>EUDAMED</a:t>
            </a:r>
            <a:endParaRPr lang="de-CH" sz="1350"/>
          </a:p>
        </p:txBody>
      </p:sp>
      <p:sp>
        <p:nvSpPr>
          <p:cNvPr id="25" name="Legende: mit Pfeil nach unten 24">
            <a:extLst>
              <a:ext uri="{FF2B5EF4-FFF2-40B4-BE49-F238E27FC236}">
                <a16:creationId xmlns:a16="http://schemas.microsoft.com/office/drawing/2014/main" id="{A08F21B7-17E2-4F6F-BD98-382C701CC0CC}"/>
              </a:ext>
            </a:extLst>
          </p:cNvPr>
          <p:cNvSpPr/>
          <p:nvPr/>
        </p:nvSpPr>
        <p:spPr>
          <a:xfrm>
            <a:off x="6457671" y="2164283"/>
            <a:ext cx="1082336" cy="589691"/>
          </a:xfrm>
          <a:prstGeom prst="downArrowCallou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50"/>
              <a:t>AS4 Receiver Service</a:t>
            </a:r>
          </a:p>
        </p:txBody>
      </p:sp>
      <p:sp>
        <p:nvSpPr>
          <p:cNvPr id="26" name="Legende: mit Pfeil nach oben 25">
            <a:extLst>
              <a:ext uri="{FF2B5EF4-FFF2-40B4-BE49-F238E27FC236}">
                <a16:creationId xmlns:a16="http://schemas.microsoft.com/office/drawing/2014/main" id="{BF144AED-DA30-4433-8B30-A8E755BAE9DA}"/>
              </a:ext>
            </a:extLst>
          </p:cNvPr>
          <p:cNvSpPr/>
          <p:nvPr/>
        </p:nvSpPr>
        <p:spPr>
          <a:xfrm>
            <a:off x="6499680" y="3507998"/>
            <a:ext cx="1064049" cy="569721"/>
          </a:xfrm>
          <a:prstGeom prst="upArrowCallout">
            <a:avLst/>
          </a:prstGeom>
          <a:solidFill>
            <a:schemeClr val="bg2">
              <a:lumMod val="90000"/>
            </a:schemeClr>
          </a:solidFill>
        </p:spPr>
        <p:style>
          <a:lnRef idx="1">
            <a:schemeClr val="dk1"/>
          </a:lnRef>
          <a:fillRef idx="2">
            <a:schemeClr val="dk1"/>
          </a:fillRef>
          <a:effectRef idx="1">
            <a:schemeClr val="dk1"/>
          </a:effectRef>
          <a:fontRef idx="minor">
            <a:schemeClr val="dk1"/>
          </a:fontRef>
        </p:style>
        <p:txBody>
          <a:bodyPr rtlCol="0" anchor="ctr"/>
          <a:lstStyle/>
          <a:p>
            <a:pPr algn="ctr"/>
            <a:r>
              <a:rPr lang="de-DE" sz="1350"/>
              <a:t>Web UI</a:t>
            </a:r>
          </a:p>
        </p:txBody>
      </p:sp>
      <p:sp>
        <p:nvSpPr>
          <p:cNvPr id="27" name="Rechteck: abgerundete Ecken 26">
            <a:extLst>
              <a:ext uri="{FF2B5EF4-FFF2-40B4-BE49-F238E27FC236}">
                <a16:creationId xmlns:a16="http://schemas.microsoft.com/office/drawing/2014/main" id="{C6B5E862-876D-43F4-9170-F0FB2CF9A7C6}"/>
              </a:ext>
            </a:extLst>
          </p:cNvPr>
          <p:cNvSpPr/>
          <p:nvPr/>
        </p:nvSpPr>
        <p:spPr>
          <a:xfrm>
            <a:off x="6457671" y="1786125"/>
            <a:ext cx="1094245" cy="326618"/>
          </a:xfrm>
          <a:prstGeom prst="roundRect">
            <a:avLst/>
          </a:prstGeom>
          <a:solidFill>
            <a:schemeClr val="accent6">
              <a:lumMod val="75000"/>
            </a:schemeClr>
          </a:solidFill>
        </p:spPr>
        <p:style>
          <a:lnRef idx="1">
            <a:schemeClr val="accent3"/>
          </a:lnRef>
          <a:fillRef idx="3">
            <a:schemeClr val="accent3"/>
          </a:fillRef>
          <a:effectRef idx="2">
            <a:schemeClr val="accent3"/>
          </a:effectRef>
          <a:fontRef idx="minor">
            <a:schemeClr val="lt1"/>
          </a:fontRef>
        </p:style>
        <p:txBody>
          <a:bodyPr rtlCol="0" anchor="ctr"/>
          <a:lstStyle/>
          <a:p>
            <a:pPr algn="ctr"/>
            <a:r>
              <a:rPr lang="de-DE" sz="900">
                <a:latin typeface="Arial Narrow" panose="020B0606020202030204" pitchFamily="34" charset="0"/>
              </a:rPr>
              <a:t>UDI</a:t>
            </a:r>
          </a:p>
          <a:p>
            <a:pPr algn="ctr"/>
            <a:r>
              <a:rPr lang="de-DE" sz="900">
                <a:latin typeface="Arial Narrow" panose="020B0606020202030204" pitchFamily="34" charset="0"/>
              </a:rPr>
              <a:t>Service</a:t>
            </a:r>
            <a:endParaRPr lang="de-DE" sz="1050">
              <a:latin typeface="Arial Narrow" panose="020B0606020202030204" pitchFamily="34" charset="0"/>
            </a:endParaRPr>
          </a:p>
        </p:txBody>
      </p:sp>
      <p:sp>
        <p:nvSpPr>
          <p:cNvPr id="28" name="Flowchart: Magnetic Disk 34">
            <a:extLst>
              <a:ext uri="{FF2B5EF4-FFF2-40B4-BE49-F238E27FC236}">
                <a16:creationId xmlns:a16="http://schemas.microsoft.com/office/drawing/2014/main" id="{1E57BBDE-2510-4488-BC77-22B162D90647}"/>
              </a:ext>
            </a:extLst>
          </p:cNvPr>
          <p:cNvSpPr/>
          <p:nvPr/>
        </p:nvSpPr>
        <p:spPr bwMode="auto">
          <a:xfrm>
            <a:off x="1323486" y="1639036"/>
            <a:ext cx="2079028" cy="2429390"/>
          </a:xfrm>
          <a:prstGeom prst="flowChartMagneticDisk">
            <a:avLst/>
          </a:prstGeom>
          <a:solidFill>
            <a:srgbClr val="99CCFF"/>
          </a:solidFill>
          <a:ln w="9525" cap="flat" cmpd="sng" algn="ctr">
            <a:solidFill>
              <a:schemeClr val="tx1"/>
            </a:solidFill>
            <a:prstDash val="solid"/>
            <a:round/>
            <a:headEnd type="none" w="med" len="med"/>
            <a:tailEnd type="none" w="med" len="med"/>
          </a:ln>
          <a:effectLst/>
        </p:spPr>
        <p:txBody>
          <a:bodyPr rot="0" spcFirstLastPara="0" vert="horz" wrap="square" lIns="51435" tIns="0" rIns="0" bIns="0"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sz="1000" b="1" kern="1200">
                <a:solidFill>
                  <a:schemeClr val="tx1"/>
                </a:solidFill>
                <a:latin typeface="Arial" charset="0"/>
                <a:ea typeface="+mn-ea"/>
                <a:cs typeface="Arial" charset="0"/>
              </a:defRPr>
            </a:lvl1pPr>
            <a:lvl2pPr marL="457200" algn="l" rtl="0" fontAlgn="base">
              <a:spcBef>
                <a:spcPct val="0"/>
              </a:spcBef>
              <a:spcAft>
                <a:spcPct val="0"/>
              </a:spcAft>
              <a:defRPr sz="1000" b="1" kern="1200">
                <a:solidFill>
                  <a:schemeClr val="tx1"/>
                </a:solidFill>
                <a:latin typeface="Arial" charset="0"/>
                <a:ea typeface="+mn-ea"/>
                <a:cs typeface="Arial" charset="0"/>
              </a:defRPr>
            </a:lvl2pPr>
            <a:lvl3pPr marL="914400" algn="l" rtl="0" fontAlgn="base">
              <a:spcBef>
                <a:spcPct val="0"/>
              </a:spcBef>
              <a:spcAft>
                <a:spcPct val="0"/>
              </a:spcAft>
              <a:defRPr sz="1000" b="1" kern="1200">
                <a:solidFill>
                  <a:schemeClr val="tx1"/>
                </a:solidFill>
                <a:latin typeface="Arial" charset="0"/>
                <a:ea typeface="+mn-ea"/>
                <a:cs typeface="Arial" charset="0"/>
              </a:defRPr>
            </a:lvl3pPr>
            <a:lvl4pPr marL="1371600" algn="l" rtl="0" fontAlgn="base">
              <a:spcBef>
                <a:spcPct val="0"/>
              </a:spcBef>
              <a:spcAft>
                <a:spcPct val="0"/>
              </a:spcAft>
              <a:defRPr sz="1000" b="1" kern="1200">
                <a:solidFill>
                  <a:schemeClr val="tx1"/>
                </a:solidFill>
                <a:latin typeface="Arial" charset="0"/>
                <a:ea typeface="+mn-ea"/>
                <a:cs typeface="Arial" charset="0"/>
              </a:defRPr>
            </a:lvl4pPr>
            <a:lvl5pPr marL="1828800" algn="l" rtl="0" fontAlgn="base">
              <a:spcBef>
                <a:spcPct val="0"/>
              </a:spcBef>
              <a:spcAft>
                <a:spcPct val="0"/>
              </a:spcAft>
              <a:defRPr sz="1000" b="1" kern="1200">
                <a:solidFill>
                  <a:schemeClr val="tx1"/>
                </a:solidFill>
                <a:latin typeface="Arial" charset="0"/>
                <a:ea typeface="+mn-ea"/>
                <a:cs typeface="Arial" charset="0"/>
              </a:defRPr>
            </a:lvl5pPr>
            <a:lvl6pPr marL="2286000" algn="l" defTabSz="914400" rtl="0" eaLnBrk="1" latinLnBrk="0" hangingPunct="1">
              <a:defRPr sz="1000" b="1" kern="1200">
                <a:solidFill>
                  <a:schemeClr val="tx1"/>
                </a:solidFill>
                <a:latin typeface="Arial" charset="0"/>
                <a:ea typeface="+mn-ea"/>
                <a:cs typeface="Arial" charset="0"/>
              </a:defRPr>
            </a:lvl6pPr>
            <a:lvl7pPr marL="2743200" algn="l" defTabSz="914400" rtl="0" eaLnBrk="1" latinLnBrk="0" hangingPunct="1">
              <a:defRPr sz="1000" b="1" kern="1200">
                <a:solidFill>
                  <a:schemeClr val="tx1"/>
                </a:solidFill>
                <a:latin typeface="Arial" charset="0"/>
                <a:ea typeface="+mn-ea"/>
                <a:cs typeface="Arial" charset="0"/>
              </a:defRPr>
            </a:lvl7pPr>
            <a:lvl8pPr marL="3200400" algn="l" defTabSz="914400" rtl="0" eaLnBrk="1" latinLnBrk="0" hangingPunct="1">
              <a:defRPr sz="1000" b="1" kern="1200">
                <a:solidFill>
                  <a:schemeClr val="tx1"/>
                </a:solidFill>
                <a:latin typeface="Arial" charset="0"/>
                <a:ea typeface="+mn-ea"/>
                <a:cs typeface="Arial" charset="0"/>
              </a:defRPr>
            </a:lvl8pPr>
            <a:lvl9pPr marL="3657600" algn="l" defTabSz="914400" rtl="0" eaLnBrk="1" latinLnBrk="0" hangingPunct="1">
              <a:defRPr sz="1000" b="1" kern="1200">
                <a:solidFill>
                  <a:schemeClr val="tx1"/>
                </a:solidFill>
                <a:latin typeface="Arial" charset="0"/>
                <a:ea typeface="+mn-ea"/>
                <a:cs typeface="Arial" charset="0"/>
              </a:defRPr>
            </a:lvl9pPr>
          </a:lstStyle>
          <a:p>
            <a:pPr algn="ctr"/>
            <a:endParaRPr lang="de-CH" sz="900"/>
          </a:p>
          <a:p>
            <a:pPr algn="ctr"/>
            <a:r>
              <a:rPr lang="de-CH" sz="900"/>
              <a:t>SAP</a:t>
            </a:r>
          </a:p>
        </p:txBody>
      </p:sp>
      <p:sp>
        <p:nvSpPr>
          <p:cNvPr id="29" name="Abgerundetes Rechteck 6">
            <a:extLst>
              <a:ext uri="{FF2B5EF4-FFF2-40B4-BE49-F238E27FC236}">
                <a16:creationId xmlns:a16="http://schemas.microsoft.com/office/drawing/2014/main" id="{65F26C82-68E6-4D19-850F-F8D3E42283C5}"/>
              </a:ext>
            </a:extLst>
          </p:cNvPr>
          <p:cNvSpPr/>
          <p:nvPr/>
        </p:nvSpPr>
        <p:spPr>
          <a:xfrm>
            <a:off x="1461259" y="2834622"/>
            <a:ext cx="900593" cy="649682"/>
          </a:xfrm>
          <a:prstGeom prst="roundRect">
            <a:avLst/>
          </a:prstGeom>
          <a:solidFill>
            <a:schemeClr val="accent1">
              <a:lumMod val="50000"/>
            </a:schemeClr>
          </a:solidFill>
          <a:ln>
            <a:solidFill>
              <a:srgbClr val="FF000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de-DE" sz="1000" b="1"/>
              <a:t>UDI EUDAMED </a:t>
            </a:r>
          </a:p>
          <a:p>
            <a:pPr algn="ctr"/>
            <a:r>
              <a:rPr lang="de-DE" sz="1000" b="1"/>
              <a:t>Add-On</a:t>
            </a:r>
            <a:endParaRPr lang="de-DE" sz="1000"/>
          </a:p>
        </p:txBody>
      </p:sp>
      <p:pic>
        <p:nvPicPr>
          <p:cNvPr id="30" name="Grafik 29">
            <a:extLst>
              <a:ext uri="{FF2B5EF4-FFF2-40B4-BE49-F238E27FC236}">
                <a16:creationId xmlns:a16="http://schemas.microsoft.com/office/drawing/2014/main" id="{D5A97900-5587-4A79-A420-3E52F0F64ED0}"/>
              </a:ext>
            </a:extLst>
          </p:cNvPr>
          <p:cNvPicPr>
            <a:picLocks noChangeAspect="1"/>
          </p:cNvPicPr>
          <p:nvPr/>
        </p:nvPicPr>
        <p:blipFill>
          <a:blip r:embed="rId5"/>
          <a:stretch>
            <a:fillRect/>
          </a:stretch>
        </p:blipFill>
        <p:spPr>
          <a:xfrm>
            <a:off x="6910388" y="1121559"/>
            <a:ext cx="269816" cy="179314"/>
          </a:xfrm>
          <a:prstGeom prst="rect">
            <a:avLst/>
          </a:prstGeom>
        </p:spPr>
      </p:pic>
      <p:grpSp>
        <p:nvGrpSpPr>
          <p:cNvPr id="31" name="Gruppieren 30">
            <a:extLst>
              <a:ext uri="{FF2B5EF4-FFF2-40B4-BE49-F238E27FC236}">
                <a16:creationId xmlns:a16="http://schemas.microsoft.com/office/drawing/2014/main" id="{ADCE9397-21D0-4B16-9F82-3DFB6D0B7733}"/>
              </a:ext>
            </a:extLst>
          </p:cNvPr>
          <p:cNvGrpSpPr/>
          <p:nvPr/>
        </p:nvGrpSpPr>
        <p:grpSpPr>
          <a:xfrm>
            <a:off x="2337095" y="976792"/>
            <a:ext cx="4060930" cy="2215373"/>
            <a:chOff x="1592127" y="802594"/>
            <a:chExt cx="5414573" cy="2953831"/>
          </a:xfrm>
        </p:grpSpPr>
        <p:sp>
          <p:nvSpPr>
            <p:cNvPr id="32" name="Rectangle 40">
              <a:extLst>
                <a:ext uri="{FF2B5EF4-FFF2-40B4-BE49-F238E27FC236}">
                  <a16:creationId xmlns:a16="http://schemas.microsoft.com/office/drawing/2014/main" id="{7535EAEE-DFD1-49BD-91B2-CC13259F6BBB}"/>
                </a:ext>
              </a:extLst>
            </p:cNvPr>
            <p:cNvSpPr/>
            <p:nvPr/>
          </p:nvSpPr>
          <p:spPr bwMode="auto">
            <a:xfrm>
              <a:off x="2016744" y="3037291"/>
              <a:ext cx="899683" cy="309116"/>
            </a:xfrm>
            <a:prstGeom prst="rect">
              <a:avLst/>
            </a:prstGeom>
            <a:solidFill>
              <a:schemeClr val="accent5">
                <a:lumMod val="75000"/>
              </a:schemeClr>
            </a:solidFill>
            <a:ln w="9525" cap="flat" cmpd="sng" algn="ctr">
              <a:solidFill>
                <a:schemeClr val="tx1"/>
              </a:solidFill>
              <a:prstDash val="solid"/>
              <a:round/>
              <a:headEnd type="none" w="med" len="med"/>
              <a:tailEnd type="none" w="med" len="med"/>
            </a:ln>
            <a:effectLst/>
          </p:spPr>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sz="1000" b="1" kern="1200">
                  <a:solidFill>
                    <a:schemeClr val="tx1"/>
                  </a:solidFill>
                  <a:latin typeface="Arial" charset="0"/>
                  <a:ea typeface="+mn-ea"/>
                  <a:cs typeface="Arial" charset="0"/>
                </a:defRPr>
              </a:lvl1pPr>
              <a:lvl2pPr marL="457200" algn="l" rtl="0" fontAlgn="base">
                <a:spcBef>
                  <a:spcPct val="0"/>
                </a:spcBef>
                <a:spcAft>
                  <a:spcPct val="0"/>
                </a:spcAft>
                <a:defRPr sz="1000" b="1" kern="1200">
                  <a:solidFill>
                    <a:schemeClr val="tx1"/>
                  </a:solidFill>
                  <a:latin typeface="Arial" charset="0"/>
                  <a:ea typeface="+mn-ea"/>
                  <a:cs typeface="Arial" charset="0"/>
                </a:defRPr>
              </a:lvl2pPr>
              <a:lvl3pPr marL="914400" algn="l" rtl="0" fontAlgn="base">
                <a:spcBef>
                  <a:spcPct val="0"/>
                </a:spcBef>
                <a:spcAft>
                  <a:spcPct val="0"/>
                </a:spcAft>
                <a:defRPr sz="1000" b="1" kern="1200">
                  <a:solidFill>
                    <a:schemeClr val="tx1"/>
                  </a:solidFill>
                  <a:latin typeface="Arial" charset="0"/>
                  <a:ea typeface="+mn-ea"/>
                  <a:cs typeface="Arial" charset="0"/>
                </a:defRPr>
              </a:lvl3pPr>
              <a:lvl4pPr marL="1371600" algn="l" rtl="0" fontAlgn="base">
                <a:spcBef>
                  <a:spcPct val="0"/>
                </a:spcBef>
                <a:spcAft>
                  <a:spcPct val="0"/>
                </a:spcAft>
                <a:defRPr sz="1000" b="1" kern="1200">
                  <a:solidFill>
                    <a:schemeClr val="tx1"/>
                  </a:solidFill>
                  <a:latin typeface="Arial" charset="0"/>
                  <a:ea typeface="+mn-ea"/>
                  <a:cs typeface="Arial" charset="0"/>
                </a:defRPr>
              </a:lvl4pPr>
              <a:lvl5pPr marL="1828800" algn="l" rtl="0" fontAlgn="base">
                <a:spcBef>
                  <a:spcPct val="0"/>
                </a:spcBef>
                <a:spcAft>
                  <a:spcPct val="0"/>
                </a:spcAft>
                <a:defRPr sz="1000" b="1" kern="1200">
                  <a:solidFill>
                    <a:schemeClr val="tx1"/>
                  </a:solidFill>
                  <a:latin typeface="Arial" charset="0"/>
                  <a:ea typeface="+mn-ea"/>
                  <a:cs typeface="Arial" charset="0"/>
                </a:defRPr>
              </a:lvl5pPr>
              <a:lvl6pPr marL="2286000" algn="l" defTabSz="914400" rtl="0" eaLnBrk="1" latinLnBrk="0" hangingPunct="1">
                <a:defRPr sz="1000" b="1" kern="1200">
                  <a:solidFill>
                    <a:schemeClr val="tx1"/>
                  </a:solidFill>
                  <a:latin typeface="Arial" charset="0"/>
                  <a:ea typeface="+mn-ea"/>
                  <a:cs typeface="Arial" charset="0"/>
                </a:defRPr>
              </a:lvl6pPr>
              <a:lvl7pPr marL="2743200" algn="l" defTabSz="914400" rtl="0" eaLnBrk="1" latinLnBrk="0" hangingPunct="1">
                <a:defRPr sz="1000" b="1" kern="1200">
                  <a:solidFill>
                    <a:schemeClr val="tx1"/>
                  </a:solidFill>
                  <a:latin typeface="Arial" charset="0"/>
                  <a:ea typeface="+mn-ea"/>
                  <a:cs typeface="Arial" charset="0"/>
                </a:defRPr>
              </a:lvl7pPr>
              <a:lvl8pPr marL="3200400" algn="l" defTabSz="914400" rtl="0" eaLnBrk="1" latinLnBrk="0" hangingPunct="1">
                <a:defRPr sz="1000" b="1" kern="1200">
                  <a:solidFill>
                    <a:schemeClr val="tx1"/>
                  </a:solidFill>
                  <a:latin typeface="Arial" charset="0"/>
                  <a:ea typeface="+mn-ea"/>
                  <a:cs typeface="Arial" charset="0"/>
                </a:defRPr>
              </a:lvl8pPr>
              <a:lvl9pPr marL="3657600" algn="l" defTabSz="914400" rtl="0" eaLnBrk="1" latinLnBrk="0" hangingPunct="1">
                <a:defRPr sz="1000" b="1" kern="1200">
                  <a:solidFill>
                    <a:schemeClr val="tx1"/>
                  </a:solidFill>
                  <a:latin typeface="Arial" charset="0"/>
                  <a:ea typeface="+mn-ea"/>
                  <a:cs typeface="Arial" charset="0"/>
                </a:defRPr>
              </a:lvl9pPr>
            </a:lstStyle>
            <a:p>
              <a:pPr algn="ctr"/>
              <a:r>
                <a:rPr lang="de-CH" sz="675" err="1">
                  <a:solidFill>
                    <a:schemeClr val="bg1"/>
                  </a:solidFill>
                </a:rPr>
                <a:t>WebConnector</a:t>
              </a:r>
              <a:endParaRPr lang="de-CH" sz="675">
                <a:solidFill>
                  <a:schemeClr val="bg1"/>
                </a:solidFill>
              </a:endParaRPr>
            </a:p>
            <a:p>
              <a:pPr algn="ctr"/>
              <a:r>
                <a:rPr lang="de-CH" sz="675">
                  <a:solidFill>
                    <a:schemeClr val="bg1"/>
                  </a:solidFill>
                </a:rPr>
                <a:t>(SSL/</a:t>
              </a:r>
              <a:r>
                <a:rPr lang="de-CH" sz="675" err="1">
                  <a:solidFill>
                    <a:schemeClr val="bg1"/>
                  </a:solidFill>
                </a:rPr>
                <a:t>Restful</a:t>
              </a:r>
              <a:r>
                <a:rPr lang="de-CH" sz="675">
                  <a:solidFill>
                    <a:schemeClr val="bg1"/>
                  </a:solidFill>
                </a:rPr>
                <a:t>)</a:t>
              </a:r>
              <a:endParaRPr lang="en-US" sz="675">
                <a:solidFill>
                  <a:schemeClr val="bg1"/>
                </a:solidFill>
              </a:endParaRPr>
            </a:p>
          </p:txBody>
        </p:sp>
        <p:cxnSp>
          <p:nvCxnSpPr>
            <p:cNvPr id="33" name="Straight Arrow Connector 16">
              <a:extLst>
                <a:ext uri="{FF2B5EF4-FFF2-40B4-BE49-F238E27FC236}">
                  <a16:creationId xmlns:a16="http://schemas.microsoft.com/office/drawing/2014/main" id="{C11A0231-DE24-41FD-966D-732485AF63AA}"/>
                </a:ext>
              </a:extLst>
            </p:cNvPr>
            <p:cNvCxnSpPr>
              <a:stCxn id="54" idx="3"/>
              <a:endCxn id="32" idx="1"/>
            </p:cNvCxnSpPr>
            <p:nvPr/>
          </p:nvCxnSpPr>
          <p:spPr bwMode="auto">
            <a:xfrm flipV="1">
              <a:off x="1592127" y="3191850"/>
              <a:ext cx="424617" cy="564575"/>
            </a:xfrm>
            <a:prstGeom prst="straightConnector1">
              <a:avLst/>
            </a:prstGeom>
            <a:solidFill>
              <a:schemeClr val="accent1"/>
            </a:solidFill>
            <a:ln w="19050" cap="flat" cmpd="sng" algn="ctr">
              <a:solidFill>
                <a:schemeClr val="tx1"/>
              </a:solidFill>
              <a:prstDash val="solid"/>
              <a:round/>
              <a:headEnd type="none" w="med" len="med"/>
              <a:tailEnd type="triangle"/>
            </a:ln>
            <a:effectLst/>
          </p:spPr>
        </p:cxnSp>
        <p:grpSp>
          <p:nvGrpSpPr>
            <p:cNvPr id="34" name="Gruppieren 33">
              <a:extLst>
                <a:ext uri="{FF2B5EF4-FFF2-40B4-BE49-F238E27FC236}">
                  <a16:creationId xmlns:a16="http://schemas.microsoft.com/office/drawing/2014/main" id="{1223B7D4-B913-4E6C-8B2C-5B803C962E7A}"/>
                </a:ext>
              </a:extLst>
            </p:cNvPr>
            <p:cNvGrpSpPr/>
            <p:nvPr/>
          </p:nvGrpSpPr>
          <p:grpSpPr>
            <a:xfrm>
              <a:off x="2916427" y="802594"/>
              <a:ext cx="4090273" cy="2389255"/>
              <a:chOff x="2916427" y="821873"/>
              <a:chExt cx="4090273" cy="2389255"/>
            </a:xfrm>
          </p:grpSpPr>
          <p:sp>
            <p:nvSpPr>
              <p:cNvPr id="35" name="Abgerundetes Rechteck 29">
                <a:extLst>
                  <a:ext uri="{FF2B5EF4-FFF2-40B4-BE49-F238E27FC236}">
                    <a16:creationId xmlns:a16="http://schemas.microsoft.com/office/drawing/2014/main" id="{134B1C9A-DCF2-4886-AD79-9F43897B137E}"/>
                  </a:ext>
                </a:extLst>
              </p:cNvPr>
              <p:cNvSpPr/>
              <p:nvPr/>
            </p:nvSpPr>
            <p:spPr>
              <a:xfrm>
                <a:off x="3828890" y="1649994"/>
                <a:ext cx="2353805" cy="98789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a:p>
                <a:pPr algn="ctr"/>
                <a:endParaRPr lang="de-DE" sz="675"/>
              </a:p>
            </p:txBody>
          </p:sp>
          <p:cxnSp>
            <p:nvCxnSpPr>
              <p:cNvPr id="36" name="Straight Arrow Connector 105">
                <a:extLst>
                  <a:ext uri="{FF2B5EF4-FFF2-40B4-BE49-F238E27FC236}">
                    <a16:creationId xmlns:a16="http://schemas.microsoft.com/office/drawing/2014/main" id="{ABF2008D-6FEC-4B31-90F3-7EDC8D325B81}"/>
                  </a:ext>
                </a:extLst>
              </p:cNvPr>
              <p:cNvCxnSpPr>
                <a:cxnSpLocks/>
                <a:stCxn id="32" idx="3"/>
                <a:endCxn id="39" idx="1"/>
              </p:cNvCxnSpPr>
              <p:nvPr/>
            </p:nvCxnSpPr>
            <p:spPr bwMode="auto">
              <a:xfrm flipV="1">
                <a:off x="2916427" y="2168227"/>
                <a:ext cx="1142091" cy="1042901"/>
              </a:xfrm>
              <a:prstGeom prst="straightConnector1">
                <a:avLst/>
              </a:prstGeom>
              <a:solidFill>
                <a:schemeClr val="accent1"/>
              </a:solidFill>
              <a:ln w="19050" cap="flat" cmpd="sng" algn="ctr">
                <a:solidFill>
                  <a:schemeClr val="tx1"/>
                </a:solidFill>
                <a:prstDash val="solid"/>
                <a:round/>
                <a:headEnd type="none" w="med" len="med"/>
                <a:tailEnd type="triangle"/>
              </a:ln>
              <a:effectLst/>
            </p:spPr>
          </p:cxnSp>
          <p:sp>
            <p:nvSpPr>
              <p:cNvPr id="37" name="Rechteck 36">
                <a:extLst>
                  <a:ext uri="{FF2B5EF4-FFF2-40B4-BE49-F238E27FC236}">
                    <a16:creationId xmlns:a16="http://schemas.microsoft.com/office/drawing/2014/main" id="{33CE003C-9D6F-49FA-9BB0-42F1AB76C3E0}"/>
                  </a:ext>
                </a:extLst>
              </p:cNvPr>
              <p:cNvSpPr/>
              <p:nvPr/>
            </p:nvSpPr>
            <p:spPr>
              <a:xfrm>
                <a:off x="3140421" y="2696219"/>
                <a:ext cx="451693" cy="189376"/>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de-DE" sz="591">
                    <a:solidFill>
                      <a:schemeClr val="tx1"/>
                    </a:solidFill>
                    <a:latin typeface="Arial" panose="020B0604020202020204" pitchFamily="34" charset="0"/>
                    <a:cs typeface="Arial" panose="020B0604020202020204" pitchFamily="34" charset="0"/>
                  </a:rPr>
                  <a:t>XML</a:t>
                </a:r>
              </a:p>
            </p:txBody>
          </p:sp>
          <p:sp>
            <p:nvSpPr>
              <p:cNvPr id="38" name="Gleichschenkliges Dreieck 37">
                <a:extLst>
                  <a:ext uri="{FF2B5EF4-FFF2-40B4-BE49-F238E27FC236}">
                    <a16:creationId xmlns:a16="http://schemas.microsoft.com/office/drawing/2014/main" id="{24FBE1BF-5F92-4141-8501-981596D8114F}"/>
                  </a:ext>
                </a:extLst>
              </p:cNvPr>
              <p:cNvSpPr/>
              <p:nvPr/>
            </p:nvSpPr>
            <p:spPr>
              <a:xfrm>
                <a:off x="3592114" y="821873"/>
                <a:ext cx="2825385" cy="1010593"/>
              </a:xfrm>
              <a:prstGeom prst="triangle">
                <a:avLst>
                  <a:gd name="adj" fmla="val 4998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25" b="1">
                  <a:latin typeface="Arial Narrow" panose="020B0606020202030204" pitchFamily="34" charset="0"/>
                  <a:cs typeface="Arial" panose="020B0604020202020204" pitchFamily="34" charset="0"/>
                </a:endParaRPr>
              </a:p>
              <a:p>
                <a:pPr algn="ctr"/>
                <a:r>
                  <a:rPr lang="de-DE" sz="1500" b="1">
                    <a:latin typeface="Arial Narrow" panose="020B0606020202030204" pitchFamily="34" charset="0"/>
                    <a:cs typeface="Arial" panose="020B0604020202020204" pitchFamily="34" charset="0"/>
                  </a:rPr>
                  <a:t>Europe IT</a:t>
                </a:r>
              </a:p>
              <a:p>
                <a:pPr algn="ctr"/>
                <a:r>
                  <a:rPr lang="de-DE" sz="1200" b="1" i="1">
                    <a:solidFill>
                      <a:srgbClr val="FFFF00"/>
                    </a:solidFill>
                    <a:latin typeface="Arial Narrow" panose="020B0606020202030204" pitchFamily="34" charset="0"/>
                    <a:cs typeface="Arial" panose="020B0604020202020204" pitchFamily="34" charset="0"/>
                  </a:rPr>
                  <a:t>AS4 Service</a:t>
                </a:r>
              </a:p>
              <a:p>
                <a:pPr algn="ctr"/>
                <a:endParaRPr lang="de-CH" sz="1350" b="1">
                  <a:latin typeface="Arial Narrow" panose="020B0606020202030204" pitchFamily="34" charset="0"/>
                  <a:cs typeface="Arial" panose="020B0604020202020204" pitchFamily="34" charset="0"/>
                </a:endParaRPr>
              </a:p>
            </p:txBody>
          </p:sp>
          <p:sp>
            <p:nvSpPr>
              <p:cNvPr id="39" name="Rectangle 40">
                <a:extLst>
                  <a:ext uri="{FF2B5EF4-FFF2-40B4-BE49-F238E27FC236}">
                    <a16:creationId xmlns:a16="http://schemas.microsoft.com/office/drawing/2014/main" id="{4244D446-B51A-41AA-B1D6-5BC989EFBE1A}"/>
                  </a:ext>
                </a:extLst>
              </p:cNvPr>
              <p:cNvSpPr/>
              <p:nvPr/>
            </p:nvSpPr>
            <p:spPr bwMode="auto">
              <a:xfrm>
                <a:off x="4058518" y="1918336"/>
                <a:ext cx="1965273" cy="499782"/>
              </a:xfrm>
              <a:prstGeom prst="rect">
                <a:avLst/>
              </a:prstGeom>
              <a:solidFill>
                <a:srgbClr val="FFFF00"/>
              </a:solidFill>
              <a:ln w="9525" cap="flat" cmpd="sng" algn="ctr">
                <a:solidFill>
                  <a:schemeClr val="tx1"/>
                </a:solidFill>
                <a:prstDash val="solid"/>
                <a:round/>
                <a:headEnd type="none" w="med" len="med"/>
                <a:tailEnd type="none" w="med" len="med"/>
              </a:ln>
              <a:effectLst/>
            </p:spPr>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sz="1000" b="1" kern="1200">
                    <a:solidFill>
                      <a:schemeClr val="tx1"/>
                    </a:solidFill>
                    <a:latin typeface="Arial" charset="0"/>
                    <a:ea typeface="+mn-ea"/>
                    <a:cs typeface="Arial" charset="0"/>
                  </a:defRPr>
                </a:lvl1pPr>
                <a:lvl2pPr marL="457200" algn="l" rtl="0" fontAlgn="base">
                  <a:spcBef>
                    <a:spcPct val="0"/>
                  </a:spcBef>
                  <a:spcAft>
                    <a:spcPct val="0"/>
                  </a:spcAft>
                  <a:defRPr sz="1000" b="1" kern="1200">
                    <a:solidFill>
                      <a:schemeClr val="tx1"/>
                    </a:solidFill>
                    <a:latin typeface="Arial" charset="0"/>
                    <a:ea typeface="+mn-ea"/>
                    <a:cs typeface="Arial" charset="0"/>
                  </a:defRPr>
                </a:lvl2pPr>
                <a:lvl3pPr marL="914400" algn="l" rtl="0" fontAlgn="base">
                  <a:spcBef>
                    <a:spcPct val="0"/>
                  </a:spcBef>
                  <a:spcAft>
                    <a:spcPct val="0"/>
                  </a:spcAft>
                  <a:defRPr sz="1000" b="1" kern="1200">
                    <a:solidFill>
                      <a:schemeClr val="tx1"/>
                    </a:solidFill>
                    <a:latin typeface="Arial" charset="0"/>
                    <a:ea typeface="+mn-ea"/>
                    <a:cs typeface="Arial" charset="0"/>
                  </a:defRPr>
                </a:lvl3pPr>
                <a:lvl4pPr marL="1371600" algn="l" rtl="0" fontAlgn="base">
                  <a:spcBef>
                    <a:spcPct val="0"/>
                  </a:spcBef>
                  <a:spcAft>
                    <a:spcPct val="0"/>
                  </a:spcAft>
                  <a:defRPr sz="1000" b="1" kern="1200">
                    <a:solidFill>
                      <a:schemeClr val="tx1"/>
                    </a:solidFill>
                    <a:latin typeface="Arial" charset="0"/>
                    <a:ea typeface="+mn-ea"/>
                    <a:cs typeface="Arial" charset="0"/>
                  </a:defRPr>
                </a:lvl4pPr>
                <a:lvl5pPr marL="1828800" algn="l" rtl="0" fontAlgn="base">
                  <a:spcBef>
                    <a:spcPct val="0"/>
                  </a:spcBef>
                  <a:spcAft>
                    <a:spcPct val="0"/>
                  </a:spcAft>
                  <a:defRPr sz="1000" b="1" kern="1200">
                    <a:solidFill>
                      <a:schemeClr val="tx1"/>
                    </a:solidFill>
                    <a:latin typeface="Arial" charset="0"/>
                    <a:ea typeface="+mn-ea"/>
                    <a:cs typeface="Arial" charset="0"/>
                  </a:defRPr>
                </a:lvl5pPr>
                <a:lvl6pPr marL="2286000" algn="l" defTabSz="914400" rtl="0" eaLnBrk="1" latinLnBrk="0" hangingPunct="1">
                  <a:defRPr sz="1000" b="1" kern="1200">
                    <a:solidFill>
                      <a:schemeClr val="tx1"/>
                    </a:solidFill>
                    <a:latin typeface="Arial" charset="0"/>
                    <a:ea typeface="+mn-ea"/>
                    <a:cs typeface="Arial" charset="0"/>
                  </a:defRPr>
                </a:lvl6pPr>
                <a:lvl7pPr marL="2743200" algn="l" defTabSz="914400" rtl="0" eaLnBrk="1" latinLnBrk="0" hangingPunct="1">
                  <a:defRPr sz="1000" b="1" kern="1200">
                    <a:solidFill>
                      <a:schemeClr val="tx1"/>
                    </a:solidFill>
                    <a:latin typeface="Arial" charset="0"/>
                    <a:ea typeface="+mn-ea"/>
                    <a:cs typeface="Arial" charset="0"/>
                  </a:defRPr>
                </a:lvl7pPr>
                <a:lvl8pPr marL="3200400" algn="l" defTabSz="914400" rtl="0" eaLnBrk="1" latinLnBrk="0" hangingPunct="1">
                  <a:defRPr sz="1000" b="1" kern="1200">
                    <a:solidFill>
                      <a:schemeClr val="tx1"/>
                    </a:solidFill>
                    <a:latin typeface="Arial" charset="0"/>
                    <a:ea typeface="+mn-ea"/>
                    <a:cs typeface="Arial" charset="0"/>
                  </a:defRPr>
                </a:lvl8pPr>
                <a:lvl9pPr marL="3657600" algn="l" defTabSz="914400" rtl="0" eaLnBrk="1" latinLnBrk="0" hangingPunct="1">
                  <a:defRPr sz="1000" b="1" kern="1200">
                    <a:solidFill>
                      <a:schemeClr val="tx1"/>
                    </a:solidFill>
                    <a:latin typeface="Arial" charset="0"/>
                    <a:ea typeface="+mn-ea"/>
                    <a:cs typeface="Arial" charset="0"/>
                  </a:defRPr>
                </a:lvl9pPr>
              </a:lstStyle>
              <a:p>
                <a:pPr algn="ctr"/>
                <a:r>
                  <a:rPr lang="de-CH" sz="675"/>
                  <a:t>AS4</a:t>
                </a:r>
              </a:p>
              <a:p>
                <a:pPr algn="ctr"/>
                <a:r>
                  <a:rPr lang="de-CH" sz="675"/>
                  <a:t>Service</a:t>
                </a:r>
                <a:endParaRPr lang="en-US" sz="675"/>
              </a:p>
            </p:txBody>
          </p:sp>
          <p:sp>
            <p:nvSpPr>
              <p:cNvPr id="40" name="Pfeil: nach rechts 39">
                <a:extLst>
                  <a:ext uri="{FF2B5EF4-FFF2-40B4-BE49-F238E27FC236}">
                    <a16:creationId xmlns:a16="http://schemas.microsoft.com/office/drawing/2014/main" id="{8475327D-B6E6-4E10-94F5-962EA520C2DC}"/>
                  </a:ext>
                </a:extLst>
              </p:cNvPr>
              <p:cNvSpPr/>
              <p:nvPr/>
            </p:nvSpPr>
            <p:spPr>
              <a:xfrm>
                <a:off x="6037872" y="2085432"/>
                <a:ext cx="968828" cy="158158"/>
              </a:xfrm>
              <a:prstGeom prst="right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a:p>
            </p:txBody>
          </p:sp>
        </p:grpSp>
      </p:grpSp>
      <p:sp>
        <p:nvSpPr>
          <p:cNvPr id="41" name="Abgerundetes Rechteck 29">
            <a:extLst>
              <a:ext uri="{FF2B5EF4-FFF2-40B4-BE49-F238E27FC236}">
                <a16:creationId xmlns:a16="http://schemas.microsoft.com/office/drawing/2014/main" id="{4508401D-E1C8-4EC9-A36E-66EC4629603D}"/>
              </a:ext>
            </a:extLst>
          </p:cNvPr>
          <p:cNvSpPr/>
          <p:nvPr/>
        </p:nvSpPr>
        <p:spPr>
          <a:xfrm>
            <a:off x="4047695" y="2789292"/>
            <a:ext cx="1334619" cy="74092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a:p>
            <a:pPr algn="ctr"/>
            <a:endParaRPr lang="de-DE" sz="675" b="1"/>
          </a:p>
          <a:p>
            <a:pPr algn="ctr"/>
            <a:endParaRPr lang="de-DE" sz="675" b="1"/>
          </a:p>
          <a:p>
            <a:pPr algn="ctr"/>
            <a:r>
              <a:rPr lang="de-DE" sz="1050" b="1"/>
              <a:t>EU </a:t>
            </a:r>
            <a:r>
              <a:rPr lang="de-DE" sz="1050" b="1" err="1"/>
              <a:t>WebTrader</a:t>
            </a:r>
            <a:endParaRPr lang="de-DE" sz="1050" b="1"/>
          </a:p>
          <a:p>
            <a:pPr algn="ctr"/>
            <a:endParaRPr lang="de-DE" sz="1050" b="1"/>
          </a:p>
          <a:p>
            <a:pPr algn="ctr"/>
            <a:endParaRPr lang="de-DE" sz="1050" b="1"/>
          </a:p>
        </p:txBody>
      </p:sp>
      <p:cxnSp>
        <p:nvCxnSpPr>
          <p:cNvPr id="42" name="Straight Arrow Connector 105">
            <a:extLst>
              <a:ext uri="{FF2B5EF4-FFF2-40B4-BE49-F238E27FC236}">
                <a16:creationId xmlns:a16="http://schemas.microsoft.com/office/drawing/2014/main" id="{2878248E-DAC9-4962-A43A-835F891AD34A}"/>
              </a:ext>
            </a:extLst>
          </p:cNvPr>
          <p:cNvCxnSpPr>
            <a:cxnSpLocks/>
            <a:stCxn id="54" idx="6"/>
            <a:endCxn id="41" idx="1"/>
          </p:cNvCxnSpPr>
          <p:nvPr/>
        </p:nvCxnSpPr>
        <p:spPr bwMode="auto">
          <a:xfrm>
            <a:off x="2405822" y="3159464"/>
            <a:ext cx="1641874" cy="290"/>
          </a:xfrm>
          <a:prstGeom prst="straightConnector1">
            <a:avLst/>
          </a:prstGeom>
          <a:solidFill>
            <a:schemeClr val="accent1"/>
          </a:solidFill>
          <a:ln w="19050" cap="flat" cmpd="sng" algn="ctr">
            <a:solidFill>
              <a:schemeClr val="tx1"/>
            </a:solidFill>
            <a:prstDash val="solid"/>
            <a:round/>
            <a:headEnd type="none" w="med" len="med"/>
            <a:tailEnd type="triangle"/>
          </a:ln>
          <a:effectLst/>
        </p:spPr>
      </p:cxnSp>
      <p:pic>
        <p:nvPicPr>
          <p:cNvPr id="43" name="Grafik 42">
            <a:extLst>
              <a:ext uri="{FF2B5EF4-FFF2-40B4-BE49-F238E27FC236}">
                <a16:creationId xmlns:a16="http://schemas.microsoft.com/office/drawing/2014/main" id="{8197E5B9-4BB8-41A4-9936-2316858A9D7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flipH="1">
            <a:off x="3597508" y="2768733"/>
            <a:ext cx="362963" cy="380889"/>
          </a:xfrm>
          <a:prstGeom prst="rect">
            <a:avLst/>
          </a:prstGeom>
        </p:spPr>
      </p:pic>
      <p:sp>
        <p:nvSpPr>
          <p:cNvPr id="44" name="Pfeil: nach rechts 43">
            <a:extLst>
              <a:ext uri="{FF2B5EF4-FFF2-40B4-BE49-F238E27FC236}">
                <a16:creationId xmlns:a16="http://schemas.microsoft.com/office/drawing/2014/main" id="{2BF61906-9FB0-4D95-A47E-502588475F4F}"/>
              </a:ext>
            </a:extLst>
          </p:cNvPr>
          <p:cNvSpPr/>
          <p:nvPr/>
        </p:nvSpPr>
        <p:spPr>
          <a:xfrm rot="18802841">
            <a:off x="5155795" y="2543609"/>
            <a:ext cx="1471583" cy="96128"/>
          </a:xfrm>
          <a:prstGeom prst="right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a:p>
        </p:txBody>
      </p:sp>
      <p:sp>
        <p:nvSpPr>
          <p:cNvPr id="45" name="Rectangle 40">
            <a:extLst>
              <a:ext uri="{FF2B5EF4-FFF2-40B4-BE49-F238E27FC236}">
                <a16:creationId xmlns:a16="http://schemas.microsoft.com/office/drawing/2014/main" id="{B65569FE-1190-42C6-8269-562B9AEBF9B1}"/>
              </a:ext>
            </a:extLst>
          </p:cNvPr>
          <p:cNvSpPr/>
          <p:nvPr/>
        </p:nvSpPr>
        <p:spPr bwMode="auto">
          <a:xfrm>
            <a:off x="2661218" y="3054910"/>
            <a:ext cx="674762" cy="231837"/>
          </a:xfrm>
          <a:prstGeom prst="rect">
            <a:avLst/>
          </a:prstGeom>
          <a:solidFill>
            <a:schemeClr val="accent6">
              <a:lumMod val="75000"/>
            </a:schemeClr>
          </a:solidFill>
          <a:ln w="9525" cap="flat" cmpd="sng" algn="ctr">
            <a:solidFill>
              <a:schemeClr val="tx1"/>
            </a:solidFill>
            <a:prstDash val="solid"/>
            <a:round/>
            <a:headEnd type="none" w="med" len="med"/>
            <a:tailEnd type="none" w="med" len="med"/>
          </a:ln>
          <a:effectLst/>
        </p:spPr>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sz="1000" b="1" kern="1200">
                <a:solidFill>
                  <a:schemeClr val="tx1"/>
                </a:solidFill>
                <a:latin typeface="Arial" charset="0"/>
                <a:ea typeface="+mn-ea"/>
                <a:cs typeface="Arial" charset="0"/>
              </a:defRPr>
            </a:lvl1pPr>
            <a:lvl2pPr marL="457200" algn="l" rtl="0" fontAlgn="base">
              <a:spcBef>
                <a:spcPct val="0"/>
              </a:spcBef>
              <a:spcAft>
                <a:spcPct val="0"/>
              </a:spcAft>
              <a:defRPr sz="1000" b="1" kern="1200">
                <a:solidFill>
                  <a:schemeClr val="tx1"/>
                </a:solidFill>
                <a:latin typeface="Arial" charset="0"/>
                <a:ea typeface="+mn-ea"/>
                <a:cs typeface="Arial" charset="0"/>
              </a:defRPr>
            </a:lvl2pPr>
            <a:lvl3pPr marL="914400" algn="l" rtl="0" fontAlgn="base">
              <a:spcBef>
                <a:spcPct val="0"/>
              </a:spcBef>
              <a:spcAft>
                <a:spcPct val="0"/>
              </a:spcAft>
              <a:defRPr sz="1000" b="1" kern="1200">
                <a:solidFill>
                  <a:schemeClr val="tx1"/>
                </a:solidFill>
                <a:latin typeface="Arial" charset="0"/>
                <a:ea typeface="+mn-ea"/>
                <a:cs typeface="Arial" charset="0"/>
              </a:defRPr>
            </a:lvl3pPr>
            <a:lvl4pPr marL="1371600" algn="l" rtl="0" fontAlgn="base">
              <a:spcBef>
                <a:spcPct val="0"/>
              </a:spcBef>
              <a:spcAft>
                <a:spcPct val="0"/>
              </a:spcAft>
              <a:defRPr sz="1000" b="1" kern="1200">
                <a:solidFill>
                  <a:schemeClr val="tx1"/>
                </a:solidFill>
                <a:latin typeface="Arial" charset="0"/>
                <a:ea typeface="+mn-ea"/>
                <a:cs typeface="Arial" charset="0"/>
              </a:defRPr>
            </a:lvl4pPr>
            <a:lvl5pPr marL="1828800" algn="l" rtl="0" fontAlgn="base">
              <a:spcBef>
                <a:spcPct val="0"/>
              </a:spcBef>
              <a:spcAft>
                <a:spcPct val="0"/>
              </a:spcAft>
              <a:defRPr sz="1000" b="1" kern="1200">
                <a:solidFill>
                  <a:schemeClr val="tx1"/>
                </a:solidFill>
                <a:latin typeface="Arial" charset="0"/>
                <a:ea typeface="+mn-ea"/>
                <a:cs typeface="Arial" charset="0"/>
              </a:defRPr>
            </a:lvl5pPr>
            <a:lvl6pPr marL="2286000" algn="l" defTabSz="914400" rtl="0" eaLnBrk="1" latinLnBrk="0" hangingPunct="1">
              <a:defRPr sz="1000" b="1" kern="1200">
                <a:solidFill>
                  <a:schemeClr val="tx1"/>
                </a:solidFill>
                <a:latin typeface="Arial" charset="0"/>
                <a:ea typeface="+mn-ea"/>
                <a:cs typeface="Arial" charset="0"/>
              </a:defRPr>
            </a:lvl6pPr>
            <a:lvl7pPr marL="2743200" algn="l" defTabSz="914400" rtl="0" eaLnBrk="1" latinLnBrk="0" hangingPunct="1">
              <a:defRPr sz="1000" b="1" kern="1200">
                <a:solidFill>
                  <a:schemeClr val="tx1"/>
                </a:solidFill>
                <a:latin typeface="Arial" charset="0"/>
                <a:ea typeface="+mn-ea"/>
                <a:cs typeface="Arial" charset="0"/>
              </a:defRPr>
            </a:lvl7pPr>
            <a:lvl8pPr marL="3200400" algn="l" defTabSz="914400" rtl="0" eaLnBrk="1" latinLnBrk="0" hangingPunct="1">
              <a:defRPr sz="1000" b="1" kern="1200">
                <a:solidFill>
                  <a:schemeClr val="tx1"/>
                </a:solidFill>
                <a:latin typeface="Arial" charset="0"/>
                <a:ea typeface="+mn-ea"/>
                <a:cs typeface="Arial" charset="0"/>
              </a:defRPr>
            </a:lvl8pPr>
            <a:lvl9pPr marL="3657600" algn="l" defTabSz="914400" rtl="0" eaLnBrk="1" latinLnBrk="0" hangingPunct="1">
              <a:defRPr sz="1000" b="1" kern="1200">
                <a:solidFill>
                  <a:schemeClr val="tx1"/>
                </a:solidFill>
                <a:latin typeface="Arial" charset="0"/>
                <a:ea typeface="+mn-ea"/>
                <a:cs typeface="Arial" charset="0"/>
              </a:defRPr>
            </a:lvl9pPr>
          </a:lstStyle>
          <a:p>
            <a:pPr algn="ctr"/>
            <a:r>
              <a:rPr lang="de-CH" sz="675">
                <a:solidFill>
                  <a:schemeClr val="bg1"/>
                </a:solidFill>
              </a:rPr>
              <a:t>XML Export</a:t>
            </a:r>
            <a:endParaRPr lang="en-US" sz="675">
              <a:solidFill>
                <a:schemeClr val="bg1"/>
              </a:solidFill>
            </a:endParaRPr>
          </a:p>
        </p:txBody>
      </p:sp>
      <p:grpSp>
        <p:nvGrpSpPr>
          <p:cNvPr id="46" name="Gruppieren 45">
            <a:extLst>
              <a:ext uri="{FF2B5EF4-FFF2-40B4-BE49-F238E27FC236}">
                <a16:creationId xmlns:a16="http://schemas.microsoft.com/office/drawing/2014/main" id="{05D19471-02AF-49A9-B98A-BE8AD76FAC98}"/>
              </a:ext>
            </a:extLst>
          </p:cNvPr>
          <p:cNvGrpSpPr/>
          <p:nvPr/>
        </p:nvGrpSpPr>
        <p:grpSpPr>
          <a:xfrm>
            <a:off x="2253861" y="3646821"/>
            <a:ext cx="4245819" cy="395292"/>
            <a:chOff x="1481148" y="4369165"/>
            <a:chExt cx="5679212" cy="527056"/>
          </a:xfrm>
        </p:grpSpPr>
        <p:pic>
          <p:nvPicPr>
            <p:cNvPr id="47" name="Grafik 46">
              <a:extLst>
                <a:ext uri="{FF2B5EF4-FFF2-40B4-BE49-F238E27FC236}">
                  <a16:creationId xmlns:a16="http://schemas.microsoft.com/office/drawing/2014/main" id="{391331A4-0C7B-45CE-8F3E-D9127A1DBC6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flipH="1">
              <a:off x="1481148" y="4369165"/>
              <a:ext cx="502251" cy="527056"/>
            </a:xfrm>
            <a:prstGeom prst="rect">
              <a:avLst/>
            </a:prstGeom>
          </p:spPr>
        </p:pic>
        <p:sp>
          <p:nvSpPr>
            <p:cNvPr id="48" name="Pfeil: nach rechts 47">
              <a:extLst>
                <a:ext uri="{FF2B5EF4-FFF2-40B4-BE49-F238E27FC236}">
                  <a16:creationId xmlns:a16="http://schemas.microsoft.com/office/drawing/2014/main" id="{590D86BA-0A74-423A-82FF-04FD4743E1DB}"/>
                </a:ext>
              </a:extLst>
            </p:cNvPr>
            <p:cNvSpPr/>
            <p:nvPr/>
          </p:nvSpPr>
          <p:spPr>
            <a:xfrm>
              <a:off x="1979280" y="4656470"/>
              <a:ext cx="5181080" cy="111773"/>
            </a:xfrm>
            <a:prstGeom prst="right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a:p>
          </p:txBody>
        </p:sp>
      </p:grpSp>
      <p:sp>
        <p:nvSpPr>
          <p:cNvPr id="49" name="Flowchart: Magnetic Disk 95">
            <a:extLst>
              <a:ext uri="{FF2B5EF4-FFF2-40B4-BE49-F238E27FC236}">
                <a16:creationId xmlns:a16="http://schemas.microsoft.com/office/drawing/2014/main" id="{AA0BE285-1791-4E7C-AE8C-BD2F0B7744FE}"/>
              </a:ext>
            </a:extLst>
          </p:cNvPr>
          <p:cNvSpPr/>
          <p:nvPr/>
        </p:nvSpPr>
        <p:spPr bwMode="auto">
          <a:xfrm>
            <a:off x="4320606" y="4188355"/>
            <a:ext cx="833147" cy="521132"/>
          </a:xfrm>
          <a:prstGeom prst="flowChartMagneticDisk">
            <a:avLst/>
          </a:prstGeom>
          <a:solidFill>
            <a:schemeClr val="bg2">
              <a:lumMod val="60000"/>
              <a:lumOff val="40000"/>
            </a:schemeClr>
          </a:solidFill>
          <a:ln w="9525" cap="flat" cmpd="sng" algn="ctr">
            <a:solidFill>
              <a:schemeClr val="tx1"/>
            </a:solid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defPPr>
              <a:defRPr lang="en-US"/>
            </a:defPPr>
            <a:lvl1pPr algn="l" rtl="0" fontAlgn="base">
              <a:spcBef>
                <a:spcPct val="0"/>
              </a:spcBef>
              <a:spcAft>
                <a:spcPct val="0"/>
              </a:spcAft>
              <a:defRPr sz="1000" b="1" kern="1200">
                <a:solidFill>
                  <a:schemeClr val="tx1"/>
                </a:solidFill>
                <a:latin typeface="Arial" charset="0"/>
                <a:ea typeface="+mn-ea"/>
                <a:cs typeface="Arial" charset="0"/>
              </a:defRPr>
            </a:lvl1pPr>
            <a:lvl2pPr marL="457200" algn="l" rtl="0" fontAlgn="base">
              <a:spcBef>
                <a:spcPct val="0"/>
              </a:spcBef>
              <a:spcAft>
                <a:spcPct val="0"/>
              </a:spcAft>
              <a:defRPr sz="1000" b="1" kern="1200">
                <a:solidFill>
                  <a:schemeClr val="tx1"/>
                </a:solidFill>
                <a:latin typeface="Arial" charset="0"/>
                <a:ea typeface="+mn-ea"/>
                <a:cs typeface="Arial" charset="0"/>
              </a:defRPr>
            </a:lvl2pPr>
            <a:lvl3pPr marL="914400" algn="l" rtl="0" fontAlgn="base">
              <a:spcBef>
                <a:spcPct val="0"/>
              </a:spcBef>
              <a:spcAft>
                <a:spcPct val="0"/>
              </a:spcAft>
              <a:defRPr sz="1000" b="1" kern="1200">
                <a:solidFill>
                  <a:schemeClr val="tx1"/>
                </a:solidFill>
                <a:latin typeface="Arial" charset="0"/>
                <a:ea typeface="+mn-ea"/>
                <a:cs typeface="Arial" charset="0"/>
              </a:defRPr>
            </a:lvl3pPr>
            <a:lvl4pPr marL="1371600" algn="l" rtl="0" fontAlgn="base">
              <a:spcBef>
                <a:spcPct val="0"/>
              </a:spcBef>
              <a:spcAft>
                <a:spcPct val="0"/>
              </a:spcAft>
              <a:defRPr sz="1000" b="1" kern="1200">
                <a:solidFill>
                  <a:schemeClr val="tx1"/>
                </a:solidFill>
                <a:latin typeface="Arial" charset="0"/>
                <a:ea typeface="+mn-ea"/>
                <a:cs typeface="Arial" charset="0"/>
              </a:defRPr>
            </a:lvl4pPr>
            <a:lvl5pPr marL="1828800" algn="l" rtl="0" fontAlgn="base">
              <a:spcBef>
                <a:spcPct val="0"/>
              </a:spcBef>
              <a:spcAft>
                <a:spcPct val="0"/>
              </a:spcAft>
              <a:defRPr sz="1000" b="1" kern="1200">
                <a:solidFill>
                  <a:schemeClr val="tx1"/>
                </a:solidFill>
                <a:latin typeface="Arial" charset="0"/>
                <a:ea typeface="+mn-ea"/>
                <a:cs typeface="Arial" charset="0"/>
              </a:defRPr>
            </a:lvl5pPr>
            <a:lvl6pPr marL="2286000" algn="l" defTabSz="914400" rtl="0" eaLnBrk="1" latinLnBrk="0" hangingPunct="1">
              <a:defRPr sz="1000" b="1" kern="1200">
                <a:solidFill>
                  <a:schemeClr val="tx1"/>
                </a:solidFill>
                <a:latin typeface="Arial" charset="0"/>
                <a:ea typeface="+mn-ea"/>
                <a:cs typeface="Arial" charset="0"/>
              </a:defRPr>
            </a:lvl6pPr>
            <a:lvl7pPr marL="2743200" algn="l" defTabSz="914400" rtl="0" eaLnBrk="1" latinLnBrk="0" hangingPunct="1">
              <a:defRPr sz="1000" b="1" kern="1200">
                <a:solidFill>
                  <a:schemeClr val="tx1"/>
                </a:solidFill>
                <a:latin typeface="Arial" charset="0"/>
                <a:ea typeface="+mn-ea"/>
                <a:cs typeface="Arial" charset="0"/>
              </a:defRPr>
            </a:lvl7pPr>
            <a:lvl8pPr marL="3200400" algn="l" defTabSz="914400" rtl="0" eaLnBrk="1" latinLnBrk="0" hangingPunct="1">
              <a:defRPr sz="1000" b="1" kern="1200">
                <a:solidFill>
                  <a:schemeClr val="tx1"/>
                </a:solidFill>
                <a:latin typeface="Arial" charset="0"/>
                <a:ea typeface="+mn-ea"/>
                <a:cs typeface="Arial" charset="0"/>
              </a:defRPr>
            </a:lvl8pPr>
            <a:lvl9pPr marL="3657600" algn="l" defTabSz="914400" rtl="0" eaLnBrk="1" latinLnBrk="0" hangingPunct="1">
              <a:defRPr sz="1000" b="1" kern="1200">
                <a:solidFill>
                  <a:schemeClr val="tx1"/>
                </a:solidFill>
                <a:latin typeface="Arial" charset="0"/>
                <a:ea typeface="+mn-ea"/>
                <a:cs typeface="Arial" charset="0"/>
              </a:defRPr>
            </a:lvl9pPr>
          </a:lstStyle>
          <a:p>
            <a:pPr algn="ctr" defTabSz="514350"/>
            <a:r>
              <a:rPr lang="de-CH" sz="1050"/>
              <a:t>Third Party</a:t>
            </a:r>
            <a:endParaRPr lang="de-CH" sz="825"/>
          </a:p>
        </p:txBody>
      </p:sp>
      <p:sp>
        <p:nvSpPr>
          <p:cNvPr id="50" name="Rectangle 29">
            <a:extLst>
              <a:ext uri="{FF2B5EF4-FFF2-40B4-BE49-F238E27FC236}">
                <a16:creationId xmlns:a16="http://schemas.microsoft.com/office/drawing/2014/main" id="{B1489C1C-A0E8-4E1C-893F-FA1387170A9F}"/>
              </a:ext>
            </a:extLst>
          </p:cNvPr>
          <p:cNvSpPr/>
          <p:nvPr/>
        </p:nvSpPr>
        <p:spPr bwMode="auto">
          <a:xfrm>
            <a:off x="2673459" y="3507448"/>
            <a:ext cx="670294" cy="135103"/>
          </a:xfrm>
          <a:prstGeom prst="rect">
            <a:avLst/>
          </a:prstGeom>
          <a:solidFill>
            <a:srgbClr val="95DE70"/>
          </a:solidFill>
          <a:ln w="9525"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en-US"/>
            </a:defPPr>
            <a:lvl1pPr algn="l" rtl="0" fontAlgn="base">
              <a:spcBef>
                <a:spcPct val="0"/>
              </a:spcBef>
              <a:spcAft>
                <a:spcPct val="0"/>
              </a:spcAft>
              <a:defRPr sz="1000" b="1" kern="1200">
                <a:solidFill>
                  <a:schemeClr val="tx1"/>
                </a:solidFill>
                <a:latin typeface="Arial" charset="0"/>
                <a:ea typeface="+mn-ea"/>
                <a:cs typeface="Arial" charset="0"/>
              </a:defRPr>
            </a:lvl1pPr>
            <a:lvl2pPr marL="457200" algn="l" rtl="0" fontAlgn="base">
              <a:spcBef>
                <a:spcPct val="0"/>
              </a:spcBef>
              <a:spcAft>
                <a:spcPct val="0"/>
              </a:spcAft>
              <a:defRPr sz="1000" b="1" kern="1200">
                <a:solidFill>
                  <a:schemeClr val="tx1"/>
                </a:solidFill>
                <a:latin typeface="Arial" charset="0"/>
                <a:ea typeface="+mn-ea"/>
                <a:cs typeface="Arial" charset="0"/>
              </a:defRPr>
            </a:lvl2pPr>
            <a:lvl3pPr marL="914400" algn="l" rtl="0" fontAlgn="base">
              <a:spcBef>
                <a:spcPct val="0"/>
              </a:spcBef>
              <a:spcAft>
                <a:spcPct val="0"/>
              </a:spcAft>
              <a:defRPr sz="1000" b="1" kern="1200">
                <a:solidFill>
                  <a:schemeClr val="tx1"/>
                </a:solidFill>
                <a:latin typeface="Arial" charset="0"/>
                <a:ea typeface="+mn-ea"/>
                <a:cs typeface="Arial" charset="0"/>
              </a:defRPr>
            </a:lvl3pPr>
            <a:lvl4pPr marL="1371600" algn="l" rtl="0" fontAlgn="base">
              <a:spcBef>
                <a:spcPct val="0"/>
              </a:spcBef>
              <a:spcAft>
                <a:spcPct val="0"/>
              </a:spcAft>
              <a:defRPr sz="1000" b="1" kern="1200">
                <a:solidFill>
                  <a:schemeClr val="tx1"/>
                </a:solidFill>
                <a:latin typeface="Arial" charset="0"/>
                <a:ea typeface="+mn-ea"/>
                <a:cs typeface="Arial" charset="0"/>
              </a:defRPr>
            </a:lvl4pPr>
            <a:lvl5pPr marL="1828800" algn="l" rtl="0" fontAlgn="base">
              <a:spcBef>
                <a:spcPct val="0"/>
              </a:spcBef>
              <a:spcAft>
                <a:spcPct val="0"/>
              </a:spcAft>
              <a:defRPr sz="1000" b="1" kern="1200">
                <a:solidFill>
                  <a:schemeClr val="tx1"/>
                </a:solidFill>
                <a:latin typeface="Arial" charset="0"/>
                <a:ea typeface="+mn-ea"/>
                <a:cs typeface="Arial" charset="0"/>
              </a:defRPr>
            </a:lvl5pPr>
            <a:lvl6pPr marL="2286000" algn="l" defTabSz="914400" rtl="0" eaLnBrk="1" latinLnBrk="0" hangingPunct="1">
              <a:defRPr sz="1000" b="1" kern="1200">
                <a:solidFill>
                  <a:schemeClr val="tx1"/>
                </a:solidFill>
                <a:latin typeface="Arial" charset="0"/>
                <a:ea typeface="+mn-ea"/>
                <a:cs typeface="Arial" charset="0"/>
              </a:defRPr>
            </a:lvl6pPr>
            <a:lvl7pPr marL="2743200" algn="l" defTabSz="914400" rtl="0" eaLnBrk="1" latinLnBrk="0" hangingPunct="1">
              <a:defRPr sz="1000" b="1" kern="1200">
                <a:solidFill>
                  <a:schemeClr val="tx1"/>
                </a:solidFill>
                <a:latin typeface="Arial" charset="0"/>
                <a:ea typeface="+mn-ea"/>
                <a:cs typeface="Arial" charset="0"/>
              </a:defRPr>
            </a:lvl7pPr>
            <a:lvl8pPr marL="3200400" algn="l" defTabSz="914400" rtl="0" eaLnBrk="1" latinLnBrk="0" hangingPunct="1">
              <a:defRPr sz="1000" b="1" kern="1200">
                <a:solidFill>
                  <a:schemeClr val="tx1"/>
                </a:solidFill>
                <a:latin typeface="Arial" charset="0"/>
                <a:ea typeface="+mn-ea"/>
                <a:cs typeface="Arial" charset="0"/>
              </a:defRPr>
            </a:lvl8pPr>
            <a:lvl9pPr marL="3657600" algn="l" defTabSz="914400" rtl="0" eaLnBrk="1" latinLnBrk="0" hangingPunct="1">
              <a:defRPr sz="1000" b="1" kern="1200">
                <a:solidFill>
                  <a:schemeClr val="tx1"/>
                </a:solidFill>
                <a:latin typeface="Arial" charset="0"/>
                <a:ea typeface="+mn-ea"/>
                <a:cs typeface="Arial" charset="0"/>
              </a:defRPr>
            </a:lvl9pPr>
          </a:lstStyle>
          <a:p>
            <a:pPr algn="ctr"/>
            <a:r>
              <a:rPr lang="de-DE" sz="675"/>
              <a:t>Excel Export</a:t>
            </a:r>
            <a:endParaRPr lang="en-US" sz="675"/>
          </a:p>
        </p:txBody>
      </p:sp>
      <p:cxnSp>
        <p:nvCxnSpPr>
          <p:cNvPr id="51" name="Straight Arrow Connector 16">
            <a:extLst>
              <a:ext uri="{FF2B5EF4-FFF2-40B4-BE49-F238E27FC236}">
                <a16:creationId xmlns:a16="http://schemas.microsoft.com/office/drawing/2014/main" id="{DC5C6C4B-ED90-49DF-9F24-9BB77F239B89}"/>
              </a:ext>
            </a:extLst>
          </p:cNvPr>
          <p:cNvCxnSpPr>
            <a:cxnSpLocks/>
            <a:stCxn id="54" idx="5"/>
            <a:endCxn id="50" idx="1"/>
          </p:cNvCxnSpPr>
          <p:nvPr/>
        </p:nvCxnSpPr>
        <p:spPr bwMode="auto">
          <a:xfrm>
            <a:off x="2394031" y="3192165"/>
            <a:ext cx="279428" cy="382835"/>
          </a:xfrm>
          <a:prstGeom prst="straightConnector1">
            <a:avLst/>
          </a:prstGeom>
          <a:solidFill>
            <a:schemeClr val="accent1"/>
          </a:solidFill>
          <a:ln w="19050" cap="flat" cmpd="sng" algn="ctr">
            <a:solidFill>
              <a:schemeClr val="tx1"/>
            </a:solidFill>
            <a:prstDash val="solid"/>
            <a:round/>
            <a:headEnd type="none" w="med" len="med"/>
            <a:tailEnd type="triangle"/>
          </a:ln>
          <a:effectLst/>
        </p:spPr>
      </p:cxnSp>
      <p:cxnSp>
        <p:nvCxnSpPr>
          <p:cNvPr id="52" name="Straight Arrow Connector 105">
            <a:extLst>
              <a:ext uri="{FF2B5EF4-FFF2-40B4-BE49-F238E27FC236}">
                <a16:creationId xmlns:a16="http://schemas.microsoft.com/office/drawing/2014/main" id="{1572D463-AB96-436A-A7C1-704DCB703AC4}"/>
              </a:ext>
            </a:extLst>
          </p:cNvPr>
          <p:cNvCxnSpPr>
            <a:cxnSpLocks/>
            <a:stCxn id="50" idx="3"/>
            <a:endCxn id="49" idx="2"/>
          </p:cNvCxnSpPr>
          <p:nvPr/>
        </p:nvCxnSpPr>
        <p:spPr bwMode="auto">
          <a:xfrm>
            <a:off x="3343753" y="3575000"/>
            <a:ext cx="976853" cy="873922"/>
          </a:xfrm>
          <a:prstGeom prst="straightConnector1">
            <a:avLst/>
          </a:prstGeom>
          <a:solidFill>
            <a:schemeClr val="accent1"/>
          </a:solidFill>
          <a:ln w="19050" cap="flat" cmpd="sng" algn="ctr">
            <a:solidFill>
              <a:schemeClr val="tx1"/>
            </a:solidFill>
            <a:prstDash val="sysDash"/>
            <a:round/>
            <a:headEnd type="none" w="med" len="med"/>
            <a:tailEnd type="triangle"/>
          </a:ln>
          <a:effectLst/>
        </p:spPr>
      </p:cxnSp>
      <p:cxnSp>
        <p:nvCxnSpPr>
          <p:cNvPr id="53" name="Straight Arrow Connector 105">
            <a:extLst>
              <a:ext uri="{FF2B5EF4-FFF2-40B4-BE49-F238E27FC236}">
                <a16:creationId xmlns:a16="http://schemas.microsoft.com/office/drawing/2014/main" id="{4240649C-2E0A-4DB3-91BC-19E15E1BFEC0}"/>
              </a:ext>
            </a:extLst>
          </p:cNvPr>
          <p:cNvCxnSpPr>
            <a:cxnSpLocks/>
            <a:stCxn id="49" idx="4"/>
          </p:cNvCxnSpPr>
          <p:nvPr/>
        </p:nvCxnSpPr>
        <p:spPr bwMode="auto">
          <a:xfrm flipV="1">
            <a:off x="5153753" y="2088081"/>
            <a:ext cx="1303918" cy="2360840"/>
          </a:xfrm>
          <a:prstGeom prst="straightConnector1">
            <a:avLst/>
          </a:prstGeom>
          <a:solidFill>
            <a:schemeClr val="accent1"/>
          </a:solidFill>
          <a:ln w="19050" cap="flat" cmpd="sng" algn="ctr">
            <a:solidFill>
              <a:schemeClr val="tx1"/>
            </a:solidFill>
            <a:prstDash val="sysDash"/>
            <a:round/>
            <a:headEnd type="none" w="med" len="med"/>
            <a:tailEnd type="triangle"/>
          </a:ln>
          <a:effectLst/>
        </p:spPr>
      </p:cxnSp>
      <p:sp>
        <p:nvSpPr>
          <p:cNvPr id="54" name="Ellipse 53">
            <a:extLst>
              <a:ext uri="{FF2B5EF4-FFF2-40B4-BE49-F238E27FC236}">
                <a16:creationId xmlns:a16="http://schemas.microsoft.com/office/drawing/2014/main" id="{921DF85A-9FF1-4C15-B85F-0783132994B6}"/>
              </a:ext>
            </a:extLst>
          </p:cNvPr>
          <p:cNvSpPr/>
          <p:nvPr/>
        </p:nvSpPr>
        <p:spPr>
          <a:xfrm>
            <a:off x="2325303" y="3113216"/>
            <a:ext cx="80519" cy="92494"/>
          </a:xfrm>
          <a:prstGeom prst="ellipse">
            <a:avLst/>
          </a:prstGeom>
          <a:solidFill>
            <a:srgbClr val="FF0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sz="1013"/>
          </a:p>
        </p:txBody>
      </p:sp>
      <p:sp>
        <p:nvSpPr>
          <p:cNvPr id="55" name="Textplatzhalter 5">
            <a:extLst>
              <a:ext uri="{FF2B5EF4-FFF2-40B4-BE49-F238E27FC236}">
                <a16:creationId xmlns:a16="http://schemas.microsoft.com/office/drawing/2014/main" id="{F415A60D-56C1-4E01-94FC-C67FF5D9A62F}"/>
              </a:ext>
            </a:extLst>
          </p:cNvPr>
          <p:cNvSpPr>
            <a:spLocks noGrp="1"/>
          </p:cNvSpPr>
          <p:nvPr>
            <p:ph type="body" sz="quarter" idx="18"/>
          </p:nvPr>
        </p:nvSpPr>
        <p:spPr>
          <a:xfrm>
            <a:off x="219267" y="794161"/>
            <a:ext cx="8600883" cy="330544"/>
          </a:xfrm>
        </p:spPr>
        <p:txBody>
          <a:bodyPr>
            <a:normAutofit/>
          </a:bodyPr>
          <a:lstStyle/>
          <a:p>
            <a:r>
              <a:rPr lang="de-DE"/>
              <a:t>2.10 EITC Web Service</a:t>
            </a:r>
            <a:endParaRPr lang="en-US"/>
          </a:p>
          <a:p>
            <a:endParaRPr lang="de-DE"/>
          </a:p>
          <a:p>
            <a:endParaRPr lang="de-DE"/>
          </a:p>
        </p:txBody>
      </p:sp>
      <p:sp>
        <p:nvSpPr>
          <p:cNvPr id="56" name="Titel 2">
            <a:extLst>
              <a:ext uri="{FF2B5EF4-FFF2-40B4-BE49-F238E27FC236}">
                <a16:creationId xmlns:a16="http://schemas.microsoft.com/office/drawing/2014/main" id="{096CED6B-765D-407C-AE07-03E9A8F40B35}"/>
              </a:ext>
            </a:extLst>
          </p:cNvPr>
          <p:cNvSpPr>
            <a:spLocks noGrp="1"/>
          </p:cNvSpPr>
          <p:nvPr>
            <p:ph type="title"/>
          </p:nvPr>
        </p:nvSpPr>
        <p:spPr>
          <a:xfrm>
            <a:off x="269393" y="78770"/>
            <a:ext cx="7907189" cy="330545"/>
          </a:xfrm>
        </p:spPr>
        <p:txBody>
          <a:bodyPr>
            <a:normAutofit fontScale="90000"/>
          </a:bodyPr>
          <a:lstStyle/>
          <a:p>
            <a:r>
              <a:rPr lang="de-DE"/>
              <a:t>2. </a:t>
            </a:r>
            <a:r>
              <a:rPr lang="en-US"/>
              <a:t>W</a:t>
            </a:r>
            <a:r>
              <a:rPr lang="en-US" sz="1800" b="1"/>
              <a:t>ork processes from the database to data transmission </a:t>
            </a:r>
            <a:endParaRPr lang="de-DE"/>
          </a:p>
        </p:txBody>
      </p:sp>
    </p:spTree>
    <p:extLst>
      <p:ext uri="{BB962C8B-B14F-4D97-AF65-F5344CB8AC3E}">
        <p14:creationId xmlns:p14="http://schemas.microsoft.com/office/powerpoint/2010/main" val="20979924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A19744FE-0122-4458-A703-1ED9355A7C5F}"/>
              </a:ext>
            </a:extLst>
          </p:cNvPr>
          <p:cNvSpPr>
            <a:spLocks noGrp="1"/>
          </p:cNvSpPr>
          <p:nvPr>
            <p:ph type="body" sz="quarter" idx="18"/>
          </p:nvPr>
        </p:nvSpPr>
        <p:spPr/>
        <p:txBody>
          <a:bodyPr>
            <a:normAutofit/>
          </a:bodyPr>
          <a:lstStyle/>
          <a:p>
            <a:r>
              <a:rPr lang="de-DE"/>
              <a:t>1.2 Code Lists</a:t>
            </a:r>
          </a:p>
        </p:txBody>
      </p:sp>
      <p:sp>
        <p:nvSpPr>
          <p:cNvPr id="7" name="Inhaltsplatzhalter 6">
            <a:extLst>
              <a:ext uri="{FF2B5EF4-FFF2-40B4-BE49-F238E27FC236}">
                <a16:creationId xmlns:a16="http://schemas.microsoft.com/office/drawing/2014/main" id="{22974B99-5E58-480B-92F2-3B8832468EBD}"/>
              </a:ext>
            </a:extLst>
          </p:cNvPr>
          <p:cNvSpPr>
            <a:spLocks noGrp="1"/>
          </p:cNvSpPr>
          <p:nvPr>
            <p:ph sz="quarter" idx="19"/>
          </p:nvPr>
        </p:nvSpPr>
        <p:spPr>
          <a:xfrm>
            <a:off x="219267" y="1291344"/>
            <a:ext cx="4278842" cy="3441877"/>
          </a:xfrm>
        </p:spPr>
        <p:txBody>
          <a:bodyPr/>
          <a:lstStyle/>
          <a:p>
            <a:pPr>
              <a:buFont typeface="Arial" panose="020B0604020202020204" pitchFamily="34" charset="0"/>
              <a:buChar char="•"/>
            </a:pPr>
            <a:r>
              <a:rPr lang="en-US"/>
              <a:t>Within these SAP transactions, default values are defined for the dropdown lists in UDI master data maintenance.</a:t>
            </a:r>
          </a:p>
          <a:p>
            <a:pPr>
              <a:buFont typeface="Arial" panose="020B0604020202020204" pitchFamily="34" charset="0"/>
              <a:buChar char="•"/>
            </a:pPr>
            <a:endParaRPr lang="en-US"/>
          </a:p>
          <a:p>
            <a:pPr>
              <a:buFont typeface="Arial" panose="020B0604020202020204" pitchFamily="34" charset="0"/>
              <a:buChar char="•"/>
            </a:pPr>
            <a:r>
              <a:rPr lang="en-US"/>
              <a:t>For this purpose, unit value ranges as well as approval data acquired by the respective company are defined.</a:t>
            </a:r>
          </a:p>
          <a:p>
            <a:pPr>
              <a:buFont typeface="Arial" panose="020B0604020202020204" pitchFamily="34" charset="0"/>
              <a:buChar char="•"/>
            </a:pPr>
            <a:endParaRPr lang="en-US"/>
          </a:p>
          <a:p>
            <a:pPr>
              <a:buFont typeface="Arial" panose="020B0604020202020204" pitchFamily="34" charset="0"/>
              <a:buChar char="•"/>
            </a:pPr>
            <a:r>
              <a:rPr lang="en-US"/>
              <a:t>In addition, these values serve as an input check and during data upload for the data validation.</a:t>
            </a:r>
          </a:p>
          <a:p>
            <a:pPr>
              <a:buFont typeface="Arial" panose="020B0604020202020204" pitchFamily="34" charset="0"/>
              <a:buChar char="•"/>
            </a:pPr>
            <a:endParaRPr lang="de-DE"/>
          </a:p>
        </p:txBody>
      </p:sp>
      <p:sp>
        <p:nvSpPr>
          <p:cNvPr id="3" name="Titel 2">
            <a:extLst>
              <a:ext uri="{FF2B5EF4-FFF2-40B4-BE49-F238E27FC236}">
                <a16:creationId xmlns:a16="http://schemas.microsoft.com/office/drawing/2014/main" id="{17403686-94D3-4A24-BDEB-07854049E7FA}"/>
              </a:ext>
            </a:extLst>
          </p:cNvPr>
          <p:cNvSpPr>
            <a:spLocks noGrp="1"/>
          </p:cNvSpPr>
          <p:nvPr>
            <p:ph type="title"/>
          </p:nvPr>
        </p:nvSpPr>
        <p:spPr/>
        <p:txBody>
          <a:bodyPr>
            <a:normAutofit fontScale="90000"/>
          </a:bodyPr>
          <a:lstStyle/>
          <a:p>
            <a:r>
              <a:rPr lang="de-DE"/>
              <a:t>1. </a:t>
            </a:r>
            <a:r>
              <a:rPr lang="de-DE" err="1"/>
              <a:t>Introduction</a:t>
            </a:r>
            <a:endParaRPr lang="de-DE"/>
          </a:p>
        </p:txBody>
      </p:sp>
      <p:pic>
        <p:nvPicPr>
          <p:cNvPr id="5" name="Grafik 4">
            <a:extLst>
              <a:ext uri="{FF2B5EF4-FFF2-40B4-BE49-F238E27FC236}">
                <a16:creationId xmlns:a16="http://schemas.microsoft.com/office/drawing/2014/main" id="{187C6413-4F21-46B5-A5AF-2CEA031720A5}"/>
              </a:ext>
            </a:extLst>
          </p:cNvPr>
          <p:cNvPicPr>
            <a:picLocks noChangeAspect="1"/>
          </p:cNvPicPr>
          <p:nvPr/>
        </p:nvPicPr>
        <p:blipFill rotWithShape="1">
          <a:blip r:embed="rId2"/>
          <a:srcRect/>
          <a:stretch/>
        </p:blipFill>
        <p:spPr>
          <a:xfrm>
            <a:off x="4822710" y="794161"/>
            <a:ext cx="3762890" cy="3852156"/>
          </a:xfrm>
          <a:prstGeom prst="rect">
            <a:avLst/>
          </a:prstGeom>
          <a:ln w="12700">
            <a:solidFill>
              <a:srgbClr val="2F5597"/>
            </a:solidFill>
          </a:ln>
          <a:effectLst/>
        </p:spPr>
      </p:pic>
    </p:spTree>
    <p:extLst>
      <p:ext uri="{BB962C8B-B14F-4D97-AF65-F5344CB8AC3E}">
        <p14:creationId xmlns:p14="http://schemas.microsoft.com/office/powerpoint/2010/main" val="11237640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ADD9E0F-ED1C-4F82-BD9D-F0239A2E7022}"/>
              </a:ext>
            </a:extLst>
          </p:cNvPr>
          <p:cNvSpPr>
            <a:spLocks noGrp="1"/>
          </p:cNvSpPr>
          <p:nvPr>
            <p:ph type="title"/>
          </p:nvPr>
        </p:nvSpPr>
        <p:spPr/>
        <p:txBody>
          <a:bodyPr>
            <a:normAutofit fontScale="90000"/>
          </a:bodyPr>
          <a:lstStyle/>
          <a:p>
            <a:r>
              <a:rPr lang="de-DE"/>
              <a:t>Appendix – Version Maintenance</a:t>
            </a:r>
          </a:p>
        </p:txBody>
      </p:sp>
      <p:sp>
        <p:nvSpPr>
          <p:cNvPr id="3" name="Textfeld 2">
            <a:extLst>
              <a:ext uri="{FF2B5EF4-FFF2-40B4-BE49-F238E27FC236}">
                <a16:creationId xmlns:a16="http://schemas.microsoft.com/office/drawing/2014/main" id="{6466603B-FAD5-41A7-B578-03DB8535B9DD}"/>
              </a:ext>
            </a:extLst>
          </p:cNvPr>
          <p:cNvSpPr txBox="1"/>
          <p:nvPr/>
        </p:nvSpPr>
        <p:spPr>
          <a:xfrm>
            <a:off x="274441" y="723106"/>
            <a:ext cx="8595117" cy="3970318"/>
          </a:xfrm>
          <a:prstGeom prst="rect">
            <a:avLst/>
          </a:prstGeom>
          <a:noFill/>
        </p:spPr>
        <p:txBody>
          <a:bodyPr wrap="square" rtlCol="0">
            <a:spAutoFit/>
          </a:bodyPr>
          <a:lstStyle/>
          <a:p>
            <a:r>
              <a:rPr lang="en-GB" sz="1200">
                <a:solidFill>
                  <a:srgbClr val="FF0000"/>
                </a:solidFill>
              </a:rPr>
              <a:t>What can I do in the UDI Version maintenance application?</a:t>
            </a:r>
          </a:p>
          <a:p>
            <a:r>
              <a:rPr lang="en-GB" sz="1200"/>
              <a:t>The version maintenance application allows you to change/maintain the internal version number of the following data areas:</a:t>
            </a:r>
          </a:p>
          <a:p>
            <a:pPr marL="171450" indent="-171450">
              <a:buFont typeface="Arial" panose="020B0604020202020204" pitchFamily="34" charset="0"/>
              <a:buChar char="•"/>
            </a:pPr>
            <a:r>
              <a:rPr lang="en-GB" sz="1200"/>
              <a:t>Basic UDI-DI</a:t>
            </a:r>
          </a:p>
          <a:p>
            <a:pPr marL="628650" lvl="1" indent="-171450">
              <a:buFont typeface="Arial" panose="020B0604020202020204" pitchFamily="34" charset="0"/>
              <a:buChar char="•"/>
            </a:pPr>
            <a:r>
              <a:rPr lang="en-GB" sz="1200"/>
              <a:t>BUDI - Clinical Investigation Links</a:t>
            </a:r>
          </a:p>
          <a:p>
            <a:pPr marL="628650" lvl="1" indent="-171450">
              <a:buFont typeface="Arial" panose="020B0604020202020204" pitchFamily="34" charset="0"/>
              <a:buChar char="•"/>
            </a:pPr>
            <a:r>
              <a:rPr lang="en-GB" sz="1200"/>
              <a:t>BUDI – Certification Links</a:t>
            </a:r>
          </a:p>
          <a:p>
            <a:pPr marL="171450" indent="-171450">
              <a:buFont typeface="Arial" panose="020B0604020202020204" pitchFamily="34" charset="0"/>
              <a:buChar char="•"/>
            </a:pPr>
            <a:r>
              <a:rPr lang="en-GB" sz="1200"/>
              <a:t>UDI-DI </a:t>
            </a:r>
          </a:p>
          <a:p>
            <a:pPr marL="628650" lvl="1" indent="-171450">
              <a:buFont typeface="Arial" panose="020B0604020202020204" pitchFamily="34" charset="0"/>
              <a:buChar char="•"/>
            </a:pPr>
            <a:r>
              <a:rPr lang="en-GB" sz="1200"/>
              <a:t>DI – Market Information</a:t>
            </a:r>
          </a:p>
          <a:p>
            <a:pPr marL="628650" lvl="1" indent="-171450">
              <a:buFont typeface="Arial" panose="020B0604020202020204" pitchFamily="34" charset="0"/>
              <a:buChar char="•"/>
            </a:pPr>
            <a:r>
              <a:rPr lang="en-GB" sz="1200"/>
              <a:t>DI – Packaging Hierarchy</a:t>
            </a:r>
          </a:p>
          <a:p>
            <a:endParaRPr lang="en-GB" sz="1200"/>
          </a:p>
          <a:p>
            <a:endParaRPr lang="en-GB" sz="1200">
              <a:solidFill>
                <a:srgbClr val="FF0000"/>
              </a:solidFill>
            </a:endParaRPr>
          </a:p>
          <a:p>
            <a:r>
              <a:rPr lang="en-GB" sz="1200">
                <a:solidFill>
                  <a:srgbClr val="FF0000"/>
                </a:solidFill>
              </a:rPr>
              <a:t>Why do I need this application?</a:t>
            </a:r>
          </a:p>
          <a:p>
            <a:r>
              <a:rPr lang="en-GB" sz="1200"/>
              <a:t>Each data area has a version number, which exists only because the EUDAMED database expects this information in the XML file.</a:t>
            </a:r>
          </a:p>
          <a:p>
            <a:r>
              <a:rPr lang="en-GB" sz="1200"/>
              <a:t>The idea of the EUDAMED is to keep the UDI record in your UDI data management system and the UDI data in the EUDAMED synchronous.</a:t>
            </a:r>
          </a:p>
          <a:p>
            <a:r>
              <a:rPr lang="en-GB" sz="1200"/>
              <a:t>Usually the version number is managed by the UDI Add-On. But if the version in the UDI Add-On differs from the version in the EUDAMED, you need to correct the version number in UDI Add-On. </a:t>
            </a:r>
          </a:p>
          <a:p>
            <a:r>
              <a:rPr lang="en-GB" sz="1200"/>
              <a:t>This can happen when:</a:t>
            </a:r>
          </a:p>
          <a:p>
            <a:pPr marL="171450" indent="-171450">
              <a:buFont typeface="Arial" panose="020B0604020202020204" pitchFamily="34" charset="0"/>
              <a:buChar char="•"/>
            </a:pPr>
            <a:r>
              <a:rPr lang="en-GB" sz="1200"/>
              <a:t>somebody changes the UDI data directly in EUDAMED and creates a new version there.</a:t>
            </a:r>
          </a:p>
          <a:p>
            <a:pPr marL="171450" indent="-171450">
              <a:buFont typeface="Arial" panose="020B0604020202020204" pitchFamily="34" charset="0"/>
              <a:buChar char="•"/>
            </a:pPr>
            <a:r>
              <a:rPr lang="en-GB" sz="1200"/>
              <a:t>UDI XML upload fails and you have to maintain and release the UDI data again in the UDI add-On.</a:t>
            </a:r>
          </a:p>
          <a:p>
            <a:pPr marL="171450" indent="-171450">
              <a:buFont typeface="Arial" panose="020B0604020202020204" pitchFamily="34" charset="0"/>
              <a:buChar char="•"/>
            </a:pPr>
            <a:endParaRPr lang="en-GB" sz="1200"/>
          </a:p>
          <a:p>
            <a:endParaRPr lang="en-GB" sz="1200"/>
          </a:p>
        </p:txBody>
      </p:sp>
    </p:spTree>
    <p:extLst>
      <p:ext uri="{BB962C8B-B14F-4D97-AF65-F5344CB8AC3E}">
        <p14:creationId xmlns:p14="http://schemas.microsoft.com/office/powerpoint/2010/main" val="188158296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ADD9E0F-ED1C-4F82-BD9D-F0239A2E7022}"/>
              </a:ext>
            </a:extLst>
          </p:cNvPr>
          <p:cNvSpPr>
            <a:spLocks noGrp="1"/>
          </p:cNvSpPr>
          <p:nvPr>
            <p:ph type="title"/>
          </p:nvPr>
        </p:nvSpPr>
        <p:spPr/>
        <p:txBody>
          <a:bodyPr>
            <a:normAutofit fontScale="90000"/>
          </a:bodyPr>
          <a:lstStyle/>
          <a:p>
            <a:r>
              <a:rPr lang="de-DE"/>
              <a:t>Appendix – Version Maintenance</a:t>
            </a:r>
          </a:p>
        </p:txBody>
      </p:sp>
      <p:sp>
        <p:nvSpPr>
          <p:cNvPr id="3" name="Textfeld 2">
            <a:extLst>
              <a:ext uri="{FF2B5EF4-FFF2-40B4-BE49-F238E27FC236}">
                <a16:creationId xmlns:a16="http://schemas.microsoft.com/office/drawing/2014/main" id="{6466603B-FAD5-41A7-B578-03DB8535B9DD}"/>
              </a:ext>
            </a:extLst>
          </p:cNvPr>
          <p:cNvSpPr txBox="1"/>
          <p:nvPr/>
        </p:nvSpPr>
        <p:spPr>
          <a:xfrm>
            <a:off x="274441" y="725080"/>
            <a:ext cx="8595117" cy="4524315"/>
          </a:xfrm>
          <a:prstGeom prst="rect">
            <a:avLst/>
          </a:prstGeom>
          <a:noFill/>
        </p:spPr>
        <p:txBody>
          <a:bodyPr wrap="square" rtlCol="0">
            <a:spAutoFit/>
          </a:bodyPr>
          <a:lstStyle/>
          <a:p>
            <a:r>
              <a:rPr lang="en-GB" sz="1200">
                <a:solidFill>
                  <a:srgbClr val="FF0000"/>
                </a:solidFill>
              </a:rPr>
              <a:t>Example</a:t>
            </a:r>
            <a:endParaRPr lang="en-GB" sz="1200"/>
          </a:p>
          <a:p>
            <a:r>
              <a:rPr lang="en-GB" sz="1200"/>
              <a:t>When a UDI record has the version “2” in EUDAMED and you want to upload a XML file with a newer version number “3”, </a:t>
            </a:r>
          </a:p>
          <a:p>
            <a:r>
              <a:rPr lang="en-GB" sz="1200"/>
              <a:t>then the XML file should contain the last version in EUDAMED, which is “2”.</a:t>
            </a:r>
          </a:p>
          <a:p>
            <a:r>
              <a:rPr lang="en-GB" sz="1200"/>
              <a:t>As soon as the XML file is uploaded successfully in EUDAMED, the version number will be incremented by “1” to version number “3” in EUDAMED.</a:t>
            </a:r>
          </a:p>
          <a:p>
            <a:endParaRPr lang="en-GB" sz="1200"/>
          </a:p>
          <a:p>
            <a:r>
              <a:rPr lang="en-GB" sz="1200">
                <a:solidFill>
                  <a:srgbClr val="FF0000"/>
                </a:solidFill>
              </a:rPr>
              <a:t>Exception:</a:t>
            </a:r>
          </a:p>
          <a:p>
            <a:r>
              <a:rPr lang="en-GB" sz="1200"/>
              <a:t>For the initial XML file Upload the version number “1” is always used.</a:t>
            </a:r>
          </a:p>
          <a:p>
            <a:endParaRPr lang="en-GB" sz="1200"/>
          </a:p>
          <a:p>
            <a:endParaRPr lang="en-GB" sz="1200">
              <a:solidFill>
                <a:srgbClr val="FF0000"/>
              </a:solidFill>
            </a:endParaRPr>
          </a:p>
          <a:p>
            <a:r>
              <a:rPr lang="en-GB" sz="1200">
                <a:solidFill>
                  <a:srgbClr val="FF0000"/>
                </a:solidFill>
              </a:rPr>
              <a:t>How does the UDI application handle this?</a:t>
            </a:r>
          </a:p>
          <a:p>
            <a:pPr marL="171450" indent="-171450">
              <a:buFont typeface="Arial" panose="020B0604020202020204" pitchFamily="34" charset="0"/>
              <a:buChar char="•"/>
            </a:pPr>
            <a:r>
              <a:rPr lang="en-GB" sz="1200"/>
              <a:t>Each UDI data change, release and XML export is incrementing the version number for each changed area by 1, starting with version number 1.</a:t>
            </a:r>
          </a:p>
          <a:p>
            <a:pPr marL="171450" indent="-171450">
              <a:buFont typeface="Arial" panose="020B0604020202020204" pitchFamily="34" charset="0"/>
              <a:buChar char="•"/>
            </a:pPr>
            <a:r>
              <a:rPr lang="en-GB" sz="1200"/>
              <a:t>The XML Export program is decrementing the existing version number in the XML file by 1 only if the version number greater than 1.</a:t>
            </a:r>
          </a:p>
          <a:p>
            <a:pPr marL="628650" lvl="1" indent="-171450">
              <a:buFont typeface="Arial" panose="020B0604020202020204" pitchFamily="34" charset="0"/>
              <a:buChar char="•"/>
            </a:pPr>
            <a:r>
              <a:rPr lang="en-GB" sz="1200"/>
              <a:t>Example:</a:t>
            </a:r>
          </a:p>
          <a:p>
            <a:pPr marL="1085850" lvl="2" indent="-171450">
              <a:buFont typeface="Arial" panose="020B0604020202020204" pitchFamily="34" charset="0"/>
              <a:buChar char="•"/>
            </a:pPr>
            <a:r>
              <a:rPr lang="en-GB" sz="1200"/>
              <a:t>Exporting UDI record version 1  </a:t>
            </a:r>
            <a:r>
              <a:rPr lang="en-GB" sz="1200">
                <a:sym typeface="Wingdings" panose="05000000000000000000" pitchFamily="2" charset="2"/>
              </a:rPr>
              <a:t></a:t>
            </a:r>
            <a:r>
              <a:rPr lang="en-GB" sz="1200"/>
              <a:t>  XML file will contain version 1 (no version number decrementing, because this is the initial version) </a:t>
            </a:r>
          </a:p>
          <a:p>
            <a:pPr marL="1085850" lvl="2" indent="-171450">
              <a:buFont typeface="Arial" panose="020B0604020202020204" pitchFamily="34" charset="0"/>
              <a:buChar char="•"/>
            </a:pPr>
            <a:r>
              <a:rPr lang="en-GB" sz="1200"/>
              <a:t>Exporting UDI record version 2  </a:t>
            </a:r>
            <a:r>
              <a:rPr lang="en-GB" sz="1200">
                <a:sym typeface="Wingdings" panose="05000000000000000000" pitchFamily="2" charset="2"/>
              </a:rPr>
              <a:t></a:t>
            </a:r>
            <a:r>
              <a:rPr lang="en-GB" sz="1200"/>
              <a:t>  XML file will contain version 1 (version number decrementing by 1)</a:t>
            </a:r>
          </a:p>
          <a:p>
            <a:pPr marL="1085850" lvl="2" indent="-171450">
              <a:buFont typeface="Arial" panose="020B0604020202020204" pitchFamily="34" charset="0"/>
              <a:buChar char="•"/>
            </a:pPr>
            <a:r>
              <a:rPr lang="en-GB" sz="1200"/>
              <a:t>Exporting UDI record version 3  </a:t>
            </a:r>
            <a:r>
              <a:rPr lang="en-GB" sz="1200">
                <a:sym typeface="Wingdings" panose="05000000000000000000" pitchFamily="2" charset="2"/>
              </a:rPr>
              <a:t></a:t>
            </a:r>
            <a:r>
              <a:rPr lang="en-GB" sz="1200"/>
              <a:t>  XML file will contain version 2 (version number decrementing by 1)</a:t>
            </a:r>
          </a:p>
          <a:p>
            <a:pPr marL="1085850" lvl="2" indent="-171450">
              <a:buFont typeface="Arial" panose="020B0604020202020204" pitchFamily="34" charset="0"/>
              <a:buChar char="•"/>
            </a:pPr>
            <a:r>
              <a:rPr lang="en-GB" sz="1200"/>
              <a:t>Exporting UDI record version 4</a:t>
            </a:r>
            <a:r>
              <a:rPr lang="en-GB" sz="1200">
                <a:sym typeface="Wingdings" panose="05000000000000000000" pitchFamily="2" charset="2"/>
              </a:rPr>
              <a:t>  </a:t>
            </a:r>
            <a:r>
              <a:rPr lang="en-GB" sz="1200"/>
              <a:t>  XML file will contain version 3 (version number decrementing by 1)</a:t>
            </a:r>
          </a:p>
          <a:p>
            <a:pPr marL="1085850" lvl="2" indent="-171450">
              <a:buFont typeface="Arial" panose="020B0604020202020204" pitchFamily="34" charset="0"/>
              <a:buChar char="•"/>
            </a:pPr>
            <a:r>
              <a:rPr lang="en-GB" sz="1200"/>
              <a:t>And so on…</a:t>
            </a:r>
          </a:p>
          <a:p>
            <a:pPr marL="1085850" lvl="2" indent="-171450">
              <a:buFont typeface="Arial" panose="020B0604020202020204" pitchFamily="34" charset="0"/>
              <a:buChar char="•"/>
            </a:pPr>
            <a:endParaRPr lang="en-GB" sz="1200"/>
          </a:p>
          <a:p>
            <a:pPr marL="1085850" lvl="2" indent="-171450">
              <a:buFont typeface="Arial" panose="020B0604020202020204" pitchFamily="34" charset="0"/>
              <a:buChar char="•"/>
            </a:pPr>
            <a:endParaRPr lang="en-GB" sz="1200"/>
          </a:p>
          <a:p>
            <a:endParaRPr lang="en-GB" sz="1200">
              <a:solidFill>
                <a:srgbClr val="FF0000"/>
              </a:solidFill>
            </a:endParaRPr>
          </a:p>
        </p:txBody>
      </p:sp>
    </p:spTree>
    <p:extLst>
      <p:ext uri="{BB962C8B-B14F-4D97-AF65-F5344CB8AC3E}">
        <p14:creationId xmlns:p14="http://schemas.microsoft.com/office/powerpoint/2010/main" val="251901229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ADD9E0F-ED1C-4F82-BD9D-F0239A2E7022}"/>
              </a:ext>
            </a:extLst>
          </p:cNvPr>
          <p:cNvSpPr>
            <a:spLocks noGrp="1"/>
          </p:cNvSpPr>
          <p:nvPr>
            <p:ph type="title"/>
          </p:nvPr>
        </p:nvSpPr>
        <p:spPr/>
        <p:txBody>
          <a:bodyPr>
            <a:normAutofit fontScale="90000"/>
          </a:bodyPr>
          <a:lstStyle/>
          <a:p>
            <a:r>
              <a:rPr lang="de-DE"/>
              <a:t>Appendix – Version Maintenance</a:t>
            </a:r>
          </a:p>
        </p:txBody>
      </p:sp>
      <p:sp>
        <p:nvSpPr>
          <p:cNvPr id="3" name="Textfeld 2">
            <a:extLst>
              <a:ext uri="{FF2B5EF4-FFF2-40B4-BE49-F238E27FC236}">
                <a16:creationId xmlns:a16="http://schemas.microsoft.com/office/drawing/2014/main" id="{6466603B-FAD5-41A7-B578-03DB8535B9DD}"/>
              </a:ext>
            </a:extLst>
          </p:cNvPr>
          <p:cNvSpPr txBox="1"/>
          <p:nvPr/>
        </p:nvSpPr>
        <p:spPr>
          <a:xfrm>
            <a:off x="423993" y="1791367"/>
            <a:ext cx="8595117" cy="2123658"/>
          </a:xfrm>
          <a:prstGeom prst="rect">
            <a:avLst/>
          </a:prstGeom>
          <a:noFill/>
        </p:spPr>
        <p:txBody>
          <a:bodyPr wrap="square" rtlCol="0">
            <a:spAutoFit/>
          </a:bodyPr>
          <a:lstStyle/>
          <a:p>
            <a:r>
              <a:rPr lang="en-GB" sz="1200">
                <a:solidFill>
                  <a:srgbClr val="FF0000"/>
                </a:solidFill>
              </a:rPr>
              <a:t>When is the version number changed/incremented in the UDI Add-On?</a:t>
            </a:r>
          </a:p>
          <a:p>
            <a:endParaRPr lang="en-GB" sz="1200"/>
          </a:p>
          <a:p>
            <a:r>
              <a:rPr lang="en-GB" sz="1200"/>
              <a:t>When you did a change in the BASIC UDI data area in the transaction /UDI/MAINTAIN or any other data changing transaction:</a:t>
            </a:r>
          </a:p>
          <a:p>
            <a:pPr marL="171450" indent="-171450">
              <a:buFont typeface="Arial" panose="020B0604020202020204" pitchFamily="34" charset="0"/>
              <a:buChar char="•"/>
            </a:pPr>
            <a:r>
              <a:rPr lang="en-GB" sz="1200"/>
              <a:t>The versions of BASIC UDI-DI, Clinical Investigation Links and Certification Links are incremented at the same time</a:t>
            </a:r>
          </a:p>
          <a:p>
            <a:pPr marL="171450" indent="-171450">
              <a:buFont typeface="Arial" panose="020B0604020202020204" pitchFamily="34" charset="0"/>
              <a:buChar char="•"/>
            </a:pPr>
            <a:endParaRPr lang="en-GB" sz="1200"/>
          </a:p>
          <a:p>
            <a:r>
              <a:rPr lang="en-GB" sz="1200"/>
              <a:t>When you did a change in the UDI-DI data area in the transaction /UDI/MAINTAIN or any other data changing transaction:</a:t>
            </a:r>
          </a:p>
          <a:p>
            <a:pPr marL="171450" indent="-171450">
              <a:buFont typeface="Arial" panose="020B0604020202020204" pitchFamily="34" charset="0"/>
              <a:buChar char="•"/>
            </a:pPr>
            <a:r>
              <a:rPr lang="en-GB" sz="1200"/>
              <a:t>The versions of UDI-DI, Market Information and Packaging Hierarchy are incremented at the same time</a:t>
            </a:r>
          </a:p>
          <a:p>
            <a:endParaRPr lang="en-GB" sz="1200"/>
          </a:p>
          <a:p>
            <a:pPr marL="171450" indent="-171450">
              <a:buFont typeface="Arial" panose="020B0604020202020204" pitchFamily="34" charset="0"/>
              <a:buChar char="•"/>
            </a:pPr>
            <a:endParaRPr lang="en-GB" sz="1200"/>
          </a:p>
          <a:p>
            <a:pPr marL="171450" indent="-171450">
              <a:buFont typeface="Arial" panose="020B0604020202020204" pitchFamily="34" charset="0"/>
              <a:buChar char="•"/>
            </a:pPr>
            <a:endParaRPr lang="en-GB" sz="1200"/>
          </a:p>
          <a:p>
            <a:endParaRPr lang="en-GB" sz="1200">
              <a:solidFill>
                <a:srgbClr val="FF0000"/>
              </a:solidFill>
            </a:endParaRPr>
          </a:p>
        </p:txBody>
      </p:sp>
      <p:sp>
        <p:nvSpPr>
          <p:cNvPr id="5" name="Textfeld 4">
            <a:extLst>
              <a:ext uri="{FF2B5EF4-FFF2-40B4-BE49-F238E27FC236}">
                <a16:creationId xmlns:a16="http://schemas.microsoft.com/office/drawing/2014/main" id="{E838152A-1967-4480-B2B0-22904FDE89DE}"/>
              </a:ext>
            </a:extLst>
          </p:cNvPr>
          <p:cNvSpPr txBox="1"/>
          <p:nvPr/>
        </p:nvSpPr>
        <p:spPr>
          <a:xfrm>
            <a:off x="423993" y="869508"/>
            <a:ext cx="7907188" cy="461665"/>
          </a:xfrm>
          <a:prstGeom prst="rect">
            <a:avLst/>
          </a:prstGeom>
          <a:noFill/>
        </p:spPr>
        <p:txBody>
          <a:bodyPr wrap="square">
            <a:spAutoFit/>
          </a:bodyPr>
          <a:lstStyle/>
          <a:p>
            <a:r>
              <a:rPr lang="en-GB" sz="1200">
                <a:solidFill>
                  <a:srgbClr val="FF0000"/>
                </a:solidFill>
              </a:rPr>
              <a:t>Which version number is EUDAMED expecting?</a:t>
            </a:r>
          </a:p>
          <a:p>
            <a:r>
              <a:rPr lang="en-GB" sz="1200"/>
              <a:t>In the XML file you have to have the last version number which exists in EUDAMED.</a:t>
            </a:r>
          </a:p>
        </p:txBody>
      </p:sp>
    </p:spTree>
    <p:extLst>
      <p:ext uri="{BB962C8B-B14F-4D97-AF65-F5344CB8AC3E}">
        <p14:creationId xmlns:p14="http://schemas.microsoft.com/office/powerpoint/2010/main" val="282178227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ADD9E0F-ED1C-4F82-BD9D-F0239A2E7022}"/>
              </a:ext>
            </a:extLst>
          </p:cNvPr>
          <p:cNvSpPr>
            <a:spLocks noGrp="1"/>
          </p:cNvSpPr>
          <p:nvPr>
            <p:ph type="title"/>
          </p:nvPr>
        </p:nvSpPr>
        <p:spPr/>
        <p:txBody>
          <a:bodyPr>
            <a:normAutofit fontScale="90000"/>
          </a:bodyPr>
          <a:lstStyle/>
          <a:p>
            <a:r>
              <a:rPr lang="de-DE"/>
              <a:t>Appendix – Version Maintenance</a:t>
            </a:r>
          </a:p>
        </p:txBody>
      </p:sp>
      <p:sp>
        <p:nvSpPr>
          <p:cNvPr id="3" name="Textfeld 2">
            <a:extLst>
              <a:ext uri="{FF2B5EF4-FFF2-40B4-BE49-F238E27FC236}">
                <a16:creationId xmlns:a16="http://schemas.microsoft.com/office/drawing/2014/main" id="{6466603B-FAD5-41A7-B578-03DB8535B9DD}"/>
              </a:ext>
            </a:extLst>
          </p:cNvPr>
          <p:cNvSpPr txBox="1"/>
          <p:nvPr/>
        </p:nvSpPr>
        <p:spPr>
          <a:xfrm>
            <a:off x="274441" y="655650"/>
            <a:ext cx="8595117" cy="4339650"/>
          </a:xfrm>
          <a:prstGeom prst="rect">
            <a:avLst/>
          </a:prstGeom>
          <a:noFill/>
        </p:spPr>
        <p:txBody>
          <a:bodyPr wrap="square" rtlCol="0">
            <a:spAutoFit/>
          </a:bodyPr>
          <a:lstStyle/>
          <a:p>
            <a:r>
              <a:rPr lang="en-GB" sz="1200">
                <a:solidFill>
                  <a:srgbClr val="FF0000"/>
                </a:solidFill>
              </a:rPr>
              <a:t>Which UDI areas belong together?</a:t>
            </a:r>
          </a:p>
          <a:p>
            <a:pPr marL="171450" indent="-171450">
              <a:buFont typeface="Arial" panose="020B0604020202020204" pitchFamily="34" charset="0"/>
              <a:buChar char="•"/>
            </a:pPr>
            <a:r>
              <a:rPr lang="en-GB" sz="1200"/>
              <a:t>Basic UDI-DI</a:t>
            </a:r>
          </a:p>
          <a:p>
            <a:pPr marL="628650" lvl="1" indent="-171450">
              <a:buFont typeface="Arial" panose="020B0604020202020204" pitchFamily="34" charset="0"/>
              <a:buChar char="•"/>
            </a:pPr>
            <a:r>
              <a:rPr lang="en-GB" sz="1200"/>
              <a:t>BUDI - Clinical Investigation Links</a:t>
            </a:r>
          </a:p>
          <a:p>
            <a:pPr marL="628650" lvl="1" indent="-171450">
              <a:buFont typeface="Arial" panose="020B0604020202020204" pitchFamily="34" charset="0"/>
              <a:buChar char="•"/>
            </a:pPr>
            <a:r>
              <a:rPr lang="en-GB" sz="1200"/>
              <a:t>BUDI – Certification Links</a:t>
            </a:r>
          </a:p>
          <a:p>
            <a:pPr marL="171450" indent="-171450">
              <a:buFont typeface="Arial" panose="020B0604020202020204" pitchFamily="34" charset="0"/>
              <a:buChar char="•"/>
            </a:pPr>
            <a:r>
              <a:rPr lang="en-GB" sz="1200"/>
              <a:t>UDI-DI </a:t>
            </a:r>
          </a:p>
          <a:p>
            <a:pPr marL="628650" lvl="1" indent="-171450">
              <a:buFont typeface="Arial" panose="020B0604020202020204" pitchFamily="34" charset="0"/>
              <a:buChar char="•"/>
            </a:pPr>
            <a:r>
              <a:rPr lang="en-GB" sz="1200"/>
              <a:t>DI – Market Information</a:t>
            </a:r>
          </a:p>
          <a:p>
            <a:pPr marL="628650" lvl="1" indent="-171450">
              <a:buFont typeface="Arial" panose="020B0604020202020204" pitchFamily="34" charset="0"/>
              <a:buChar char="•"/>
            </a:pPr>
            <a:r>
              <a:rPr lang="en-GB" sz="1200"/>
              <a:t>DI – Packaging Hierarchy</a:t>
            </a:r>
          </a:p>
          <a:p>
            <a:endParaRPr lang="en-GB" sz="1200">
              <a:solidFill>
                <a:srgbClr val="FF0000"/>
              </a:solidFill>
            </a:endParaRPr>
          </a:p>
          <a:p>
            <a:endParaRPr lang="en-GB" sz="1200">
              <a:solidFill>
                <a:srgbClr val="FF0000"/>
              </a:solidFill>
            </a:endParaRPr>
          </a:p>
          <a:p>
            <a:r>
              <a:rPr lang="en-GB" sz="1200">
                <a:solidFill>
                  <a:srgbClr val="FF0000"/>
                </a:solidFill>
              </a:rPr>
              <a:t>When is the UDI data shown as “Exported”?</a:t>
            </a:r>
          </a:p>
          <a:p>
            <a:r>
              <a:rPr lang="en-GB" sz="1200"/>
              <a:t>Always when you export the UDI data as XML with the option “Mark records as sent after successful export” </a:t>
            </a:r>
          </a:p>
          <a:p>
            <a:endParaRPr lang="en-GB" sz="1200"/>
          </a:p>
          <a:p>
            <a:endParaRPr lang="en-GB" sz="1200"/>
          </a:p>
          <a:p>
            <a:endParaRPr lang="en-GB" sz="1200"/>
          </a:p>
          <a:p>
            <a:endParaRPr lang="en-GB" sz="1200"/>
          </a:p>
          <a:p>
            <a:endParaRPr lang="en-GB" sz="1200"/>
          </a:p>
          <a:p>
            <a:endParaRPr lang="en-GB" sz="1200"/>
          </a:p>
          <a:p>
            <a:endParaRPr lang="en-GB" sz="1200"/>
          </a:p>
          <a:p>
            <a:endParaRPr lang="en-GB" sz="1200"/>
          </a:p>
          <a:p>
            <a:pPr marL="1085850" lvl="2" indent="-171450">
              <a:buFont typeface="Arial" panose="020B0604020202020204" pitchFamily="34" charset="0"/>
              <a:buChar char="•"/>
            </a:pPr>
            <a:endParaRPr lang="en-GB" sz="1200"/>
          </a:p>
          <a:p>
            <a:pPr marL="1085850" lvl="2" indent="-171450">
              <a:buFont typeface="Arial" panose="020B0604020202020204" pitchFamily="34" charset="0"/>
              <a:buChar char="•"/>
            </a:pPr>
            <a:endParaRPr lang="en-GB" sz="1200"/>
          </a:p>
          <a:p>
            <a:endParaRPr lang="en-GB" sz="1200">
              <a:solidFill>
                <a:srgbClr val="FF0000"/>
              </a:solidFill>
            </a:endParaRPr>
          </a:p>
          <a:p>
            <a:endParaRPr lang="en-GB" sz="1200">
              <a:solidFill>
                <a:srgbClr val="FF0000"/>
              </a:solidFill>
            </a:endParaRPr>
          </a:p>
        </p:txBody>
      </p:sp>
      <p:pic>
        <p:nvPicPr>
          <p:cNvPr id="5" name="Grafik 4">
            <a:extLst>
              <a:ext uri="{FF2B5EF4-FFF2-40B4-BE49-F238E27FC236}">
                <a16:creationId xmlns:a16="http://schemas.microsoft.com/office/drawing/2014/main" id="{E07B78D8-431F-4D9E-8BE6-D859CD2E9FD2}"/>
              </a:ext>
            </a:extLst>
          </p:cNvPr>
          <p:cNvPicPr>
            <a:picLocks noChangeAspect="1"/>
          </p:cNvPicPr>
          <p:nvPr/>
        </p:nvPicPr>
        <p:blipFill>
          <a:blip r:embed="rId2"/>
          <a:stretch>
            <a:fillRect/>
          </a:stretch>
        </p:blipFill>
        <p:spPr>
          <a:xfrm>
            <a:off x="352007" y="2967882"/>
            <a:ext cx="2874586" cy="1590264"/>
          </a:xfrm>
          <a:prstGeom prst="rect">
            <a:avLst/>
          </a:prstGeom>
          <a:ln w="19050">
            <a:solidFill>
              <a:srgbClr val="2F5597"/>
            </a:solidFill>
          </a:ln>
          <a:effectLst/>
        </p:spPr>
      </p:pic>
    </p:spTree>
    <p:extLst>
      <p:ext uri="{BB962C8B-B14F-4D97-AF65-F5344CB8AC3E}">
        <p14:creationId xmlns:p14="http://schemas.microsoft.com/office/powerpoint/2010/main" val="411863037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ADD9E0F-ED1C-4F82-BD9D-F0239A2E7022}"/>
              </a:ext>
            </a:extLst>
          </p:cNvPr>
          <p:cNvSpPr>
            <a:spLocks noGrp="1"/>
          </p:cNvSpPr>
          <p:nvPr>
            <p:ph type="title"/>
          </p:nvPr>
        </p:nvSpPr>
        <p:spPr/>
        <p:txBody>
          <a:bodyPr>
            <a:normAutofit fontScale="90000"/>
          </a:bodyPr>
          <a:lstStyle/>
          <a:p>
            <a:r>
              <a:rPr lang="de-DE"/>
              <a:t>Appendix – Version Maintenance – </a:t>
            </a:r>
            <a:r>
              <a:rPr lang="de-DE" err="1"/>
              <a:t>Changing</a:t>
            </a:r>
            <a:r>
              <a:rPr lang="de-DE"/>
              <a:t> a </a:t>
            </a:r>
            <a:r>
              <a:rPr lang="de-DE" err="1"/>
              <a:t>version</a:t>
            </a:r>
            <a:r>
              <a:rPr lang="de-DE"/>
              <a:t> </a:t>
            </a:r>
            <a:r>
              <a:rPr lang="de-DE" err="1"/>
              <a:t>number</a:t>
            </a:r>
            <a:endParaRPr lang="de-DE"/>
          </a:p>
        </p:txBody>
      </p:sp>
      <p:sp>
        <p:nvSpPr>
          <p:cNvPr id="5" name="Rechteck 4">
            <a:extLst>
              <a:ext uri="{FF2B5EF4-FFF2-40B4-BE49-F238E27FC236}">
                <a16:creationId xmlns:a16="http://schemas.microsoft.com/office/drawing/2014/main" id="{330BF89E-CCF6-454D-9595-233E95E51A24}"/>
              </a:ext>
            </a:extLst>
          </p:cNvPr>
          <p:cNvSpPr/>
          <p:nvPr/>
        </p:nvSpPr>
        <p:spPr>
          <a:xfrm>
            <a:off x="1128337" y="1739551"/>
            <a:ext cx="1530000" cy="360000"/>
          </a:xfrm>
          <a:prstGeom prst="rect">
            <a:avLst/>
          </a:prstGeom>
          <a:solidFill>
            <a:srgbClr val="20386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a:t>Execute /UDI/VERSION</a:t>
            </a:r>
          </a:p>
        </p:txBody>
      </p:sp>
      <p:sp>
        <p:nvSpPr>
          <p:cNvPr id="46" name="Rechteck 45">
            <a:extLst>
              <a:ext uri="{FF2B5EF4-FFF2-40B4-BE49-F238E27FC236}">
                <a16:creationId xmlns:a16="http://schemas.microsoft.com/office/drawing/2014/main" id="{0F4E37C0-9CBB-49E6-9E4C-F23750A45287}"/>
              </a:ext>
            </a:extLst>
          </p:cNvPr>
          <p:cNvSpPr/>
          <p:nvPr/>
        </p:nvSpPr>
        <p:spPr>
          <a:xfrm>
            <a:off x="1089668" y="3225794"/>
            <a:ext cx="1530000" cy="360000"/>
          </a:xfrm>
          <a:prstGeom prst="rect">
            <a:avLst/>
          </a:prstGeom>
          <a:solidFill>
            <a:srgbClr val="20386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t>Save the changes</a:t>
            </a:r>
            <a:endParaRPr lang="de-DE" sz="700"/>
          </a:p>
        </p:txBody>
      </p:sp>
      <p:sp>
        <p:nvSpPr>
          <p:cNvPr id="67" name="Flussdiagramm: Verbinder 66">
            <a:extLst>
              <a:ext uri="{FF2B5EF4-FFF2-40B4-BE49-F238E27FC236}">
                <a16:creationId xmlns:a16="http://schemas.microsoft.com/office/drawing/2014/main" id="{2C45D741-938D-437E-B004-8FC3E016AAD2}"/>
              </a:ext>
            </a:extLst>
          </p:cNvPr>
          <p:cNvSpPr/>
          <p:nvPr/>
        </p:nvSpPr>
        <p:spPr>
          <a:xfrm>
            <a:off x="1387908" y="3763442"/>
            <a:ext cx="1007953" cy="364703"/>
          </a:xfrm>
          <a:prstGeom prst="flowChartConnector">
            <a:avLst/>
          </a:prstGeom>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a:t>Version  number has been changed</a:t>
            </a:r>
          </a:p>
        </p:txBody>
      </p:sp>
      <p:sp>
        <p:nvSpPr>
          <p:cNvPr id="68" name="Flussdiagramm: Verbinder 67">
            <a:extLst>
              <a:ext uri="{FF2B5EF4-FFF2-40B4-BE49-F238E27FC236}">
                <a16:creationId xmlns:a16="http://schemas.microsoft.com/office/drawing/2014/main" id="{43530EBD-0B8D-4A35-A653-7EC71BB326E8}"/>
              </a:ext>
            </a:extLst>
          </p:cNvPr>
          <p:cNvSpPr/>
          <p:nvPr/>
        </p:nvSpPr>
        <p:spPr>
          <a:xfrm>
            <a:off x="1296594" y="834301"/>
            <a:ext cx="1204548" cy="759341"/>
          </a:xfrm>
          <a:prstGeom prst="flowChartConnector">
            <a:avLst/>
          </a:prstGeom>
          <a:solidFill>
            <a:schemeClr val="accent1">
              <a:lumMod val="60000"/>
              <a:lumOff val="40000"/>
            </a:schemeClr>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a:t>Released data has been changed and XML Upload failed</a:t>
            </a:r>
          </a:p>
        </p:txBody>
      </p:sp>
      <p:sp>
        <p:nvSpPr>
          <p:cNvPr id="93" name="Rechteck 92">
            <a:extLst>
              <a:ext uri="{FF2B5EF4-FFF2-40B4-BE49-F238E27FC236}">
                <a16:creationId xmlns:a16="http://schemas.microsoft.com/office/drawing/2014/main" id="{1D2FB84E-A477-4E7D-9F6A-AEB247CBA51C}"/>
              </a:ext>
            </a:extLst>
          </p:cNvPr>
          <p:cNvSpPr/>
          <p:nvPr/>
        </p:nvSpPr>
        <p:spPr>
          <a:xfrm>
            <a:off x="1128337" y="2249203"/>
            <a:ext cx="1530000" cy="360000"/>
          </a:xfrm>
          <a:prstGeom prst="rect">
            <a:avLst/>
          </a:prstGeom>
          <a:solidFill>
            <a:srgbClr val="20386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t>Choose the data area for which the  version needs to be set back</a:t>
            </a:r>
            <a:endParaRPr lang="de-DE" sz="700"/>
          </a:p>
        </p:txBody>
      </p:sp>
      <p:sp>
        <p:nvSpPr>
          <p:cNvPr id="94" name="Rechteck 93">
            <a:extLst>
              <a:ext uri="{FF2B5EF4-FFF2-40B4-BE49-F238E27FC236}">
                <a16:creationId xmlns:a16="http://schemas.microsoft.com/office/drawing/2014/main" id="{0E58DF0B-847A-4D38-ABC7-F754B6382F8F}"/>
              </a:ext>
            </a:extLst>
          </p:cNvPr>
          <p:cNvSpPr/>
          <p:nvPr/>
        </p:nvSpPr>
        <p:spPr>
          <a:xfrm>
            <a:off x="1119534" y="2725689"/>
            <a:ext cx="1530000" cy="360000"/>
          </a:xfrm>
          <a:prstGeom prst="rect">
            <a:avLst/>
          </a:prstGeom>
          <a:solidFill>
            <a:srgbClr val="20386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t>Enter the old and the new value and apply the changes</a:t>
            </a:r>
            <a:endParaRPr lang="de-DE" sz="700"/>
          </a:p>
        </p:txBody>
      </p:sp>
      <p:cxnSp>
        <p:nvCxnSpPr>
          <p:cNvPr id="95" name="Gerade Verbindung mit Pfeil 94">
            <a:extLst>
              <a:ext uri="{FF2B5EF4-FFF2-40B4-BE49-F238E27FC236}">
                <a16:creationId xmlns:a16="http://schemas.microsoft.com/office/drawing/2014/main" id="{52EF4124-B645-4592-82BB-C611225807D1}"/>
              </a:ext>
            </a:extLst>
          </p:cNvPr>
          <p:cNvCxnSpPr>
            <a:cxnSpLocks/>
            <a:stCxn id="5" idx="2"/>
            <a:endCxn id="93" idx="0"/>
          </p:cNvCxnSpPr>
          <p:nvPr/>
        </p:nvCxnSpPr>
        <p:spPr>
          <a:xfrm>
            <a:off x="1893337" y="2099551"/>
            <a:ext cx="0" cy="149652"/>
          </a:xfrm>
          <a:prstGeom prst="straightConnector1">
            <a:avLst/>
          </a:prstGeom>
          <a:ln w="22225">
            <a:solidFill>
              <a:srgbClr val="203864"/>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05" name="Gerade Verbindung mit Pfeil 104">
            <a:extLst>
              <a:ext uri="{FF2B5EF4-FFF2-40B4-BE49-F238E27FC236}">
                <a16:creationId xmlns:a16="http://schemas.microsoft.com/office/drawing/2014/main" id="{F4D0B576-3200-436F-8A28-CBA161464E0D}"/>
              </a:ext>
            </a:extLst>
          </p:cNvPr>
          <p:cNvCxnSpPr>
            <a:cxnSpLocks/>
            <a:stCxn id="68" idx="4"/>
          </p:cNvCxnSpPr>
          <p:nvPr/>
        </p:nvCxnSpPr>
        <p:spPr>
          <a:xfrm flipH="1">
            <a:off x="1885028" y="1593642"/>
            <a:ext cx="13840" cy="144000"/>
          </a:xfrm>
          <a:prstGeom prst="straightConnector1">
            <a:avLst/>
          </a:prstGeom>
          <a:ln w="22225">
            <a:solidFill>
              <a:srgbClr val="203864"/>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1" name="Gerade Verbindung mit Pfeil 30">
            <a:extLst>
              <a:ext uri="{FF2B5EF4-FFF2-40B4-BE49-F238E27FC236}">
                <a16:creationId xmlns:a16="http://schemas.microsoft.com/office/drawing/2014/main" id="{6DA9AA30-B025-4A1B-BBDC-FD5A468FADEE}"/>
              </a:ext>
            </a:extLst>
          </p:cNvPr>
          <p:cNvCxnSpPr>
            <a:cxnSpLocks/>
          </p:cNvCxnSpPr>
          <p:nvPr/>
        </p:nvCxnSpPr>
        <p:spPr>
          <a:xfrm>
            <a:off x="1886313" y="2609203"/>
            <a:ext cx="0" cy="126000"/>
          </a:xfrm>
          <a:prstGeom prst="straightConnector1">
            <a:avLst/>
          </a:prstGeom>
          <a:ln w="22225">
            <a:solidFill>
              <a:srgbClr val="203864"/>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3" name="Gerade Verbindung mit Pfeil 32">
            <a:extLst>
              <a:ext uri="{FF2B5EF4-FFF2-40B4-BE49-F238E27FC236}">
                <a16:creationId xmlns:a16="http://schemas.microsoft.com/office/drawing/2014/main" id="{ACAFDE0D-AE2C-43C9-9B38-7345314882FC}"/>
              </a:ext>
            </a:extLst>
          </p:cNvPr>
          <p:cNvCxnSpPr>
            <a:cxnSpLocks/>
          </p:cNvCxnSpPr>
          <p:nvPr/>
        </p:nvCxnSpPr>
        <p:spPr>
          <a:xfrm>
            <a:off x="1884534" y="3085689"/>
            <a:ext cx="0" cy="126000"/>
          </a:xfrm>
          <a:prstGeom prst="straightConnector1">
            <a:avLst/>
          </a:prstGeom>
          <a:ln w="22225">
            <a:solidFill>
              <a:srgbClr val="203864"/>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4" name="Gerade Verbindung mit Pfeil 33">
            <a:extLst>
              <a:ext uri="{FF2B5EF4-FFF2-40B4-BE49-F238E27FC236}">
                <a16:creationId xmlns:a16="http://schemas.microsoft.com/office/drawing/2014/main" id="{BE90EB05-D158-43D7-9688-FFB3AE1B316C}"/>
              </a:ext>
            </a:extLst>
          </p:cNvPr>
          <p:cNvCxnSpPr>
            <a:cxnSpLocks/>
          </p:cNvCxnSpPr>
          <p:nvPr/>
        </p:nvCxnSpPr>
        <p:spPr>
          <a:xfrm>
            <a:off x="1884534" y="3585794"/>
            <a:ext cx="0" cy="126000"/>
          </a:xfrm>
          <a:prstGeom prst="straightConnector1">
            <a:avLst/>
          </a:prstGeom>
          <a:ln w="22225">
            <a:solidFill>
              <a:srgbClr val="203864"/>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6" name="Grafik 5">
            <a:extLst>
              <a:ext uri="{FF2B5EF4-FFF2-40B4-BE49-F238E27FC236}">
                <a16:creationId xmlns:a16="http://schemas.microsoft.com/office/drawing/2014/main" id="{AF22B96B-FC53-4351-91C1-152D9CE3D5AA}"/>
              </a:ext>
            </a:extLst>
          </p:cNvPr>
          <p:cNvPicPr>
            <a:picLocks noChangeAspect="1"/>
          </p:cNvPicPr>
          <p:nvPr/>
        </p:nvPicPr>
        <p:blipFill>
          <a:blip r:embed="rId2"/>
          <a:stretch>
            <a:fillRect/>
          </a:stretch>
        </p:blipFill>
        <p:spPr>
          <a:xfrm>
            <a:off x="3438033" y="962526"/>
            <a:ext cx="4679076" cy="1758870"/>
          </a:xfrm>
          <a:prstGeom prst="rect">
            <a:avLst/>
          </a:prstGeom>
          <a:ln w="19050">
            <a:solidFill>
              <a:srgbClr val="2F5597"/>
            </a:solidFill>
          </a:ln>
          <a:effectLst/>
        </p:spPr>
      </p:pic>
      <p:pic>
        <p:nvPicPr>
          <p:cNvPr id="9" name="Grafik 8">
            <a:extLst>
              <a:ext uri="{FF2B5EF4-FFF2-40B4-BE49-F238E27FC236}">
                <a16:creationId xmlns:a16="http://schemas.microsoft.com/office/drawing/2014/main" id="{2B51E494-185C-4148-BFA2-377EA51AE5AF}"/>
              </a:ext>
            </a:extLst>
          </p:cNvPr>
          <p:cNvPicPr>
            <a:picLocks noChangeAspect="1"/>
          </p:cNvPicPr>
          <p:nvPr/>
        </p:nvPicPr>
        <p:blipFill>
          <a:blip r:embed="rId3"/>
          <a:stretch>
            <a:fillRect/>
          </a:stretch>
        </p:blipFill>
        <p:spPr>
          <a:xfrm>
            <a:off x="3438033" y="2901351"/>
            <a:ext cx="5112417" cy="1419837"/>
          </a:xfrm>
          <a:prstGeom prst="rect">
            <a:avLst/>
          </a:prstGeom>
          <a:ln w="19050">
            <a:solidFill>
              <a:srgbClr val="2F5597"/>
            </a:solidFill>
          </a:ln>
          <a:effectLst/>
        </p:spPr>
      </p:pic>
    </p:spTree>
    <p:extLst>
      <p:ext uri="{BB962C8B-B14F-4D97-AF65-F5344CB8AC3E}">
        <p14:creationId xmlns:p14="http://schemas.microsoft.com/office/powerpoint/2010/main" val="126275575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17403686-94D3-4A24-BDEB-07854049E7FA}"/>
              </a:ext>
            </a:extLst>
          </p:cNvPr>
          <p:cNvSpPr>
            <a:spLocks noGrp="1"/>
          </p:cNvSpPr>
          <p:nvPr>
            <p:ph type="title"/>
          </p:nvPr>
        </p:nvSpPr>
        <p:spPr/>
        <p:txBody>
          <a:bodyPr>
            <a:normAutofit fontScale="90000"/>
          </a:bodyPr>
          <a:lstStyle/>
          <a:p>
            <a:r>
              <a:rPr lang="de-DE"/>
              <a:t>Appendix - </a:t>
            </a:r>
            <a:r>
              <a:rPr lang="en-US"/>
              <a:t>Assignment of SRN to organizational field </a:t>
            </a:r>
            <a:endParaRPr lang="de-DE"/>
          </a:p>
        </p:txBody>
      </p:sp>
      <p:sp>
        <p:nvSpPr>
          <p:cNvPr id="27" name="Inhaltsplatzhalter 6">
            <a:extLst>
              <a:ext uri="{FF2B5EF4-FFF2-40B4-BE49-F238E27FC236}">
                <a16:creationId xmlns:a16="http://schemas.microsoft.com/office/drawing/2014/main" id="{82C1FBD4-E916-4C3E-BE64-6D5AB2E4B4DD}"/>
              </a:ext>
            </a:extLst>
          </p:cNvPr>
          <p:cNvSpPr>
            <a:spLocks noGrp="1"/>
          </p:cNvSpPr>
          <p:nvPr>
            <p:ph sz="quarter" idx="19"/>
          </p:nvPr>
        </p:nvSpPr>
        <p:spPr>
          <a:xfrm>
            <a:off x="269393" y="986951"/>
            <a:ext cx="7870099" cy="3455988"/>
          </a:xfrm>
          <a:noFill/>
          <a:ln>
            <a:noFill/>
          </a:ln>
          <a:effectLst/>
        </p:spPr>
        <p:txBody>
          <a:bodyPr vert="horz" lIns="91440" tIns="45720" rIns="91440" bIns="45720" rtlCol="0">
            <a:normAutofit/>
          </a:bodyPr>
          <a:lstStyle/>
          <a:p>
            <a:pPr marL="0" indent="0">
              <a:buNone/>
            </a:pPr>
            <a:r>
              <a:rPr lang="en-US" sz="1300"/>
              <a:t>In the Program Settings, the transaction /UDI/CU_005 – UDI SRN assignment to organizational field – allows to assign SRN-s to different plants.</a:t>
            </a:r>
          </a:p>
          <a:p>
            <a:pPr marL="0" indent="0">
              <a:buNone/>
            </a:pPr>
            <a:endParaRPr lang="en-US" sz="1300"/>
          </a:p>
          <a:p>
            <a:pPr marL="0" indent="0">
              <a:buNone/>
            </a:pPr>
            <a:r>
              <a:rPr lang="en-US" sz="1300"/>
              <a:t>One plant can be assigned to one or more SRN-s and one SRN can be assigned to one or more plants.</a:t>
            </a:r>
          </a:p>
          <a:p>
            <a:endParaRPr lang="en-US" sz="1300"/>
          </a:p>
          <a:p>
            <a:pPr marL="0" indent="0">
              <a:buNone/>
            </a:pPr>
            <a:endParaRPr lang="en-US" sz="1300"/>
          </a:p>
          <a:p>
            <a:pPr marL="0" indent="0">
              <a:buNone/>
            </a:pPr>
            <a:endParaRPr lang="en-US" sz="1400" b="1"/>
          </a:p>
          <a:p>
            <a:pPr marL="0" indent="0">
              <a:buNone/>
            </a:pPr>
            <a:endParaRPr lang="en-US" sz="1400" b="1"/>
          </a:p>
          <a:p>
            <a:pPr marL="0" indent="0">
              <a:buNone/>
            </a:pPr>
            <a:endParaRPr lang="en-US" sz="1400" b="1"/>
          </a:p>
          <a:p>
            <a:pPr marL="0" indent="0">
              <a:buNone/>
            </a:pPr>
            <a:endParaRPr lang="en-US" sz="1400" b="1"/>
          </a:p>
          <a:p>
            <a:pPr marL="0" indent="0">
              <a:buNone/>
            </a:pPr>
            <a:endParaRPr lang="en-US" sz="1400" b="1"/>
          </a:p>
          <a:p>
            <a:pPr marL="0" indent="0">
              <a:buNone/>
            </a:pPr>
            <a:endParaRPr lang="en-US" sz="1400" b="1"/>
          </a:p>
        </p:txBody>
      </p:sp>
      <p:pic>
        <p:nvPicPr>
          <p:cNvPr id="5" name="Grafik 4" descr="Ein Bild, das Text enthält.&#10;&#10;Automatisch generierte Beschreibung">
            <a:extLst>
              <a:ext uri="{FF2B5EF4-FFF2-40B4-BE49-F238E27FC236}">
                <a16:creationId xmlns:a16="http://schemas.microsoft.com/office/drawing/2014/main" id="{55AE7329-4224-4744-86FD-B45A6036A0DB}"/>
              </a:ext>
            </a:extLst>
          </p:cNvPr>
          <p:cNvPicPr>
            <a:picLocks noChangeAspect="1"/>
          </p:cNvPicPr>
          <p:nvPr/>
        </p:nvPicPr>
        <p:blipFill>
          <a:blip r:embed="rId2"/>
          <a:stretch>
            <a:fillRect/>
          </a:stretch>
        </p:blipFill>
        <p:spPr>
          <a:xfrm>
            <a:off x="1571979" y="2421161"/>
            <a:ext cx="5653405" cy="1878965"/>
          </a:xfrm>
          <a:prstGeom prst="rect">
            <a:avLst/>
          </a:prstGeom>
          <a:ln w="127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68368444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17403686-94D3-4A24-BDEB-07854049E7FA}"/>
              </a:ext>
            </a:extLst>
          </p:cNvPr>
          <p:cNvSpPr>
            <a:spLocks noGrp="1"/>
          </p:cNvSpPr>
          <p:nvPr>
            <p:ph type="title"/>
          </p:nvPr>
        </p:nvSpPr>
        <p:spPr/>
        <p:txBody>
          <a:bodyPr>
            <a:normAutofit fontScale="90000"/>
          </a:bodyPr>
          <a:lstStyle/>
          <a:p>
            <a:r>
              <a:rPr lang="de-DE"/>
              <a:t>Appendix - </a:t>
            </a:r>
            <a:r>
              <a:rPr lang="en-US"/>
              <a:t>Assignment of SRN to organizational field </a:t>
            </a:r>
            <a:endParaRPr lang="de-DE"/>
          </a:p>
        </p:txBody>
      </p:sp>
      <p:sp>
        <p:nvSpPr>
          <p:cNvPr id="27" name="Inhaltsplatzhalter 6">
            <a:extLst>
              <a:ext uri="{FF2B5EF4-FFF2-40B4-BE49-F238E27FC236}">
                <a16:creationId xmlns:a16="http://schemas.microsoft.com/office/drawing/2014/main" id="{82C1FBD4-E916-4C3E-BE64-6D5AB2E4B4DD}"/>
              </a:ext>
            </a:extLst>
          </p:cNvPr>
          <p:cNvSpPr>
            <a:spLocks noGrp="1"/>
          </p:cNvSpPr>
          <p:nvPr>
            <p:ph sz="quarter" idx="19"/>
          </p:nvPr>
        </p:nvSpPr>
        <p:spPr>
          <a:xfrm>
            <a:off x="222611" y="946034"/>
            <a:ext cx="2855272" cy="2778467"/>
          </a:xfrm>
          <a:noFill/>
          <a:ln>
            <a:noFill/>
          </a:ln>
          <a:effectLst/>
        </p:spPr>
        <p:txBody>
          <a:bodyPr vert="horz" lIns="91440" tIns="45720" rIns="91440" bIns="45720" rtlCol="0">
            <a:normAutofit/>
          </a:bodyPr>
          <a:lstStyle/>
          <a:p>
            <a:pPr marL="0" indent="0">
              <a:buNone/>
            </a:pPr>
            <a:r>
              <a:rPr lang="en-US" sz="1300"/>
              <a:t>All UDI transactions will check if the materials (UDI-DIs) are assigned to the correct Basic UDI-DI which contains the SRN number as an UDI attribute.</a:t>
            </a:r>
          </a:p>
          <a:p>
            <a:pPr marL="0" indent="0">
              <a:buNone/>
            </a:pPr>
            <a:r>
              <a:rPr lang="en-US" sz="1300"/>
              <a:t>Data access will be restricted based on the plant authorization of the user. </a:t>
            </a:r>
          </a:p>
          <a:p>
            <a:pPr marL="0" indent="0">
              <a:buNone/>
            </a:pPr>
            <a:endParaRPr lang="en-US" sz="1300"/>
          </a:p>
        </p:txBody>
      </p:sp>
      <p:pic>
        <p:nvPicPr>
          <p:cNvPr id="4" name="Grafik 3">
            <a:extLst>
              <a:ext uri="{FF2B5EF4-FFF2-40B4-BE49-F238E27FC236}">
                <a16:creationId xmlns:a16="http://schemas.microsoft.com/office/drawing/2014/main" id="{6383A303-2A4F-4E0F-9ACB-86EAD2A170D8}"/>
              </a:ext>
            </a:extLst>
          </p:cNvPr>
          <p:cNvPicPr>
            <a:picLocks noChangeAspect="1"/>
          </p:cNvPicPr>
          <p:nvPr/>
        </p:nvPicPr>
        <p:blipFill>
          <a:blip r:embed="rId2"/>
          <a:stretch>
            <a:fillRect/>
          </a:stretch>
        </p:blipFill>
        <p:spPr>
          <a:xfrm>
            <a:off x="3297491" y="946034"/>
            <a:ext cx="5697097" cy="3121817"/>
          </a:xfrm>
          <a:prstGeom prst="rect">
            <a:avLst/>
          </a:prstGeom>
          <a:ln w="19050">
            <a:solidFill>
              <a:srgbClr val="2F5597"/>
            </a:solidFill>
          </a:ln>
          <a:effectLst/>
        </p:spPr>
      </p:pic>
      <p:sp>
        <p:nvSpPr>
          <p:cNvPr id="10" name="Rechteck 9">
            <a:extLst>
              <a:ext uri="{FF2B5EF4-FFF2-40B4-BE49-F238E27FC236}">
                <a16:creationId xmlns:a16="http://schemas.microsoft.com/office/drawing/2014/main" id="{7495752C-619E-4C0D-BDF3-C4155AE955FF}"/>
              </a:ext>
            </a:extLst>
          </p:cNvPr>
          <p:cNvSpPr/>
          <p:nvPr/>
        </p:nvSpPr>
        <p:spPr>
          <a:xfrm>
            <a:off x="6066118" y="2709610"/>
            <a:ext cx="1027953" cy="959943"/>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Tree>
    <p:extLst>
      <p:ext uri="{BB962C8B-B14F-4D97-AF65-F5344CB8AC3E}">
        <p14:creationId xmlns:p14="http://schemas.microsoft.com/office/powerpoint/2010/main" val="86522292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F78E7AEE-6ED0-44B9-8E2E-A3A99BE0646A}"/>
              </a:ext>
            </a:extLst>
          </p:cNvPr>
          <p:cNvSpPr>
            <a:spLocks noGrp="1"/>
          </p:cNvSpPr>
          <p:nvPr>
            <p:ph sz="quarter" idx="19"/>
          </p:nvPr>
        </p:nvSpPr>
        <p:spPr>
          <a:xfrm>
            <a:off x="309041" y="1059406"/>
            <a:ext cx="7206024" cy="2954604"/>
          </a:xfrm>
        </p:spPr>
        <p:txBody>
          <a:bodyPr>
            <a:normAutofit/>
          </a:bodyPr>
          <a:lstStyle/>
          <a:p>
            <a:pPr>
              <a:spcAft>
                <a:spcPts val="1200"/>
              </a:spcAft>
            </a:pPr>
            <a:endParaRPr lang="de-DE" sz="1400"/>
          </a:p>
          <a:p>
            <a:pPr marL="0" indent="0">
              <a:buNone/>
            </a:pPr>
            <a:endParaRPr lang="de-DE" sz="1400">
              <a:highlight>
                <a:srgbClr val="FFFF00"/>
              </a:highlight>
            </a:endParaRPr>
          </a:p>
          <a:p>
            <a:endParaRPr lang="de-DE"/>
          </a:p>
        </p:txBody>
      </p:sp>
      <p:sp>
        <p:nvSpPr>
          <p:cNvPr id="4" name="Titel 3">
            <a:extLst>
              <a:ext uri="{FF2B5EF4-FFF2-40B4-BE49-F238E27FC236}">
                <a16:creationId xmlns:a16="http://schemas.microsoft.com/office/drawing/2014/main" id="{1CD21C43-48F7-445A-BDC3-9CA39CEACB0B}"/>
              </a:ext>
            </a:extLst>
          </p:cNvPr>
          <p:cNvSpPr>
            <a:spLocks noGrp="1"/>
          </p:cNvSpPr>
          <p:nvPr>
            <p:ph type="title"/>
          </p:nvPr>
        </p:nvSpPr>
        <p:spPr/>
        <p:txBody>
          <a:bodyPr>
            <a:normAutofit fontScale="90000"/>
          </a:bodyPr>
          <a:lstStyle/>
          <a:p>
            <a:r>
              <a:rPr lang="de-DE"/>
              <a:t>Appendix – Maintaining Data in the Tab Packaging in UDI/MAINTAIN</a:t>
            </a:r>
          </a:p>
        </p:txBody>
      </p:sp>
      <p:pic>
        <p:nvPicPr>
          <p:cNvPr id="1026" name="Picture 2">
            <a:extLst>
              <a:ext uri="{FF2B5EF4-FFF2-40B4-BE49-F238E27FC236}">
                <a16:creationId xmlns:a16="http://schemas.microsoft.com/office/drawing/2014/main" id="{0CEF6DF4-7E10-4EE9-A4DE-58497E0538C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4279" y="1340427"/>
            <a:ext cx="7817416" cy="1437265"/>
          </a:xfrm>
          <a:prstGeom prst="rect">
            <a:avLst/>
          </a:prstGeom>
          <a:noFill/>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96C8C04C-349C-4DEE-AD36-3DACF15B89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9041" y="3015281"/>
            <a:ext cx="7817416" cy="1735847"/>
          </a:xfrm>
          <a:prstGeom prst="rect">
            <a:avLst/>
          </a:prstGeom>
          <a:noFill/>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5" name="Textfeld 4">
            <a:extLst>
              <a:ext uri="{FF2B5EF4-FFF2-40B4-BE49-F238E27FC236}">
                <a16:creationId xmlns:a16="http://schemas.microsoft.com/office/drawing/2014/main" id="{73623B0B-3F52-44D8-A417-82D65653BC13}"/>
              </a:ext>
            </a:extLst>
          </p:cNvPr>
          <p:cNvSpPr txBox="1"/>
          <p:nvPr/>
        </p:nvSpPr>
        <p:spPr>
          <a:xfrm>
            <a:off x="410135" y="773206"/>
            <a:ext cx="7721560" cy="461665"/>
          </a:xfrm>
          <a:prstGeom prst="rect">
            <a:avLst/>
          </a:prstGeom>
          <a:noFill/>
        </p:spPr>
        <p:txBody>
          <a:bodyPr wrap="square" rtlCol="0">
            <a:spAutoFit/>
          </a:bodyPr>
          <a:lstStyle/>
          <a:p>
            <a:r>
              <a:rPr lang="en-GB" sz="1200">
                <a:latin typeface="Arial" panose="020B0604020202020204" pitchFamily="34" charset="0"/>
                <a:cs typeface="Arial" panose="020B0604020202020204" pitchFamily="34" charset="0"/>
              </a:rPr>
              <a:t>The data in the tab Packaging should be maintained according to the following scheme, in order to be uploaded in EUDAMED correctly:</a:t>
            </a:r>
          </a:p>
        </p:txBody>
      </p:sp>
      <p:sp>
        <p:nvSpPr>
          <p:cNvPr id="6" name="Rechteck 5">
            <a:extLst>
              <a:ext uri="{FF2B5EF4-FFF2-40B4-BE49-F238E27FC236}">
                <a16:creationId xmlns:a16="http://schemas.microsoft.com/office/drawing/2014/main" id="{35E00468-2121-4E26-835C-6A2BCC5A03D9}"/>
              </a:ext>
            </a:extLst>
          </p:cNvPr>
          <p:cNvSpPr/>
          <p:nvPr/>
        </p:nvSpPr>
        <p:spPr>
          <a:xfrm>
            <a:off x="1478483" y="3756645"/>
            <a:ext cx="1364877" cy="194983"/>
          </a:xfrm>
          <a:prstGeom prst="rect">
            <a:avLst/>
          </a:prstGeom>
          <a:noFill/>
          <a:ln w="19050">
            <a:solidFill>
              <a:srgbClr val="FF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hteck 8">
            <a:extLst>
              <a:ext uri="{FF2B5EF4-FFF2-40B4-BE49-F238E27FC236}">
                <a16:creationId xmlns:a16="http://schemas.microsoft.com/office/drawing/2014/main" id="{F4EEA8F4-C40B-431E-AB3D-B5AF2362280B}"/>
              </a:ext>
            </a:extLst>
          </p:cNvPr>
          <p:cNvSpPr/>
          <p:nvPr/>
        </p:nvSpPr>
        <p:spPr>
          <a:xfrm>
            <a:off x="5221941" y="2452868"/>
            <a:ext cx="1093695" cy="119206"/>
          </a:xfrm>
          <a:prstGeom prst="rect">
            <a:avLst/>
          </a:prstGeom>
          <a:noFill/>
          <a:ln w="19050">
            <a:solidFill>
              <a:srgbClr val="FF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hteck 9">
            <a:extLst>
              <a:ext uri="{FF2B5EF4-FFF2-40B4-BE49-F238E27FC236}">
                <a16:creationId xmlns:a16="http://schemas.microsoft.com/office/drawing/2014/main" id="{FC6EDE53-FCC2-43A0-83BC-FCE24DBDF299}"/>
              </a:ext>
            </a:extLst>
          </p:cNvPr>
          <p:cNvSpPr/>
          <p:nvPr/>
        </p:nvSpPr>
        <p:spPr>
          <a:xfrm>
            <a:off x="1243159" y="4047650"/>
            <a:ext cx="1284195" cy="194983"/>
          </a:xfrm>
          <a:prstGeom prst="rect">
            <a:avLst/>
          </a:prstGeom>
          <a:noFill/>
          <a:ln w="19050">
            <a:solidFill>
              <a:srgbClr val="FFC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hteck 10">
            <a:extLst>
              <a:ext uri="{FF2B5EF4-FFF2-40B4-BE49-F238E27FC236}">
                <a16:creationId xmlns:a16="http://schemas.microsoft.com/office/drawing/2014/main" id="{D1D43D20-8585-4FE3-B87A-2BA35EF04A6F}"/>
              </a:ext>
            </a:extLst>
          </p:cNvPr>
          <p:cNvSpPr/>
          <p:nvPr/>
        </p:nvSpPr>
        <p:spPr>
          <a:xfrm>
            <a:off x="1508311" y="2445940"/>
            <a:ext cx="1093695" cy="125809"/>
          </a:xfrm>
          <a:prstGeom prst="rect">
            <a:avLst/>
          </a:prstGeom>
          <a:noFill/>
          <a:ln w="19050">
            <a:solidFill>
              <a:srgbClr val="FFC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2" name="Rechteck 11">
            <a:extLst>
              <a:ext uri="{FF2B5EF4-FFF2-40B4-BE49-F238E27FC236}">
                <a16:creationId xmlns:a16="http://schemas.microsoft.com/office/drawing/2014/main" id="{11F57C56-CAEB-459F-A93C-0F037FAFDDCC}"/>
              </a:ext>
            </a:extLst>
          </p:cNvPr>
          <p:cNvSpPr/>
          <p:nvPr/>
        </p:nvSpPr>
        <p:spPr>
          <a:xfrm>
            <a:off x="1508311" y="2606891"/>
            <a:ext cx="1093695" cy="139364"/>
          </a:xfrm>
          <a:prstGeom prst="rect">
            <a:avLst/>
          </a:prstGeom>
          <a:noFill/>
          <a:ln w="19050">
            <a:solidFill>
              <a:srgbClr val="2F5597"/>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echteck 12">
            <a:extLst>
              <a:ext uri="{FF2B5EF4-FFF2-40B4-BE49-F238E27FC236}">
                <a16:creationId xmlns:a16="http://schemas.microsoft.com/office/drawing/2014/main" id="{CF8C4BA8-57BF-4E50-A715-C9189BB4635E}"/>
              </a:ext>
            </a:extLst>
          </p:cNvPr>
          <p:cNvSpPr/>
          <p:nvPr/>
        </p:nvSpPr>
        <p:spPr>
          <a:xfrm>
            <a:off x="1357459" y="4338656"/>
            <a:ext cx="1284195" cy="163894"/>
          </a:xfrm>
          <a:prstGeom prst="rect">
            <a:avLst/>
          </a:prstGeom>
          <a:noFill/>
          <a:ln w="19050">
            <a:solidFill>
              <a:srgbClr val="2F5597"/>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4" name="Rechteck 13">
            <a:extLst>
              <a:ext uri="{FF2B5EF4-FFF2-40B4-BE49-F238E27FC236}">
                <a16:creationId xmlns:a16="http://schemas.microsoft.com/office/drawing/2014/main" id="{71B2661D-3E60-4040-98FE-DBF5130382E4}"/>
              </a:ext>
            </a:extLst>
          </p:cNvPr>
          <p:cNvSpPr/>
          <p:nvPr/>
        </p:nvSpPr>
        <p:spPr>
          <a:xfrm>
            <a:off x="5221941" y="2592207"/>
            <a:ext cx="1093695" cy="125809"/>
          </a:xfrm>
          <a:prstGeom prst="rect">
            <a:avLst/>
          </a:prstGeom>
          <a:noFill/>
          <a:ln w="19050">
            <a:solidFill>
              <a:srgbClr val="FFC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Tree>
    <p:extLst>
      <p:ext uri="{BB962C8B-B14F-4D97-AF65-F5344CB8AC3E}">
        <p14:creationId xmlns:p14="http://schemas.microsoft.com/office/powerpoint/2010/main" val="429387000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F78E7AEE-6ED0-44B9-8E2E-A3A99BE0646A}"/>
              </a:ext>
            </a:extLst>
          </p:cNvPr>
          <p:cNvSpPr>
            <a:spLocks noGrp="1"/>
          </p:cNvSpPr>
          <p:nvPr>
            <p:ph sz="quarter" idx="19"/>
          </p:nvPr>
        </p:nvSpPr>
        <p:spPr>
          <a:xfrm>
            <a:off x="219267" y="1181476"/>
            <a:ext cx="8569325" cy="3455988"/>
          </a:xfrm>
        </p:spPr>
        <p:txBody>
          <a:bodyPr>
            <a:normAutofit/>
          </a:bodyPr>
          <a:lstStyle/>
          <a:p>
            <a:pPr>
              <a:spcAft>
                <a:spcPts val="1200"/>
              </a:spcAft>
            </a:pPr>
            <a:r>
              <a:rPr lang="en-US" sz="1400">
                <a:hlinkClick r:id="rId2" action="ppaction://hlinksldjump"/>
              </a:rPr>
              <a:t>Adding a new or existing device to a new BASIC UDI-DI</a:t>
            </a:r>
            <a:endParaRPr lang="en-US" sz="1400"/>
          </a:p>
          <a:p>
            <a:pPr>
              <a:spcAft>
                <a:spcPts val="1200"/>
              </a:spcAft>
            </a:pPr>
            <a:r>
              <a:rPr lang="en-US" sz="1400">
                <a:hlinkClick r:id="rId2" action="ppaction://hlinksldjump"/>
              </a:rPr>
              <a:t>Adding a new or existing device to an existing BASIC UDI-DI</a:t>
            </a:r>
            <a:endParaRPr lang="en-US" sz="1400"/>
          </a:p>
          <a:p>
            <a:pPr>
              <a:spcAft>
                <a:spcPts val="1200"/>
              </a:spcAft>
            </a:pPr>
            <a:r>
              <a:rPr lang="en-US" sz="1400">
                <a:hlinkClick r:id="rId3" action="ppaction://hlinksldjump"/>
              </a:rPr>
              <a:t>Reassigning an existing UDI-DI to a new BASIC UDI-DI</a:t>
            </a:r>
            <a:endParaRPr lang="en-US" sz="1400"/>
          </a:p>
          <a:p>
            <a:pPr>
              <a:spcAft>
                <a:spcPts val="1200"/>
              </a:spcAft>
            </a:pPr>
            <a:r>
              <a:rPr lang="en-US" sz="1400">
                <a:hlinkClick r:id="rId4" action="ppaction://hlinksldjump"/>
              </a:rPr>
              <a:t>Removing a device from the market</a:t>
            </a:r>
            <a:endParaRPr lang="en-US" sz="1400"/>
          </a:p>
          <a:p>
            <a:pPr>
              <a:spcAft>
                <a:spcPts val="1200"/>
              </a:spcAft>
            </a:pPr>
            <a:r>
              <a:rPr lang="en-US" sz="1400">
                <a:hlinkClick r:id="rId4" action="ppaction://hlinksldjump"/>
              </a:rPr>
              <a:t>Changing a Directive Device </a:t>
            </a:r>
            <a:r>
              <a:rPr lang="de-DE" sz="1400">
                <a:hlinkClick r:id="rId4" action="ppaction://hlinksldjump"/>
              </a:rPr>
              <a:t>(MDD, IVDD, AIMDD)</a:t>
            </a:r>
            <a:r>
              <a:rPr lang="en-US" sz="1400">
                <a:hlinkClick r:id="rId4" action="ppaction://hlinksldjump"/>
              </a:rPr>
              <a:t> to a Regulation Device </a:t>
            </a:r>
            <a:r>
              <a:rPr lang="de-DE" sz="1400">
                <a:hlinkClick r:id="rId4" action="ppaction://hlinksldjump"/>
              </a:rPr>
              <a:t>(MDR, IVDR) </a:t>
            </a:r>
            <a:endParaRPr lang="en-US" sz="1400"/>
          </a:p>
          <a:p>
            <a:pPr>
              <a:spcAft>
                <a:spcPts val="1200"/>
              </a:spcAft>
            </a:pPr>
            <a:endParaRPr lang="de-DE" sz="1400"/>
          </a:p>
          <a:p>
            <a:pPr marL="0" indent="0">
              <a:buNone/>
            </a:pPr>
            <a:endParaRPr lang="de-DE" sz="1400">
              <a:highlight>
                <a:srgbClr val="FFFF00"/>
              </a:highlight>
            </a:endParaRPr>
          </a:p>
          <a:p>
            <a:endParaRPr lang="de-DE"/>
          </a:p>
        </p:txBody>
      </p:sp>
      <p:sp>
        <p:nvSpPr>
          <p:cNvPr id="4" name="Titel 3">
            <a:extLst>
              <a:ext uri="{FF2B5EF4-FFF2-40B4-BE49-F238E27FC236}">
                <a16:creationId xmlns:a16="http://schemas.microsoft.com/office/drawing/2014/main" id="{1CD21C43-48F7-445A-BDC3-9CA39CEACB0B}"/>
              </a:ext>
            </a:extLst>
          </p:cNvPr>
          <p:cNvSpPr>
            <a:spLocks noGrp="1"/>
          </p:cNvSpPr>
          <p:nvPr>
            <p:ph type="title"/>
          </p:nvPr>
        </p:nvSpPr>
        <p:spPr/>
        <p:txBody>
          <a:bodyPr>
            <a:normAutofit fontScale="90000"/>
          </a:bodyPr>
          <a:lstStyle/>
          <a:p>
            <a:r>
              <a:rPr lang="de-DE"/>
              <a:t>Appendix - Workflow in Add-On: Use Cases</a:t>
            </a:r>
          </a:p>
        </p:txBody>
      </p:sp>
    </p:spTree>
    <p:extLst>
      <p:ext uri="{BB962C8B-B14F-4D97-AF65-F5344CB8AC3E}">
        <p14:creationId xmlns:p14="http://schemas.microsoft.com/office/powerpoint/2010/main" val="263876961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ADD9E0F-ED1C-4F82-BD9D-F0239A2E7022}"/>
              </a:ext>
            </a:extLst>
          </p:cNvPr>
          <p:cNvSpPr>
            <a:spLocks noGrp="1"/>
          </p:cNvSpPr>
          <p:nvPr>
            <p:ph type="title"/>
          </p:nvPr>
        </p:nvSpPr>
        <p:spPr/>
        <p:txBody>
          <a:bodyPr>
            <a:normAutofit fontScale="90000"/>
          </a:bodyPr>
          <a:lstStyle/>
          <a:p>
            <a:r>
              <a:rPr lang="de-DE"/>
              <a:t>Appendix - Adding a new </a:t>
            </a:r>
            <a:r>
              <a:rPr lang="de-DE" err="1"/>
              <a:t>or</a:t>
            </a:r>
            <a:r>
              <a:rPr lang="de-DE"/>
              <a:t> existing </a:t>
            </a:r>
            <a:r>
              <a:rPr lang="de-DE" err="1"/>
              <a:t>device</a:t>
            </a:r>
            <a:r>
              <a:rPr lang="de-DE"/>
              <a:t> to a new BASIC UDI-DI</a:t>
            </a:r>
          </a:p>
        </p:txBody>
      </p:sp>
      <p:sp>
        <p:nvSpPr>
          <p:cNvPr id="5" name="Rechteck 4">
            <a:extLst>
              <a:ext uri="{FF2B5EF4-FFF2-40B4-BE49-F238E27FC236}">
                <a16:creationId xmlns:a16="http://schemas.microsoft.com/office/drawing/2014/main" id="{330BF89E-CCF6-454D-9595-233E95E51A24}"/>
              </a:ext>
            </a:extLst>
          </p:cNvPr>
          <p:cNvSpPr/>
          <p:nvPr/>
        </p:nvSpPr>
        <p:spPr>
          <a:xfrm>
            <a:off x="2178994" y="1876362"/>
            <a:ext cx="1530000" cy="360000"/>
          </a:xfrm>
          <a:prstGeom prst="rect">
            <a:avLst/>
          </a:prstGeom>
          <a:solidFill>
            <a:srgbClr val="20386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a:t>Create a material using the transaction MM01</a:t>
            </a:r>
          </a:p>
        </p:txBody>
      </p:sp>
      <p:sp>
        <p:nvSpPr>
          <p:cNvPr id="17" name="Textfeld 16">
            <a:extLst>
              <a:ext uri="{FF2B5EF4-FFF2-40B4-BE49-F238E27FC236}">
                <a16:creationId xmlns:a16="http://schemas.microsoft.com/office/drawing/2014/main" id="{DEDF0172-92F5-4A2C-AB3C-6B6D1B0E59CE}"/>
              </a:ext>
            </a:extLst>
          </p:cNvPr>
          <p:cNvSpPr txBox="1"/>
          <p:nvPr/>
        </p:nvSpPr>
        <p:spPr>
          <a:xfrm>
            <a:off x="2943994" y="1647089"/>
            <a:ext cx="328186" cy="200055"/>
          </a:xfrm>
          <a:prstGeom prst="rect">
            <a:avLst/>
          </a:prstGeom>
          <a:noFill/>
        </p:spPr>
        <p:txBody>
          <a:bodyPr wrap="square" rtlCol="0">
            <a:spAutoFit/>
          </a:bodyPr>
          <a:lstStyle/>
          <a:p>
            <a:r>
              <a:rPr lang="de-DE" sz="700" b="1">
                <a:effectLst>
                  <a:outerShdw blurRad="38100" dist="38100" dir="2700000" algn="tl">
                    <a:srgbClr val="000000">
                      <a:alpha val="43137"/>
                    </a:srgbClr>
                  </a:outerShdw>
                </a:effectLst>
              </a:rPr>
              <a:t>No</a:t>
            </a:r>
          </a:p>
        </p:txBody>
      </p:sp>
      <p:sp>
        <p:nvSpPr>
          <p:cNvPr id="22" name="Textfeld 21">
            <a:extLst>
              <a:ext uri="{FF2B5EF4-FFF2-40B4-BE49-F238E27FC236}">
                <a16:creationId xmlns:a16="http://schemas.microsoft.com/office/drawing/2014/main" id="{38724302-9537-4436-BE71-4E03214DF0E3}"/>
              </a:ext>
            </a:extLst>
          </p:cNvPr>
          <p:cNvSpPr txBox="1"/>
          <p:nvPr/>
        </p:nvSpPr>
        <p:spPr>
          <a:xfrm>
            <a:off x="3670325" y="2268319"/>
            <a:ext cx="329667" cy="200055"/>
          </a:xfrm>
          <a:prstGeom prst="rect">
            <a:avLst/>
          </a:prstGeom>
          <a:noFill/>
        </p:spPr>
        <p:txBody>
          <a:bodyPr wrap="square" rtlCol="0">
            <a:spAutoFit/>
          </a:bodyPr>
          <a:lstStyle/>
          <a:p>
            <a:r>
              <a:rPr lang="de-DE" sz="700" b="1">
                <a:effectLst>
                  <a:outerShdw blurRad="38100" dist="38100" dir="2700000" algn="tl">
                    <a:srgbClr val="000000">
                      <a:alpha val="43137"/>
                    </a:srgbClr>
                  </a:outerShdw>
                </a:effectLst>
              </a:rPr>
              <a:t>Yes</a:t>
            </a:r>
          </a:p>
        </p:txBody>
      </p:sp>
      <p:sp>
        <p:nvSpPr>
          <p:cNvPr id="29" name="Flussdiagramm: Verzweigung 28">
            <a:extLst>
              <a:ext uri="{FF2B5EF4-FFF2-40B4-BE49-F238E27FC236}">
                <a16:creationId xmlns:a16="http://schemas.microsoft.com/office/drawing/2014/main" id="{59F01D03-06BE-4275-8301-B3A0E931BFF6}"/>
              </a:ext>
            </a:extLst>
          </p:cNvPr>
          <p:cNvSpPr/>
          <p:nvPr/>
        </p:nvSpPr>
        <p:spPr>
          <a:xfrm>
            <a:off x="2331930" y="1318058"/>
            <a:ext cx="1243540" cy="365138"/>
          </a:xfrm>
          <a:prstGeom prst="flowChartDecision">
            <a:avLst/>
          </a:prstGeom>
          <a:solidFill>
            <a:schemeClr val="accent1">
              <a:lumMod val="75000"/>
            </a:schemeClr>
          </a:solidFill>
          <a:ln w="22225">
            <a:solidFill>
              <a:schemeClr val="accent1">
                <a:lumMod val="50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a:t>Material</a:t>
            </a:r>
          </a:p>
          <a:p>
            <a:pPr algn="ctr"/>
            <a:r>
              <a:rPr lang="de-DE" sz="700"/>
              <a:t>in SAP</a:t>
            </a:r>
          </a:p>
          <a:p>
            <a:pPr algn="ctr"/>
            <a:r>
              <a:rPr lang="de-DE" sz="700"/>
              <a:t>exists</a:t>
            </a:r>
          </a:p>
        </p:txBody>
      </p:sp>
      <p:sp>
        <p:nvSpPr>
          <p:cNvPr id="46" name="Rechteck 45">
            <a:extLst>
              <a:ext uri="{FF2B5EF4-FFF2-40B4-BE49-F238E27FC236}">
                <a16:creationId xmlns:a16="http://schemas.microsoft.com/office/drawing/2014/main" id="{0F4E37C0-9CBB-49E6-9E4C-F23750A45287}"/>
              </a:ext>
            </a:extLst>
          </p:cNvPr>
          <p:cNvSpPr/>
          <p:nvPr/>
        </p:nvSpPr>
        <p:spPr>
          <a:xfrm>
            <a:off x="5125503" y="1155529"/>
            <a:ext cx="1530000" cy="360000"/>
          </a:xfrm>
          <a:prstGeom prst="rect">
            <a:avLst/>
          </a:prstGeom>
          <a:solidFill>
            <a:srgbClr val="20386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t>Maintain the UDI data in the sheet “BASIC UDI-DI”</a:t>
            </a:r>
            <a:endParaRPr lang="de-DE" sz="700"/>
          </a:p>
        </p:txBody>
      </p:sp>
      <p:cxnSp>
        <p:nvCxnSpPr>
          <p:cNvPr id="47" name="Gerade Verbindung mit Pfeil 46">
            <a:extLst>
              <a:ext uri="{FF2B5EF4-FFF2-40B4-BE49-F238E27FC236}">
                <a16:creationId xmlns:a16="http://schemas.microsoft.com/office/drawing/2014/main" id="{CBD8DE33-4E29-4238-AF0B-F9AA88865380}"/>
              </a:ext>
            </a:extLst>
          </p:cNvPr>
          <p:cNvCxnSpPr>
            <a:cxnSpLocks/>
            <a:stCxn id="29" idx="2"/>
          </p:cNvCxnSpPr>
          <p:nvPr/>
        </p:nvCxnSpPr>
        <p:spPr>
          <a:xfrm>
            <a:off x="2953700" y="1683196"/>
            <a:ext cx="0" cy="199693"/>
          </a:xfrm>
          <a:prstGeom prst="straightConnector1">
            <a:avLst/>
          </a:prstGeom>
          <a:ln w="22225">
            <a:solidFill>
              <a:srgbClr val="203864"/>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9" name="Verbinder: gewinkelt 48">
            <a:extLst>
              <a:ext uri="{FF2B5EF4-FFF2-40B4-BE49-F238E27FC236}">
                <a16:creationId xmlns:a16="http://schemas.microsoft.com/office/drawing/2014/main" id="{86081F27-D347-4403-A04E-C19C3DB869F4}"/>
              </a:ext>
            </a:extLst>
          </p:cNvPr>
          <p:cNvCxnSpPr>
            <a:cxnSpLocks/>
            <a:stCxn id="29" idx="3"/>
            <a:endCxn id="93" idx="3"/>
          </p:cNvCxnSpPr>
          <p:nvPr/>
        </p:nvCxnSpPr>
        <p:spPr>
          <a:xfrm>
            <a:off x="3575470" y="1500627"/>
            <a:ext cx="143230" cy="1693764"/>
          </a:xfrm>
          <a:prstGeom prst="bentConnector3">
            <a:avLst>
              <a:gd name="adj1" fmla="val 259603"/>
            </a:avLst>
          </a:prstGeom>
          <a:ln w="22225">
            <a:solidFill>
              <a:srgbClr val="203864"/>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0" name="Rechteck 49">
            <a:extLst>
              <a:ext uri="{FF2B5EF4-FFF2-40B4-BE49-F238E27FC236}">
                <a16:creationId xmlns:a16="http://schemas.microsoft.com/office/drawing/2014/main" id="{6D65CDE5-E83B-47BB-B8DE-502412BD2202}"/>
              </a:ext>
            </a:extLst>
          </p:cNvPr>
          <p:cNvSpPr/>
          <p:nvPr/>
        </p:nvSpPr>
        <p:spPr>
          <a:xfrm>
            <a:off x="5115796" y="2428764"/>
            <a:ext cx="1530000" cy="360000"/>
          </a:xfrm>
          <a:prstGeom prst="rect">
            <a:avLst/>
          </a:prstGeom>
          <a:solidFill>
            <a:srgbClr val="20386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t>Go to the sheet “UDI-DI” and add the material by clicking “Add UDI-DI”</a:t>
            </a:r>
            <a:endParaRPr lang="de-DE" sz="700"/>
          </a:p>
        </p:txBody>
      </p:sp>
      <p:sp>
        <p:nvSpPr>
          <p:cNvPr id="52" name="Rechteck 51">
            <a:extLst>
              <a:ext uri="{FF2B5EF4-FFF2-40B4-BE49-F238E27FC236}">
                <a16:creationId xmlns:a16="http://schemas.microsoft.com/office/drawing/2014/main" id="{7A144B66-8198-4E51-A363-32DBA82D3F4C}"/>
              </a:ext>
            </a:extLst>
          </p:cNvPr>
          <p:cNvSpPr/>
          <p:nvPr/>
        </p:nvSpPr>
        <p:spPr>
          <a:xfrm>
            <a:off x="5135206" y="3605555"/>
            <a:ext cx="1530000" cy="360000"/>
          </a:xfrm>
          <a:prstGeom prst="rect">
            <a:avLst/>
          </a:prstGeom>
          <a:solidFill>
            <a:srgbClr val="20386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t>Maintain the UDI data in the sheet “UDI-DI”</a:t>
            </a:r>
            <a:endParaRPr lang="de-DE" sz="700"/>
          </a:p>
        </p:txBody>
      </p:sp>
      <p:pic>
        <p:nvPicPr>
          <p:cNvPr id="56" name="Grafik 55">
            <a:extLst>
              <a:ext uri="{FF2B5EF4-FFF2-40B4-BE49-F238E27FC236}">
                <a16:creationId xmlns:a16="http://schemas.microsoft.com/office/drawing/2014/main" id="{3D24A7CC-F576-4D92-BC79-5E0316DF3585}"/>
              </a:ext>
            </a:extLst>
          </p:cNvPr>
          <p:cNvPicPr>
            <a:picLocks noChangeAspect="1"/>
          </p:cNvPicPr>
          <p:nvPr/>
        </p:nvPicPr>
        <p:blipFill>
          <a:blip r:embed="rId2"/>
          <a:stretch>
            <a:fillRect/>
          </a:stretch>
        </p:blipFill>
        <p:spPr>
          <a:xfrm>
            <a:off x="706739" y="940510"/>
            <a:ext cx="1315666" cy="1295852"/>
          </a:xfrm>
          <a:prstGeom prst="rect">
            <a:avLst/>
          </a:prstGeom>
          <a:ln>
            <a:noFill/>
          </a:ln>
          <a:effectLst>
            <a:outerShdw blurRad="50800" dist="38100" dir="5400000" algn="t" rotWithShape="0">
              <a:prstClr val="black">
                <a:alpha val="40000"/>
              </a:prstClr>
            </a:outerShdw>
          </a:effectLst>
        </p:spPr>
      </p:pic>
      <p:sp>
        <p:nvSpPr>
          <p:cNvPr id="67" name="Flussdiagramm: Verbinder 66">
            <a:extLst>
              <a:ext uri="{FF2B5EF4-FFF2-40B4-BE49-F238E27FC236}">
                <a16:creationId xmlns:a16="http://schemas.microsoft.com/office/drawing/2014/main" id="{2C45D741-938D-437E-B004-8FC3E016AAD2}"/>
              </a:ext>
            </a:extLst>
          </p:cNvPr>
          <p:cNvSpPr/>
          <p:nvPr/>
        </p:nvSpPr>
        <p:spPr>
          <a:xfrm>
            <a:off x="5363443" y="4300267"/>
            <a:ext cx="1059227" cy="427371"/>
          </a:xfrm>
          <a:prstGeom prst="flowChartConnector">
            <a:avLst/>
          </a:prstGeom>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a:t>Device was added to a new BUDI </a:t>
            </a:r>
          </a:p>
        </p:txBody>
      </p:sp>
      <p:sp>
        <p:nvSpPr>
          <p:cNvPr id="68" name="Flussdiagramm: Verbinder 67">
            <a:extLst>
              <a:ext uri="{FF2B5EF4-FFF2-40B4-BE49-F238E27FC236}">
                <a16:creationId xmlns:a16="http://schemas.microsoft.com/office/drawing/2014/main" id="{43530EBD-0B8D-4A35-A653-7EC71BB326E8}"/>
              </a:ext>
            </a:extLst>
          </p:cNvPr>
          <p:cNvSpPr/>
          <p:nvPr/>
        </p:nvSpPr>
        <p:spPr>
          <a:xfrm>
            <a:off x="2356054" y="790059"/>
            <a:ext cx="1175880" cy="330545"/>
          </a:xfrm>
          <a:prstGeom prst="flowChartConnector">
            <a:avLst/>
          </a:prstGeom>
          <a:solidFill>
            <a:schemeClr val="accent1">
              <a:lumMod val="60000"/>
              <a:lumOff val="40000"/>
            </a:schemeClr>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a:t>Device has to be added to a new BUDI</a:t>
            </a:r>
          </a:p>
        </p:txBody>
      </p:sp>
      <p:sp>
        <p:nvSpPr>
          <p:cNvPr id="93" name="Rechteck 92">
            <a:extLst>
              <a:ext uri="{FF2B5EF4-FFF2-40B4-BE49-F238E27FC236}">
                <a16:creationId xmlns:a16="http://schemas.microsoft.com/office/drawing/2014/main" id="{1D2FB84E-A477-4E7D-9F6A-AEB247CBA51C}"/>
              </a:ext>
            </a:extLst>
          </p:cNvPr>
          <p:cNvSpPr/>
          <p:nvPr/>
        </p:nvSpPr>
        <p:spPr>
          <a:xfrm>
            <a:off x="2188700" y="3014391"/>
            <a:ext cx="1530000" cy="360000"/>
          </a:xfrm>
          <a:prstGeom prst="rect">
            <a:avLst/>
          </a:prstGeom>
          <a:solidFill>
            <a:srgbClr val="20386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t>Set the material as “EU UDI relevant” (Status 1, 2) in the Basic Data 1 of MM01/MM02</a:t>
            </a:r>
            <a:endParaRPr lang="de-DE" sz="700"/>
          </a:p>
        </p:txBody>
      </p:sp>
      <p:sp>
        <p:nvSpPr>
          <p:cNvPr id="94" name="Rechteck 93">
            <a:extLst>
              <a:ext uri="{FF2B5EF4-FFF2-40B4-BE49-F238E27FC236}">
                <a16:creationId xmlns:a16="http://schemas.microsoft.com/office/drawing/2014/main" id="{0E58DF0B-847A-4D38-ABC7-F754B6382F8F}"/>
              </a:ext>
            </a:extLst>
          </p:cNvPr>
          <p:cNvSpPr/>
          <p:nvPr/>
        </p:nvSpPr>
        <p:spPr>
          <a:xfrm>
            <a:off x="2188700" y="4152826"/>
            <a:ext cx="1530000" cy="360000"/>
          </a:xfrm>
          <a:prstGeom prst="rect">
            <a:avLst/>
          </a:prstGeom>
          <a:solidFill>
            <a:srgbClr val="20386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t>Execute /UDI/MAINTAIN and click “Create Basic UDI-DI”</a:t>
            </a:r>
            <a:endParaRPr lang="de-DE" sz="700"/>
          </a:p>
        </p:txBody>
      </p:sp>
      <p:cxnSp>
        <p:nvCxnSpPr>
          <p:cNvPr id="95" name="Gerade Verbindung mit Pfeil 94">
            <a:extLst>
              <a:ext uri="{FF2B5EF4-FFF2-40B4-BE49-F238E27FC236}">
                <a16:creationId xmlns:a16="http://schemas.microsoft.com/office/drawing/2014/main" id="{52EF4124-B645-4592-82BB-C611225807D1}"/>
              </a:ext>
            </a:extLst>
          </p:cNvPr>
          <p:cNvCxnSpPr>
            <a:cxnSpLocks/>
            <a:stCxn id="5" idx="2"/>
            <a:endCxn id="93" idx="0"/>
          </p:cNvCxnSpPr>
          <p:nvPr/>
        </p:nvCxnSpPr>
        <p:spPr>
          <a:xfrm>
            <a:off x="2943994" y="2236362"/>
            <a:ext cx="9706" cy="778029"/>
          </a:xfrm>
          <a:prstGeom prst="straightConnector1">
            <a:avLst/>
          </a:prstGeom>
          <a:ln w="22225">
            <a:solidFill>
              <a:srgbClr val="203864"/>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98" name="Gerade Verbindung mit Pfeil 97">
            <a:extLst>
              <a:ext uri="{FF2B5EF4-FFF2-40B4-BE49-F238E27FC236}">
                <a16:creationId xmlns:a16="http://schemas.microsoft.com/office/drawing/2014/main" id="{08F5CA4D-9198-475A-9107-B2A20F5D4148}"/>
              </a:ext>
            </a:extLst>
          </p:cNvPr>
          <p:cNvCxnSpPr>
            <a:cxnSpLocks/>
          </p:cNvCxnSpPr>
          <p:nvPr/>
        </p:nvCxnSpPr>
        <p:spPr>
          <a:xfrm>
            <a:off x="2972167" y="3374391"/>
            <a:ext cx="9706" cy="778029"/>
          </a:xfrm>
          <a:prstGeom prst="straightConnector1">
            <a:avLst/>
          </a:prstGeom>
          <a:ln w="22225">
            <a:solidFill>
              <a:srgbClr val="203864"/>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05" name="Gerade Verbindung mit Pfeil 104">
            <a:extLst>
              <a:ext uri="{FF2B5EF4-FFF2-40B4-BE49-F238E27FC236}">
                <a16:creationId xmlns:a16="http://schemas.microsoft.com/office/drawing/2014/main" id="{F4D0B576-3200-436F-8A28-CBA161464E0D}"/>
              </a:ext>
            </a:extLst>
          </p:cNvPr>
          <p:cNvCxnSpPr>
            <a:cxnSpLocks/>
          </p:cNvCxnSpPr>
          <p:nvPr/>
        </p:nvCxnSpPr>
        <p:spPr>
          <a:xfrm>
            <a:off x="2953699" y="1120604"/>
            <a:ext cx="0" cy="183355"/>
          </a:xfrm>
          <a:prstGeom prst="straightConnector1">
            <a:avLst/>
          </a:prstGeom>
          <a:ln w="22225">
            <a:solidFill>
              <a:srgbClr val="203864"/>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13" name="Gerade Verbindung mit Pfeil 112">
            <a:extLst>
              <a:ext uri="{FF2B5EF4-FFF2-40B4-BE49-F238E27FC236}">
                <a16:creationId xmlns:a16="http://schemas.microsoft.com/office/drawing/2014/main" id="{EAA7236C-F0A3-4E32-BF1F-41826A7A3D0A}"/>
              </a:ext>
            </a:extLst>
          </p:cNvPr>
          <p:cNvCxnSpPr>
            <a:cxnSpLocks/>
            <a:stCxn id="50" idx="2"/>
            <a:endCxn id="52" idx="0"/>
          </p:cNvCxnSpPr>
          <p:nvPr/>
        </p:nvCxnSpPr>
        <p:spPr>
          <a:xfrm>
            <a:off x="5880796" y="2788764"/>
            <a:ext cx="19410" cy="816791"/>
          </a:xfrm>
          <a:prstGeom prst="straightConnector1">
            <a:avLst/>
          </a:prstGeom>
          <a:ln w="22225">
            <a:solidFill>
              <a:srgbClr val="203864"/>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14" name="Gerade Verbindung mit Pfeil 113">
            <a:extLst>
              <a:ext uri="{FF2B5EF4-FFF2-40B4-BE49-F238E27FC236}">
                <a16:creationId xmlns:a16="http://schemas.microsoft.com/office/drawing/2014/main" id="{CB68D07C-C7FE-473A-B72C-E8F8542DB8B4}"/>
              </a:ext>
            </a:extLst>
          </p:cNvPr>
          <p:cNvCxnSpPr>
            <a:cxnSpLocks/>
            <a:endCxn id="50" idx="0"/>
          </p:cNvCxnSpPr>
          <p:nvPr/>
        </p:nvCxnSpPr>
        <p:spPr>
          <a:xfrm flipH="1">
            <a:off x="5880796" y="1502885"/>
            <a:ext cx="14558" cy="925879"/>
          </a:xfrm>
          <a:prstGeom prst="straightConnector1">
            <a:avLst/>
          </a:prstGeom>
          <a:ln w="22225">
            <a:solidFill>
              <a:srgbClr val="203864"/>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16" name="Gerade Verbindung mit Pfeil 115">
            <a:extLst>
              <a:ext uri="{FF2B5EF4-FFF2-40B4-BE49-F238E27FC236}">
                <a16:creationId xmlns:a16="http://schemas.microsoft.com/office/drawing/2014/main" id="{6A9193E6-48BA-4482-893B-8688B7522AE7}"/>
              </a:ext>
            </a:extLst>
          </p:cNvPr>
          <p:cNvCxnSpPr>
            <a:cxnSpLocks/>
            <a:stCxn id="52" idx="2"/>
            <a:endCxn id="67" idx="0"/>
          </p:cNvCxnSpPr>
          <p:nvPr/>
        </p:nvCxnSpPr>
        <p:spPr>
          <a:xfrm flipH="1">
            <a:off x="5893057" y="3965555"/>
            <a:ext cx="7149" cy="334712"/>
          </a:xfrm>
          <a:prstGeom prst="straightConnector1">
            <a:avLst/>
          </a:prstGeom>
          <a:ln w="22225">
            <a:solidFill>
              <a:srgbClr val="203864"/>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19" name="Verbinder: gewinkelt 118">
            <a:extLst>
              <a:ext uri="{FF2B5EF4-FFF2-40B4-BE49-F238E27FC236}">
                <a16:creationId xmlns:a16="http://schemas.microsoft.com/office/drawing/2014/main" id="{27EB29A0-4ACD-4380-B54F-391614B3068D}"/>
              </a:ext>
            </a:extLst>
          </p:cNvPr>
          <p:cNvCxnSpPr>
            <a:cxnSpLocks/>
            <a:stCxn id="94" idx="2"/>
            <a:endCxn id="46" idx="0"/>
          </p:cNvCxnSpPr>
          <p:nvPr/>
        </p:nvCxnSpPr>
        <p:spPr>
          <a:xfrm rot="5400000" flipH="1" flipV="1">
            <a:off x="2743452" y="1365776"/>
            <a:ext cx="3357297" cy="2936803"/>
          </a:xfrm>
          <a:prstGeom prst="bentConnector5">
            <a:avLst>
              <a:gd name="adj1" fmla="val -6809"/>
              <a:gd name="adj2" fmla="val 50000"/>
              <a:gd name="adj3" fmla="val 106809"/>
            </a:avLst>
          </a:prstGeom>
          <a:ln w="22225">
            <a:solidFill>
              <a:srgbClr val="203864"/>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126" name="Grafik 125">
            <a:extLst>
              <a:ext uri="{FF2B5EF4-FFF2-40B4-BE49-F238E27FC236}">
                <a16:creationId xmlns:a16="http://schemas.microsoft.com/office/drawing/2014/main" id="{F28076E2-F461-4E52-9870-1E5E3E7F5906}"/>
              </a:ext>
            </a:extLst>
          </p:cNvPr>
          <p:cNvPicPr>
            <a:picLocks noChangeAspect="1"/>
          </p:cNvPicPr>
          <p:nvPr/>
        </p:nvPicPr>
        <p:blipFill rotWithShape="1">
          <a:blip r:embed="rId3"/>
          <a:srcRect r="46094" b="17323"/>
          <a:stretch/>
        </p:blipFill>
        <p:spPr>
          <a:xfrm>
            <a:off x="435520" y="2511538"/>
            <a:ext cx="1598077" cy="859126"/>
          </a:xfrm>
          <a:prstGeom prst="rect">
            <a:avLst/>
          </a:prstGeom>
          <a:ln>
            <a:noFill/>
          </a:ln>
          <a:effectLst>
            <a:outerShdw blurRad="50800" dist="38100" dir="5400000" algn="t" rotWithShape="0">
              <a:prstClr val="black">
                <a:alpha val="40000"/>
              </a:prstClr>
            </a:outerShdw>
          </a:effectLst>
        </p:spPr>
      </p:pic>
      <p:pic>
        <p:nvPicPr>
          <p:cNvPr id="128" name="Grafik 127">
            <a:extLst>
              <a:ext uri="{FF2B5EF4-FFF2-40B4-BE49-F238E27FC236}">
                <a16:creationId xmlns:a16="http://schemas.microsoft.com/office/drawing/2014/main" id="{66E8979B-50E1-416F-BE49-574E72A81E36}"/>
              </a:ext>
            </a:extLst>
          </p:cNvPr>
          <p:cNvPicPr>
            <a:picLocks noChangeAspect="1"/>
          </p:cNvPicPr>
          <p:nvPr/>
        </p:nvPicPr>
        <p:blipFill rotWithShape="1">
          <a:blip r:embed="rId4"/>
          <a:srcRect l="1918" r="10948" b="18917"/>
          <a:stretch/>
        </p:blipFill>
        <p:spPr>
          <a:xfrm>
            <a:off x="107935" y="4144727"/>
            <a:ext cx="1905074" cy="311081"/>
          </a:xfrm>
          <a:prstGeom prst="rect">
            <a:avLst/>
          </a:prstGeom>
          <a:ln>
            <a:noFill/>
          </a:ln>
          <a:effectLst>
            <a:outerShdw blurRad="50800" dist="38100" dir="5400000" algn="t" rotWithShape="0">
              <a:prstClr val="black">
                <a:alpha val="40000"/>
              </a:prstClr>
            </a:outerShdw>
          </a:effectLst>
        </p:spPr>
      </p:pic>
      <p:pic>
        <p:nvPicPr>
          <p:cNvPr id="130" name="Grafik 129">
            <a:extLst>
              <a:ext uri="{FF2B5EF4-FFF2-40B4-BE49-F238E27FC236}">
                <a16:creationId xmlns:a16="http://schemas.microsoft.com/office/drawing/2014/main" id="{E25B4841-BA94-43AE-A53A-A44A3435A64F}"/>
              </a:ext>
            </a:extLst>
          </p:cNvPr>
          <p:cNvPicPr>
            <a:picLocks noChangeAspect="1"/>
          </p:cNvPicPr>
          <p:nvPr/>
        </p:nvPicPr>
        <p:blipFill rotWithShape="1">
          <a:blip r:embed="rId5"/>
          <a:srcRect r="51457" b="3525"/>
          <a:stretch/>
        </p:blipFill>
        <p:spPr>
          <a:xfrm>
            <a:off x="6765514" y="610887"/>
            <a:ext cx="1327070" cy="1363670"/>
          </a:xfrm>
          <a:prstGeom prst="rect">
            <a:avLst/>
          </a:prstGeom>
          <a:ln>
            <a:noFill/>
          </a:ln>
          <a:effectLst>
            <a:outerShdw blurRad="50800" dist="38100" dir="5400000" algn="t" rotWithShape="0">
              <a:prstClr val="black">
                <a:alpha val="40000"/>
              </a:prstClr>
            </a:outerShdw>
          </a:effectLst>
        </p:spPr>
      </p:pic>
      <p:pic>
        <p:nvPicPr>
          <p:cNvPr id="137" name="Grafik 136">
            <a:extLst>
              <a:ext uri="{FF2B5EF4-FFF2-40B4-BE49-F238E27FC236}">
                <a16:creationId xmlns:a16="http://schemas.microsoft.com/office/drawing/2014/main" id="{14EAD180-6EEE-4886-AED6-FE90425BE79E}"/>
              </a:ext>
            </a:extLst>
          </p:cNvPr>
          <p:cNvPicPr>
            <a:picLocks noChangeAspect="1"/>
          </p:cNvPicPr>
          <p:nvPr/>
        </p:nvPicPr>
        <p:blipFill rotWithShape="1">
          <a:blip r:embed="rId6"/>
          <a:srcRect r="23107"/>
          <a:stretch/>
        </p:blipFill>
        <p:spPr>
          <a:xfrm>
            <a:off x="6788010" y="3598282"/>
            <a:ext cx="2228580" cy="1161547"/>
          </a:xfrm>
          <a:prstGeom prst="rect">
            <a:avLst/>
          </a:prstGeom>
          <a:ln>
            <a:noFill/>
          </a:ln>
          <a:effectLst>
            <a:outerShdw blurRad="50800" dist="38100" dir="5400000" algn="t" rotWithShape="0">
              <a:prstClr val="black">
                <a:alpha val="40000"/>
              </a:prstClr>
            </a:outerShdw>
          </a:effectLst>
        </p:spPr>
      </p:pic>
      <p:pic>
        <p:nvPicPr>
          <p:cNvPr id="139" name="Grafik 138">
            <a:extLst>
              <a:ext uri="{FF2B5EF4-FFF2-40B4-BE49-F238E27FC236}">
                <a16:creationId xmlns:a16="http://schemas.microsoft.com/office/drawing/2014/main" id="{4E7F8C58-AD94-48CC-92B1-309EFC0CA752}"/>
              </a:ext>
            </a:extLst>
          </p:cNvPr>
          <p:cNvPicPr>
            <a:picLocks noChangeAspect="1"/>
          </p:cNvPicPr>
          <p:nvPr/>
        </p:nvPicPr>
        <p:blipFill rotWithShape="1">
          <a:blip r:embed="rId7"/>
          <a:srcRect r="48289" b="9206"/>
          <a:stretch/>
        </p:blipFill>
        <p:spPr>
          <a:xfrm>
            <a:off x="6788010" y="2078671"/>
            <a:ext cx="1304574" cy="1420728"/>
          </a:xfrm>
          <a:prstGeom prst="rect">
            <a:avLst/>
          </a:prstGeom>
          <a:ln>
            <a:noFill/>
          </a:ln>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41110064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A19744FE-0122-4458-A703-1ED9355A7C5F}"/>
              </a:ext>
            </a:extLst>
          </p:cNvPr>
          <p:cNvSpPr>
            <a:spLocks noGrp="1"/>
          </p:cNvSpPr>
          <p:nvPr>
            <p:ph type="body" sz="quarter" idx="18"/>
          </p:nvPr>
        </p:nvSpPr>
        <p:spPr/>
        <p:txBody>
          <a:bodyPr>
            <a:normAutofit/>
          </a:bodyPr>
          <a:lstStyle/>
          <a:p>
            <a:r>
              <a:rPr lang="de-DE"/>
              <a:t>1.3 UDI </a:t>
            </a:r>
            <a:r>
              <a:rPr lang="de-DE" err="1"/>
              <a:t>P</a:t>
            </a:r>
            <a:r>
              <a:rPr lang="de-DE" sz="1400" err="1"/>
              <a:t>rogram</a:t>
            </a:r>
            <a:r>
              <a:rPr lang="de-DE" sz="1400"/>
              <a:t> </a:t>
            </a:r>
            <a:r>
              <a:rPr lang="de-DE"/>
              <a:t>S</a:t>
            </a:r>
            <a:r>
              <a:rPr lang="de-DE" sz="1400"/>
              <a:t>ettings</a:t>
            </a:r>
            <a:r>
              <a:rPr lang="de-DE"/>
              <a:t> </a:t>
            </a:r>
          </a:p>
        </p:txBody>
      </p:sp>
      <p:sp>
        <p:nvSpPr>
          <p:cNvPr id="7" name="Inhaltsplatzhalter 6">
            <a:extLst>
              <a:ext uri="{FF2B5EF4-FFF2-40B4-BE49-F238E27FC236}">
                <a16:creationId xmlns:a16="http://schemas.microsoft.com/office/drawing/2014/main" id="{22974B99-5E58-480B-92F2-3B8832468EBD}"/>
              </a:ext>
            </a:extLst>
          </p:cNvPr>
          <p:cNvSpPr>
            <a:spLocks noGrp="1"/>
          </p:cNvSpPr>
          <p:nvPr>
            <p:ph sz="quarter" idx="19"/>
          </p:nvPr>
        </p:nvSpPr>
        <p:spPr>
          <a:xfrm>
            <a:off x="219267" y="1337526"/>
            <a:ext cx="7799172" cy="3455988"/>
          </a:xfrm>
        </p:spPr>
        <p:txBody>
          <a:bodyPr/>
          <a:lstStyle/>
          <a:p>
            <a:pPr marL="0" indent="0">
              <a:buNone/>
            </a:pPr>
            <a:r>
              <a:rPr lang="en-US"/>
              <a:t>Basic settings of the application are made in this area. The settings affect the UDI maintenance transaction and the permissions. They also have an impact on the layout.</a:t>
            </a:r>
          </a:p>
          <a:p>
            <a:pPr>
              <a:buFont typeface="Arial" panose="020B0604020202020204" pitchFamily="34" charset="0"/>
              <a:buChar char="•"/>
            </a:pPr>
            <a:endParaRPr lang="de-DE"/>
          </a:p>
        </p:txBody>
      </p:sp>
      <p:sp>
        <p:nvSpPr>
          <p:cNvPr id="3" name="Titel 2">
            <a:extLst>
              <a:ext uri="{FF2B5EF4-FFF2-40B4-BE49-F238E27FC236}">
                <a16:creationId xmlns:a16="http://schemas.microsoft.com/office/drawing/2014/main" id="{17403686-94D3-4A24-BDEB-07854049E7FA}"/>
              </a:ext>
            </a:extLst>
          </p:cNvPr>
          <p:cNvSpPr>
            <a:spLocks noGrp="1"/>
          </p:cNvSpPr>
          <p:nvPr>
            <p:ph type="title"/>
          </p:nvPr>
        </p:nvSpPr>
        <p:spPr/>
        <p:txBody>
          <a:bodyPr>
            <a:normAutofit fontScale="90000"/>
          </a:bodyPr>
          <a:lstStyle/>
          <a:p>
            <a:r>
              <a:rPr lang="de-DE"/>
              <a:t>1. </a:t>
            </a:r>
            <a:r>
              <a:rPr lang="de-DE" err="1"/>
              <a:t>Introduction</a:t>
            </a:r>
            <a:endParaRPr lang="de-DE"/>
          </a:p>
        </p:txBody>
      </p:sp>
      <p:pic>
        <p:nvPicPr>
          <p:cNvPr id="4" name="Grafik 3">
            <a:extLst>
              <a:ext uri="{FF2B5EF4-FFF2-40B4-BE49-F238E27FC236}">
                <a16:creationId xmlns:a16="http://schemas.microsoft.com/office/drawing/2014/main" id="{4E8B2B20-F7A1-40FD-BA17-B35038EF5166}"/>
              </a:ext>
            </a:extLst>
          </p:cNvPr>
          <p:cNvPicPr>
            <a:picLocks noChangeAspect="1"/>
          </p:cNvPicPr>
          <p:nvPr/>
        </p:nvPicPr>
        <p:blipFill>
          <a:blip r:embed="rId2"/>
          <a:stretch>
            <a:fillRect/>
          </a:stretch>
        </p:blipFill>
        <p:spPr>
          <a:xfrm>
            <a:off x="2038099" y="2131660"/>
            <a:ext cx="4963218" cy="1371791"/>
          </a:xfrm>
          <a:prstGeom prst="rect">
            <a:avLst/>
          </a:prstGeom>
          <a:ln w="12700">
            <a:solidFill>
              <a:srgbClr val="2F5597"/>
            </a:solidFill>
          </a:ln>
          <a:effectLst/>
        </p:spPr>
      </p:pic>
    </p:spTree>
    <p:extLst>
      <p:ext uri="{BB962C8B-B14F-4D97-AF65-F5344CB8AC3E}">
        <p14:creationId xmlns:p14="http://schemas.microsoft.com/office/powerpoint/2010/main" val="362605526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ADD9E0F-ED1C-4F82-BD9D-F0239A2E7022}"/>
              </a:ext>
            </a:extLst>
          </p:cNvPr>
          <p:cNvSpPr>
            <a:spLocks noGrp="1"/>
          </p:cNvSpPr>
          <p:nvPr>
            <p:ph type="title"/>
          </p:nvPr>
        </p:nvSpPr>
        <p:spPr/>
        <p:txBody>
          <a:bodyPr>
            <a:normAutofit fontScale="90000"/>
          </a:bodyPr>
          <a:lstStyle/>
          <a:p>
            <a:r>
              <a:rPr lang="de-DE"/>
              <a:t>Appendix - Adding a new </a:t>
            </a:r>
            <a:r>
              <a:rPr lang="de-DE" err="1"/>
              <a:t>or</a:t>
            </a:r>
            <a:r>
              <a:rPr lang="de-DE"/>
              <a:t> existing </a:t>
            </a:r>
            <a:r>
              <a:rPr lang="de-DE" err="1"/>
              <a:t>device</a:t>
            </a:r>
            <a:r>
              <a:rPr lang="de-DE"/>
              <a:t> to a new BASIC UDI-DI</a:t>
            </a:r>
          </a:p>
        </p:txBody>
      </p:sp>
      <p:sp>
        <p:nvSpPr>
          <p:cNvPr id="5" name="Rechteck 4">
            <a:extLst>
              <a:ext uri="{FF2B5EF4-FFF2-40B4-BE49-F238E27FC236}">
                <a16:creationId xmlns:a16="http://schemas.microsoft.com/office/drawing/2014/main" id="{330BF89E-CCF6-454D-9595-233E95E51A24}"/>
              </a:ext>
            </a:extLst>
          </p:cNvPr>
          <p:cNvSpPr/>
          <p:nvPr/>
        </p:nvSpPr>
        <p:spPr>
          <a:xfrm>
            <a:off x="3408385" y="1525831"/>
            <a:ext cx="1530000" cy="360000"/>
          </a:xfrm>
          <a:prstGeom prst="rect">
            <a:avLst/>
          </a:prstGeom>
          <a:solidFill>
            <a:srgbClr val="20386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a:t>Create a material using the transaction MM01</a:t>
            </a:r>
          </a:p>
        </p:txBody>
      </p:sp>
      <p:sp>
        <p:nvSpPr>
          <p:cNvPr id="17" name="Textfeld 16">
            <a:extLst>
              <a:ext uri="{FF2B5EF4-FFF2-40B4-BE49-F238E27FC236}">
                <a16:creationId xmlns:a16="http://schemas.microsoft.com/office/drawing/2014/main" id="{DEDF0172-92F5-4A2C-AB3C-6B6D1B0E59CE}"/>
              </a:ext>
            </a:extLst>
          </p:cNvPr>
          <p:cNvSpPr txBox="1"/>
          <p:nvPr/>
        </p:nvSpPr>
        <p:spPr>
          <a:xfrm>
            <a:off x="4173385" y="1371593"/>
            <a:ext cx="328186" cy="200055"/>
          </a:xfrm>
          <a:prstGeom prst="rect">
            <a:avLst/>
          </a:prstGeom>
          <a:noFill/>
        </p:spPr>
        <p:txBody>
          <a:bodyPr wrap="square" rtlCol="0">
            <a:spAutoFit/>
          </a:bodyPr>
          <a:lstStyle/>
          <a:p>
            <a:r>
              <a:rPr lang="de-DE" sz="700" b="1">
                <a:effectLst>
                  <a:outerShdw blurRad="38100" dist="38100" dir="2700000" algn="tl">
                    <a:srgbClr val="000000">
                      <a:alpha val="43137"/>
                    </a:srgbClr>
                  </a:outerShdw>
                </a:effectLst>
              </a:rPr>
              <a:t>No</a:t>
            </a:r>
          </a:p>
        </p:txBody>
      </p:sp>
      <p:sp>
        <p:nvSpPr>
          <p:cNvPr id="22" name="Textfeld 21">
            <a:extLst>
              <a:ext uri="{FF2B5EF4-FFF2-40B4-BE49-F238E27FC236}">
                <a16:creationId xmlns:a16="http://schemas.microsoft.com/office/drawing/2014/main" id="{38724302-9537-4436-BE71-4E03214DF0E3}"/>
              </a:ext>
            </a:extLst>
          </p:cNvPr>
          <p:cNvSpPr txBox="1"/>
          <p:nvPr/>
        </p:nvSpPr>
        <p:spPr>
          <a:xfrm>
            <a:off x="4899716" y="1992823"/>
            <a:ext cx="329667" cy="200055"/>
          </a:xfrm>
          <a:prstGeom prst="rect">
            <a:avLst/>
          </a:prstGeom>
          <a:noFill/>
        </p:spPr>
        <p:txBody>
          <a:bodyPr wrap="square" rtlCol="0">
            <a:spAutoFit/>
          </a:bodyPr>
          <a:lstStyle/>
          <a:p>
            <a:r>
              <a:rPr lang="de-DE" sz="700" b="1">
                <a:effectLst>
                  <a:outerShdw blurRad="38100" dist="38100" dir="2700000" algn="tl">
                    <a:srgbClr val="000000">
                      <a:alpha val="43137"/>
                    </a:srgbClr>
                  </a:outerShdw>
                </a:effectLst>
              </a:rPr>
              <a:t>Yes</a:t>
            </a:r>
          </a:p>
        </p:txBody>
      </p:sp>
      <p:sp>
        <p:nvSpPr>
          <p:cNvPr id="29" name="Flussdiagramm: Verzweigung 28">
            <a:extLst>
              <a:ext uri="{FF2B5EF4-FFF2-40B4-BE49-F238E27FC236}">
                <a16:creationId xmlns:a16="http://schemas.microsoft.com/office/drawing/2014/main" id="{59F01D03-06BE-4275-8301-B3A0E931BFF6}"/>
              </a:ext>
            </a:extLst>
          </p:cNvPr>
          <p:cNvSpPr/>
          <p:nvPr/>
        </p:nvSpPr>
        <p:spPr>
          <a:xfrm>
            <a:off x="3561321" y="1042562"/>
            <a:ext cx="1243540" cy="365138"/>
          </a:xfrm>
          <a:prstGeom prst="flowChartDecision">
            <a:avLst/>
          </a:prstGeom>
          <a:solidFill>
            <a:schemeClr val="accent1">
              <a:lumMod val="75000"/>
            </a:schemeClr>
          </a:solidFill>
          <a:ln w="22225">
            <a:solidFill>
              <a:schemeClr val="accent1">
                <a:lumMod val="50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a:t>Material</a:t>
            </a:r>
          </a:p>
          <a:p>
            <a:pPr algn="ctr"/>
            <a:r>
              <a:rPr lang="de-DE" sz="700"/>
              <a:t>in SAP</a:t>
            </a:r>
          </a:p>
          <a:p>
            <a:pPr algn="ctr"/>
            <a:r>
              <a:rPr lang="de-DE" sz="700"/>
              <a:t>exists</a:t>
            </a:r>
          </a:p>
        </p:txBody>
      </p:sp>
      <p:sp>
        <p:nvSpPr>
          <p:cNvPr id="46" name="Rechteck 45">
            <a:extLst>
              <a:ext uri="{FF2B5EF4-FFF2-40B4-BE49-F238E27FC236}">
                <a16:creationId xmlns:a16="http://schemas.microsoft.com/office/drawing/2014/main" id="{0F4E37C0-9CBB-49E6-9E4C-F23750A45287}"/>
              </a:ext>
            </a:extLst>
          </p:cNvPr>
          <p:cNvSpPr/>
          <p:nvPr/>
        </p:nvSpPr>
        <p:spPr>
          <a:xfrm>
            <a:off x="3369716" y="3012074"/>
            <a:ext cx="1530000" cy="360000"/>
          </a:xfrm>
          <a:prstGeom prst="rect">
            <a:avLst/>
          </a:prstGeom>
          <a:solidFill>
            <a:srgbClr val="20386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t>Maintain the UDI data in the sheet “BASIC UDI-DI”</a:t>
            </a:r>
            <a:endParaRPr lang="de-DE" sz="700"/>
          </a:p>
        </p:txBody>
      </p:sp>
      <p:cxnSp>
        <p:nvCxnSpPr>
          <p:cNvPr id="47" name="Gerade Verbindung mit Pfeil 46">
            <a:extLst>
              <a:ext uri="{FF2B5EF4-FFF2-40B4-BE49-F238E27FC236}">
                <a16:creationId xmlns:a16="http://schemas.microsoft.com/office/drawing/2014/main" id="{CBD8DE33-4E29-4238-AF0B-F9AA88865380}"/>
              </a:ext>
            </a:extLst>
          </p:cNvPr>
          <p:cNvCxnSpPr>
            <a:cxnSpLocks/>
            <a:stCxn id="29" idx="2"/>
          </p:cNvCxnSpPr>
          <p:nvPr/>
        </p:nvCxnSpPr>
        <p:spPr>
          <a:xfrm>
            <a:off x="4183091" y="1407700"/>
            <a:ext cx="0" cy="126000"/>
          </a:xfrm>
          <a:prstGeom prst="straightConnector1">
            <a:avLst/>
          </a:prstGeom>
          <a:ln w="22225">
            <a:solidFill>
              <a:srgbClr val="203864"/>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9" name="Verbinder: gewinkelt 48">
            <a:extLst>
              <a:ext uri="{FF2B5EF4-FFF2-40B4-BE49-F238E27FC236}">
                <a16:creationId xmlns:a16="http://schemas.microsoft.com/office/drawing/2014/main" id="{86081F27-D347-4403-A04E-C19C3DB869F4}"/>
              </a:ext>
            </a:extLst>
          </p:cNvPr>
          <p:cNvCxnSpPr>
            <a:cxnSpLocks/>
            <a:stCxn id="29" idx="3"/>
            <a:endCxn id="93" idx="3"/>
          </p:cNvCxnSpPr>
          <p:nvPr/>
        </p:nvCxnSpPr>
        <p:spPr>
          <a:xfrm>
            <a:off x="4804861" y="1225131"/>
            <a:ext cx="133524" cy="990352"/>
          </a:xfrm>
          <a:prstGeom prst="bentConnector3">
            <a:avLst>
              <a:gd name="adj1" fmla="val 271205"/>
            </a:avLst>
          </a:prstGeom>
          <a:ln w="22225">
            <a:solidFill>
              <a:srgbClr val="203864"/>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0" name="Rechteck 49">
            <a:extLst>
              <a:ext uri="{FF2B5EF4-FFF2-40B4-BE49-F238E27FC236}">
                <a16:creationId xmlns:a16="http://schemas.microsoft.com/office/drawing/2014/main" id="{6D65CDE5-E83B-47BB-B8DE-502412BD2202}"/>
              </a:ext>
            </a:extLst>
          </p:cNvPr>
          <p:cNvSpPr/>
          <p:nvPr/>
        </p:nvSpPr>
        <p:spPr>
          <a:xfrm>
            <a:off x="3369716" y="3487386"/>
            <a:ext cx="1530000" cy="360000"/>
          </a:xfrm>
          <a:prstGeom prst="rect">
            <a:avLst/>
          </a:prstGeom>
          <a:solidFill>
            <a:srgbClr val="20386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t>Go to the sheet “UDI-DI” and add the material by clicking “Add UDI-DI”</a:t>
            </a:r>
            <a:endParaRPr lang="de-DE" sz="700"/>
          </a:p>
        </p:txBody>
      </p:sp>
      <p:sp>
        <p:nvSpPr>
          <p:cNvPr id="52" name="Rechteck 51">
            <a:extLst>
              <a:ext uri="{FF2B5EF4-FFF2-40B4-BE49-F238E27FC236}">
                <a16:creationId xmlns:a16="http://schemas.microsoft.com/office/drawing/2014/main" id="{7A144B66-8198-4E51-A363-32DBA82D3F4C}"/>
              </a:ext>
            </a:extLst>
          </p:cNvPr>
          <p:cNvSpPr/>
          <p:nvPr/>
        </p:nvSpPr>
        <p:spPr>
          <a:xfrm>
            <a:off x="3369716" y="3973386"/>
            <a:ext cx="1530000" cy="360000"/>
          </a:xfrm>
          <a:prstGeom prst="rect">
            <a:avLst/>
          </a:prstGeom>
          <a:solidFill>
            <a:srgbClr val="20386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t>Maintain the UDI data in the sheet “UDI-DI”</a:t>
            </a:r>
            <a:endParaRPr lang="de-DE" sz="700"/>
          </a:p>
        </p:txBody>
      </p:sp>
      <p:sp>
        <p:nvSpPr>
          <p:cNvPr id="67" name="Flussdiagramm: Verbinder 66">
            <a:extLst>
              <a:ext uri="{FF2B5EF4-FFF2-40B4-BE49-F238E27FC236}">
                <a16:creationId xmlns:a16="http://schemas.microsoft.com/office/drawing/2014/main" id="{2C45D741-938D-437E-B004-8FC3E016AAD2}"/>
              </a:ext>
            </a:extLst>
          </p:cNvPr>
          <p:cNvSpPr/>
          <p:nvPr/>
        </p:nvSpPr>
        <p:spPr>
          <a:xfrm>
            <a:off x="3696439" y="4461568"/>
            <a:ext cx="933519" cy="364703"/>
          </a:xfrm>
          <a:prstGeom prst="flowChartConnector">
            <a:avLst/>
          </a:prstGeom>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a:t>Device was added to a new BUDI </a:t>
            </a:r>
          </a:p>
        </p:txBody>
      </p:sp>
      <p:sp>
        <p:nvSpPr>
          <p:cNvPr id="68" name="Flussdiagramm: Verbinder 67">
            <a:extLst>
              <a:ext uri="{FF2B5EF4-FFF2-40B4-BE49-F238E27FC236}">
                <a16:creationId xmlns:a16="http://schemas.microsoft.com/office/drawing/2014/main" id="{43530EBD-0B8D-4A35-A653-7EC71BB326E8}"/>
              </a:ext>
            </a:extLst>
          </p:cNvPr>
          <p:cNvSpPr/>
          <p:nvPr/>
        </p:nvSpPr>
        <p:spPr>
          <a:xfrm>
            <a:off x="3595151" y="573991"/>
            <a:ext cx="1175880" cy="330545"/>
          </a:xfrm>
          <a:prstGeom prst="flowChartConnector">
            <a:avLst/>
          </a:prstGeom>
          <a:solidFill>
            <a:schemeClr val="accent1">
              <a:lumMod val="60000"/>
              <a:lumOff val="40000"/>
            </a:schemeClr>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a:t>Device has to be added to a new BUDI</a:t>
            </a:r>
          </a:p>
        </p:txBody>
      </p:sp>
      <p:sp>
        <p:nvSpPr>
          <p:cNvPr id="93" name="Rechteck 92">
            <a:extLst>
              <a:ext uri="{FF2B5EF4-FFF2-40B4-BE49-F238E27FC236}">
                <a16:creationId xmlns:a16="http://schemas.microsoft.com/office/drawing/2014/main" id="{1D2FB84E-A477-4E7D-9F6A-AEB247CBA51C}"/>
              </a:ext>
            </a:extLst>
          </p:cNvPr>
          <p:cNvSpPr/>
          <p:nvPr/>
        </p:nvSpPr>
        <p:spPr>
          <a:xfrm>
            <a:off x="3408385" y="2035483"/>
            <a:ext cx="1530000" cy="360000"/>
          </a:xfrm>
          <a:prstGeom prst="rect">
            <a:avLst/>
          </a:prstGeom>
          <a:solidFill>
            <a:srgbClr val="20386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t>Set the material as “EU UDI relevant” (Status 1, 2) in the Basic Data 1 of MM02</a:t>
            </a:r>
            <a:endParaRPr lang="de-DE" sz="700"/>
          </a:p>
        </p:txBody>
      </p:sp>
      <p:sp>
        <p:nvSpPr>
          <p:cNvPr id="94" name="Rechteck 93">
            <a:extLst>
              <a:ext uri="{FF2B5EF4-FFF2-40B4-BE49-F238E27FC236}">
                <a16:creationId xmlns:a16="http://schemas.microsoft.com/office/drawing/2014/main" id="{0E58DF0B-847A-4D38-ABC7-F754B6382F8F}"/>
              </a:ext>
            </a:extLst>
          </p:cNvPr>
          <p:cNvSpPr/>
          <p:nvPr/>
        </p:nvSpPr>
        <p:spPr>
          <a:xfrm>
            <a:off x="3399582" y="2511969"/>
            <a:ext cx="1530000" cy="360000"/>
          </a:xfrm>
          <a:prstGeom prst="rect">
            <a:avLst/>
          </a:prstGeom>
          <a:solidFill>
            <a:srgbClr val="20386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t>Execute /UDI/MAINTAIN and click “Create Basic UDI-DI”</a:t>
            </a:r>
            <a:endParaRPr lang="de-DE" sz="700"/>
          </a:p>
        </p:txBody>
      </p:sp>
      <p:cxnSp>
        <p:nvCxnSpPr>
          <p:cNvPr id="95" name="Gerade Verbindung mit Pfeil 94">
            <a:extLst>
              <a:ext uri="{FF2B5EF4-FFF2-40B4-BE49-F238E27FC236}">
                <a16:creationId xmlns:a16="http://schemas.microsoft.com/office/drawing/2014/main" id="{52EF4124-B645-4592-82BB-C611225807D1}"/>
              </a:ext>
            </a:extLst>
          </p:cNvPr>
          <p:cNvCxnSpPr>
            <a:cxnSpLocks/>
            <a:stCxn id="5" idx="2"/>
            <a:endCxn id="93" idx="0"/>
          </p:cNvCxnSpPr>
          <p:nvPr/>
        </p:nvCxnSpPr>
        <p:spPr>
          <a:xfrm>
            <a:off x="4173385" y="1885831"/>
            <a:ext cx="0" cy="149652"/>
          </a:xfrm>
          <a:prstGeom prst="straightConnector1">
            <a:avLst/>
          </a:prstGeom>
          <a:ln w="22225">
            <a:solidFill>
              <a:srgbClr val="203864"/>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05" name="Gerade Verbindung mit Pfeil 104">
            <a:extLst>
              <a:ext uri="{FF2B5EF4-FFF2-40B4-BE49-F238E27FC236}">
                <a16:creationId xmlns:a16="http://schemas.microsoft.com/office/drawing/2014/main" id="{F4D0B576-3200-436F-8A28-CBA161464E0D}"/>
              </a:ext>
            </a:extLst>
          </p:cNvPr>
          <p:cNvCxnSpPr>
            <a:cxnSpLocks/>
            <a:stCxn id="68" idx="4"/>
          </p:cNvCxnSpPr>
          <p:nvPr/>
        </p:nvCxnSpPr>
        <p:spPr>
          <a:xfrm>
            <a:off x="4183091" y="904536"/>
            <a:ext cx="493" cy="144000"/>
          </a:xfrm>
          <a:prstGeom prst="straightConnector1">
            <a:avLst/>
          </a:prstGeom>
          <a:ln w="22225">
            <a:solidFill>
              <a:srgbClr val="203864"/>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1" name="Gerade Verbindung mit Pfeil 30">
            <a:extLst>
              <a:ext uri="{FF2B5EF4-FFF2-40B4-BE49-F238E27FC236}">
                <a16:creationId xmlns:a16="http://schemas.microsoft.com/office/drawing/2014/main" id="{6DA9AA30-B025-4A1B-BBDC-FD5A468FADEE}"/>
              </a:ext>
            </a:extLst>
          </p:cNvPr>
          <p:cNvCxnSpPr>
            <a:cxnSpLocks/>
          </p:cNvCxnSpPr>
          <p:nvPr/>
        </p:nvCxnSpPr>
        <p:spPr>
          <a:xfrm>
            <a:off x="4166361" y="2395483"/>
            <a:ext cx="0" cy="126000"/>
          </a:xfrm>
          <a:prstGeom prst="straightConnector1">
            <a:avLst/>
          </a:prstGeom>
          <a:ln w="22225">
            <a:solidFill>
              <a:srgbClr val="203864"/>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3" name="Gerade Verbindung mit Pfeil 32">
            <a:extLst>
              <a:ext uri="{FF2B5EF4-FFF2-40B4-BE49-F238E27FC236}">
                <a16:creationId xmlns:a16="http://schemas.microsoft.com/office/drawing/2014/main" id="{ACAFDE0D-AE2C-43C9-9B38-7345314882FC}"/>
              </a:ext>
            </a:extLst>
          </p:cNvPr>
          <p:cNvCxnSpPr>
            <a:cxnSpLocks/>
          </p:cNvCxnSpPr>
          <p:nvPr/>
        </p:nvCxnSpPr>
        <p:spPr>
          <a:xfrm>
            <a:off x="4164582" y="2871969"/>
            <a:ext cx="0" cy="126000"/>
          </a:xfrm>
          <a:prstGeom prst="straightConnector1">
            <a:avLst/>
          </a:prstGeom>
          <a:ln w="22225">
            <a:solidFill>
              <a:srgbClr val="203864"/>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4" name="Gerade Verbindung mit Pfeil 33">
            <a:extLst>
              <a:ext uri="{FF2B5EF4-FFF2-40B4-BE49-F238E27FC236}">
                <a16:creationId xmlns:a16="http://schemas.microsoft.com/office/drawing/2014/main" id="{BE90EB05-D158-43D7-9688-FFB3AE1B316C}"/>
              </a:ext>
            </a:extLst>
          </p:cNvPr>
          <p:cNvCxnSpPr>
            <a:cxnSpLocks/>
          </p:cNvCxnSpPr>
          <p:nvPr/>
        </p:nvCxnSpPr>
        <p:spPr>
          <a:xfrm>
            <a:off x="4164582" y="3372074"/>
            <a:ext cx="0" cy="126000"/>
          </a:xfrm>
          <a:prstGeom prst="straightConnector1">
            <a:avLst/>
          </a:prstGeom>
          <a:ln w="22225">
            <a:solidFill>
              <a:srgbClr val="203864"/>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8" name="Gerade Verbindung mit Pfeil 37">
            <a:extLst>
              <a:ext uri="{FF2B5EF4-FFF2-40B4-BE49-F238E27FC236}">
                <a16:creationId xmlns:a16="http://schemas.microsoft.com/office/drawing/2014/main" id="{D2572C6C-9920-44CC-8D69-4EBAE63650F5}"/>
              </a:ext>
            </a:extLst>
          </p:cNvPr>
          <p:cNvCxnSpPr>
            <a:cxnSpLocks/>
          </p:cNvCxnSpPr>
          <p:nvPr/>
        </p:nvCxnSpPr>
        <p:spPr>
          <a:xfrm>
            <a:off x="4169033" y="3847386"/>
            <a:ext cx="0" cy="126000"/>
          </a:xfrm>
          <a:prstGeom prst="straightConnector1">
            <a:avLst/>
          </a:prstGeom>
          <a:ln w="22225">
            <a:solidFill>
              <a:srgbClr val="203864"/>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3" name="Gerade Verbindung mit Pfeil 42">
            <a:extLst>
              <a:ext uri="{FF2B5EF4-FFF2-40B4-BE49-F238E27FC236}">
                <a16:creationId xmlns:a16="http://schemas.microsoft.com/office/drawing/2014/main" id="{E73FB2AC-41C7-4252-9923-1C3C142ADA8C}"/>
              </a:ext>
            </a:extLst>
          </p:cNvPr>
          <p:cNvCxnSpPr>
            <a:cxnSpLocks/>
          </p:cNvCxnSpPr>
          <p:nvPr/>
        </p:nvCxnSpPr>
        <p:spPr>
          <a:xfrm>
            <a:off x="4163199" y="4333386"/>
            <a:ext cx="0" cy="126000"/>
          </a:xfrm>
          <a:prstGeom prst="straightConnector1">
            <a:avLst/>
          </a:prstGeom>
          <a:ln w="22225">
            <a:solidFill>
              <a:srgbClr val="203864"/>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126394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ADD9E0F-ED1C-4F82-BD9D-F0239A2E7022}"/>
              </a:ext>
            </a:extLst>
          </p:cNvPr>
          <p:cNvSpPr>
            <a:spLocks noGrp="1"/>
          </p:cNvSpPr>
          <p:nvPr>
            <p:ph type="title"/>
          </p:nvPr>
        </p:nvSpPr>
        <p:spPr/>
        <p:txBody>
          <a:bodyPr>
            <a:normAutofit fontScale="90000"/>
          </a:bodyPr>
          <a:lstStyle/>
          <a:p>
            <a:r>
              <a:rPr lang="de-DE"/>
              <a:t>Appendix - Adding a new </a:t>
            </a:r>
            <a:r>
              <a:rPr lang="de-DE" err="1"/>
              <a:t>or</a:t>
            </a:r>
            <a:r>
              <a:rPr lang="de-DE"/>
              <a:t> existing </a:t>
            </a:r>
            <a:r>
              <a:rPr lang="de-DE" err="1"/>
              <a:t>device</a:t>
            </a:r>
            <a:r>
              <a:rPr lang="de-DE"/>
              <a:t> to an existing BASIC UDI-DI</a:t>
            </a:r>
          </a:p>
        </p:txBody>
      </p:sp>
      <p:sp>
        <p:nvSpPr>
          <p:cNvPr id="32" name="Rechteck 31">
            <a:extLst>
              <a:ext uri="{FF2B5EF4-FFF2-40B4-BE49-F238E27FC236}">
                <a16:creationId xmlns:a16="http://schemas.microsoft.com/office/drawing/2014/main" id="{C13CAF7E-4401-4DF3-ABFD-72AC52876AAD}"/>
              </a:ext>
            </a:extLst>
          </p:cNvPr>
          <p:cNvSpPr/>
          <p:nvPr/>
        </p:nvSpPr>
        <p:spPr>
          <a:xfrm>
            <a:off x="3529423" y="1838062"/>
            <a:ext cx="1530000" cy="360000"/>
          </a:xfrm>
          <a:prstGeom prst="rect">
            <a:avLst/>
          </a:prstGeom>
          <a:solidFill>
            <a:srgbClr val="20386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a:t>Create a material using the transaction MM01</a:t>
            </a:r>
          </a:p>
        </p:txBody>
      </p:sp>
      <p:sp>
        <p:nvSpPr>
          <p:cNvPr id="33" name="Textfeld 32">
            <a:extLst>
              <a:ext uri="{FF2B5EF4-FFF2-40B4-BE49-F238E27FC236}">
                <a16:creationId xmlns:a16="http://schemas.microsoft.com/office/drawing/2014/main" id="{AA05424E-DE3B-4646-98C7-F9C57541FD68}"/>
              </a:ext>
            </a:extLst>
          </p:cNvPr>
          <p:cNvSpPr txBox="1"/>
          <p:nvPr/>
        </p:nvSpPr>
        <p:spPr>
          <a:xfrm>
            <a:off x="3966236" y="1633391"/>
            <a:ext cx="328186" cy="200055"/>
          </a:xfrm>
          <a:prstGeom prst="rect">
            <a:avLst/>
          </a:prstGeom>
          <a:noFill/>
        </p:spPr>
        <p:txBody>
          <a:bodyPr wrap="square" rtlCol="0">
            <a:spAutoFit/>
          </a:bodyPr>
          <a:lstStyle/>
          <a:p>
            <a:r>
              <a:rPr lang="de-DE" sz="700" b="1">
                <a:effectLst>
                  <a:outerShdw blurRad="38100" dist="38100" dir="2700000" algn="tl">
                    <a:srgbClr val="000000">
                      <a:alpha val="43137"/>
                    </a:srgbClr>
                  </a:outerShdw>
                </a:effectLst>
              </a:rPr>
              <a:t>No</a:t>
            </a:r>
          </a:p>
        </p:txBody>
      </p:sp>
      <p:sp>
        <p:nvSpPr>
          <p:cNvPr id="34" name="Textfeld 33">
            <a:extLst>
              <a:ext uri="{FF2B5EF4-FFF2-40B4-BE49-F238E27FC236}">
                <a16:creationId xmlns:a16="http://schemas.microsoft.com/office/drawing/2014/main" id="{507FEDC6-FE64-412B-986A-D54771006B3A}"/>
              </a:ext>
            </a:extLst>
          </p:cNvPr>
          <p:cNvSpPr txBox="1"/>
          <p:nvPr/>
        </p:nvSpPr>
        <p:spPr>
          <a:xfrm>
            <a:off x="5268363" y="1971315"/>
            <a:ext cx="329667" cy="200055"/>
          </a:xfrm>
          <a:prstGeom prst="rect">
            <a:avLst/>
          </a:prstGeom>
          <a:noFill/>
        </p:spPr>
        <p:txBody>
          <a:bodyPr wrap="square" rtlCol="0">
            <a:spAutoFit/>
          </a:bodyPr>
          <a:lstStyle/>
          <a:p>
            <a:r>
              <a:rPr lang="de-DE" sz="700" b="1">
                <a:effectLst>
                  <a:outerShdw blurRad="38100" dist="38100" dir="2700000" algn="tl">
                    <a:srgbClr val="000000">
                      <a:alpha val="43137"/>
                    </a:srgbClr>
                  </a:outerShdw>
                </a:effectLst>
              </a:rPr>
              <a:t>Yes</a:t>
            </a:r>
          </a:p>
        </p:txBody>
      </p:sp>
      <p:sp>
        <p:nvSpPr>
          <p:cNvPr id="35" name="Flussdiagramm: Verzweigung 34">
            <a:extLst>
              <a:ext uri="{FF2B5EF4-FFF2-40B4-BE49-F238E27FC236}">
                <a16:creationId xmlns:a16="http://schemas.microsoft.com/office/drawing/2014/main" id="{D70C8913-48E1-429B-8490-3E07D83B469A}"/>
              </a:ext>
            </a:extLst>
          </p:cNvPr>
          <p:cNvSpPr/>
          <p:nvPr/>
        </p:nvSpPr>
        <p:spPr>
          <a:xfrm>
            <a:off x="3678364" y="1291311"/>
            <a:ext cx="1232119" cy="398135"/>
          </a:xfrm>
          <a:prstGeom prst="flowChartDecision">
            <a:avLst/>
          </a:prstGeom>
          <a:solidFill>
            <a:schemeClr val="accent1">
              <a:lumMod val="75000"/>
            </a:schemeClr>
          </a:solidFill>
          <a:ln w="22225">
            <a:solidFill>
              <a:schemeClr val="accent1">
                <a:lumMod val="50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a:t>Material in SAP</a:t>
            </a:r>
          </a:p>
          <a:p>
            <a:pPr algn="ctr"/>
            <a:r>
              <a:rPr lang="de-DE" sz="700"/>
              <a:t>exists</a:t>
            </a:r>
          </a:p>
        </p:txBody>
      </p:sp>
      <p:cxnSp>
        <p:nvCxnSpPr>
          <p:cNvPr id="36" name="Gerade Verbindung mit Pfeil 35">
            <a:extLst>
              <a:ext uri="{FF2B5EF4-FFF2-40B4-BE49-F238E27FC236}">
                <a16:creationId xmlns:a16="http://schemas.microsoft.com/office/drawing/2014/main" id="{ED637ACF-0DE7-4D2F-8A8D-D4C8FE39A371}"/>
              </a:ext>
            </a:extLst>
          </p:cNvPr>
          <p:cNvCxnSpPr>
            <a:cxnSpLocks/>
            <a:stCxn id="35" idx="2"/>
          </p:cNvCxnSpPr>
          <p:nvPr/>
        </p:nvCxnSpPr>
        <p:spPr>
          <a:xfrm>
            <a:off x="4294424" y="1689446"/>
            <a:ext cx="0" cy="144000"/>
          </a:xfrm>
          <a:prstGeom prst="straightConnector1">
            <a:avLst/>
          </a:prstGeom>
          <a:ln w="22225">
            <a:solidFill>
              <a:srgbClr val="203864"/>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37" name="Rechteck 36">
            <a:extLst>
              <a:ext uri="{FF2B5EF4-FFF2-40B4-BE49-F238E27FC236}">
                <a16:creationId xmlns:a16="http://schemas.microsoft.com/office/drawing/2014/main" id="{62B2C0E5-1E49-46B7-9D63-D70708FFF90A}"/>
              </a:ext>
            </a:extLst>
          </p:cNvPr>
          <p:cNvSpPr/>
          <p:nvPr/>
        </p:nvSpPr>
        <p:spPr>
          <a:xfrm>
            <a:off x="3529423" y="2313332"/>
            <a:ext cx="1530000" cy="360000"/>
          </a:xfrm>
          <a:prstGeom prst="rect">
            <a:avLst/>
          </a:prstGeom>
          <a:solidFill>
            <a:srgbClr val="20386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t>Set the material as “EU UDI relevant” (Status 1, 2) in the Basic Data 1 of MM</a:t>
            </a:r>
            <a:endParaRPr lang="de-DE" sz="700"/>
          </a:p>
        </p:txBody>
      </p:sp>
      <p:cxnSp>
        <p:nvCxnSpPr>
          <p:cNvPr id="38" name="Gerade Verbindung mit Pfeil 37">
            <a:extLst>
              <a:ext uri="{FF2B5EF4-FFF2-40B4-BE49-F238E27FC236}">
                <a16:creationId xmlns:a16="http://schemas.microsoft.com/office/drawing/2014/main" id="{1C9EAC73-EFC7-47A6-BCB5-AC89AAFD65A5}"/>
              </a:ext>
            </a:extLst>
          </p:cNvPr>
          <p:cNvCxnSpPr>
            <a:cxnSpLocks/>
          </p:cNvCxnSpPr>
          <p:nvPr/>
        </p:nvCxnSpPr>
        <p:spPr>
          <a:xfrm flipH="1">
            <a:off x="4294422" y="2171370"/>
            <a:ext cx="2" cy="144000"/>
          </a:xfrm>
          <a:prstGeom prst="straightConnector1">
            <a:avLst/>
          </a:prstGeom>
          <a:ln w="22225">
            <a:solidFill>
              <a:srgbClr val="203864"/>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39" name="Rechteck 38">
            <a:extLst>
              <a:ext uri="{FF2B5EF4-FFF2-40B4-BE49-F238E27FC236}">
                <a16:creationId xmlns:a16="http://schemas.microsoft.com/office/drawing/2014/main" id="{0E4B00EC-B4E6-4182-A152-214FD41C2EF5}"/>
              </a:ext>
            </a:extLst>
          </p:cNvPr>
          <p:cNvSpPr/>
          <p:nvPr/>
        </p:nvSpPr>
        <p:spPr>
          <a:xfrm>
            <a:off x="3529423" y="2798519"/>
            <a:ext cx="1530000" cy="360000"/>
          </a:xfrm>
          <a:prstGeom prst="rect">
            <a:avLst/>
          </a:prstGeom>
          <a:solidFill>
            <a:srgbClr val="20386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t>Execute /UDI/MAINTAIN, enter the Basic UDI-DI Code and click “Maintain UDI data”</a:t>
            </a:r>
            <a:endParaRPr lang="de-DE" sz="700"/>
          </a:p>
        </p:txBody>
      </p:sp>
      <p:cxnSp>
        <p:nvCxnSpPr>
          <p:cNvPr id="40" name="Gerade Verbindung mit Pfeil 39">
            <a:extLst>
              <a:ext uri="{FF2B5EF4-FFF2-40B4-BE49-F238E27FC236}">
                <a16:creationId xmlns:a16="http://schemas.microsoft.com/office/drawing/2014/main" id="{7FD07104-A459-4CED-A2AE-CF300E9C046B}"/>
              </a:ext>
            </a:extLst>
          </p:cNvPr>
          <p:cNvCxnSpPr>
            <a:cxnSpLocks/>
          </p:cNvCxnSpPr>
          <p:nvPr/>
        </p:nvCxnSpPr>
        <p:spPr>
          <a:xfrm flipH="1">
            <a:off x="4294422" y="2671373"/>
            <a:ext cx="2" cy="144000"/>
          </a:xfrm>
          <a:prstGeom prst="straightConnector1">
            <a:avLst/>
          </a:prstGeom>
          <a:ln w="22225">
            <a:solidFill>
              <a:srgbClr val="203864"/>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41" name="Rechteck 40">
            <a:extLst>
              <a:ext uri="{FF2B5EF4-FFF2-40B4-BE49-F238E27FC236}">
                <a16:creationId xmlns:a16="http://schemas.microsoft.com/office/drawing/2014/main" id="{128A5BC4-B742-4918-9B06-5B51E5E94CA6}"/>
              </a:ext>
            </a:extLst>
          </p:cNvPr>
          <p:cNvSpPr/>
          <p:nvPr/>
        </p:nvSpPr>
        <p:spPr>
          <a:xfrm>
            <a:off x="3529423" y="3286971"/>
            <a:ext cx="1530000" cy="360000"/>
          </a:xfrm>
          <a:prstGeom prst="rect">
            <a:avLst/>
          </a:prstGeom>
          <a:solidFill>
            <a:srgbClr val="20386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t>Go to the sheet “UDI-DI” and add the material by clicking “Add UDI-DI”</a:t>
            </a:r>
            <a:endParaRPr lang="de-DE" sz="700"/>
          </a:p>
        </p:txBody>
      </p:sp>
      <p:cxnSp>
        <p:nvCxnSpPr>
          <p:cNvPr id="42" name="Gerade Verbindung mit Pfeil 41">
            <a:extLst>
              <a:ext uri="{FF2B5EF4-FFF2-40B4-BE49-F238E27FC236}">
                <a16:creationId xmlns:a16="http://schemas.microsoft.com/office/drawing/2014/main" id="{C152B7FD-36A0-4715-AEF4-83F1CE33035E}"/>
              </a:ext>
            </a:extLst>
          </p:cNvPr>
          <p:cNvCxnSpPr>
            <a:cxnSpLocks/>
          </p:cNvCxnSpPr>
          <p:nvPr/>
        </p:nvCxnSpPr>
        <p:spPr>
          <a:xfrm flipH="1">
            <a:off x="4294422" y="3139706"/>
            <a:ext cx="2" cy="144000"/>
          </a:xfrm>
          <a:prstGeom prst="straightConnector1">
            <a:avLst/>
          </a:prstGeom>
          <a:ln w="22225">
            <a:solidFill>
              <a:srgbClr val="203864"/>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3" name="Verbinder: gewinkelt 42">
            <a:extLst>
              <a:ext uri="{FF2B5EF4-FFF2-40B4-BE49-F238E27FC236}">
                <a16:creationId xmlns:a16="http://schemas.microsoft.com/office/drawing/2014/main" id="{AD6374B6-F0F2-4B59-87D9-0C9F3AC50B34}"/>
              </a:ext>
            </a:extLst>
          </p:cNvPr>
          <p:cNvCxnSpPr>
            <a:cxnSpLocks/>
            <a:stCxn id="35" idx="3"/>
            <a:endCxn id="37" idx="3"/>
          </p:cNvCxnSpPr>
          <p:nvPr/>
        </p:nvCxnSpPr>
        <p:spPr>
          <a:xfrm>
            <a:off x="4910483" y="1490379"/>
            <a:ext cx="148940" cy="1002953"/>
          </a:xfrm>
          <a:prstGeom prst="bentConnector3">
            <a:avLst>
              <a:gd name="adj1" fmla="val 253485"/>
            </a:avLst>
          </a:prstGeom>
          <a:ln w="22225">
            <a:solidFill>
              <a:srgbClr val="203864"/>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44" name="Rechteck 43">
            <a:extLst>
              <a:ext uri="{FF2B5EF4-FFF2-40B4-BE49-F238E27FC236}">
                <a16:creationId xmlns:a16="http://schemas.microsoft.com/office/drawing/2014/main" id="{33946089-3A95-4E6B-A93E-600FF49F457D}"/>
              </a:ext>
            </a:extLst>
          </p:cNvPr>
          <p:cNvSpPr/>
          <p:nvPr/>
        </p:nvSpPr>
        <p:spPr>
          <a:xfrm>
            <a:off x="3529423" y="3794236"/>
            <a:ext cx="1530000" cy="360000"/>
          </a:xfrm>
          <a:prstGeom prst="rect">
            <a:avLst/>
          </a:prstGeom>
          <a:solidFill>
            <a:srgbClr val="20386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t>Maintain the UDI data in the sheet “UDI-DI”</a:t>
            </a:r>
            <a:endParaRPr lang="de-DE" sz="700"/>
          </a:p>
        </p:txBody>
      </p:sp>
      <p:cxnSp>
        <p:nvCxnSpPr>
          <p:cNvPr id="45" name="Gerade Verbindung mit Pfeil 44">
            <a:extLst>
              <a:ext uri="{FF2B5EF4-FFF2-40B4-BE49-F238E27FC236}">
                <a16:creationId xmlns:a16="http://schemas.microsoft.com/office/drawing/2014/main" id="{EB831992-A3DF-45A4-89A7-9D8A8BEA2758}"/>
              </a:ext>
            </a:extLst>
          </p:cNvPr>
          <p:cNvCxnSpPr>
            <a:cxnSpLocks/>
          </p:cNvCxnSpPr>
          <p:nvPr/>
        </p:nvCxnSpPr>
        <p:spPr>
          <a:xfrm flipH="1">
            <a:off x="4294422" y="3650236"/>
            <a:ext cx="2" cy="144000"/>
          </a:xfrm>
          <a:prstGeom prst="straightConnector1">
            <a:avLst/>
          </a:prstGeom>
          <a:ln w="22225">
            <a:solidFill>
              <a:srgbClr val="203864"/>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9" name="Gerade Verbindung mit Pfeil 48">
            <a:extLst>
              <a:ext uri="{FF2B5EF4-FFF2-40B4-BE49-F238E27FC236}">
                <a16:creationId xmlns:a16="http://schemas.microsoft.com/office/drawing/2014/main" id="{9B3DBB1C-306F-48F7-A331-99ABA8535366}"/>
              </a:ext>
            </a:extLst>
          </p:cNvPr>
          <p:cNvCxnSpPr>
            <a:cxnSpLocks/>
          </p:cNvCxnSpPr>
          <p:nvPr/>
        </p:nvCxnSpPr>
        <p:spPr>
          <a:xfrm flipH="1">
            <a:off x="4294422" y="4154236"/>
            <a:ext cx="2" cy="144000"/>
          </a:xfrm>
          <a:prstGeom prst="straightConnector1">
            <a:avLst/>
          </a:prstGeom>
          <a:ln w="22225">
            <a:solidFill>
              <a:srgbClr val="203864"/>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1" name="Flussdiagramm: Verbinder 50">
            <a:extLst>
              <a:ext uri="{FF2B5EF4-FFF2-40B4-BE49-F238E27FC236}">
                <a16:creationId xmlns:a16="http://schemas.microsoft.com/office/drawing/2014/main" id="{35A9178D-AC02-4F3A-A418-F3B6E1591C9D}"/>
              </a:ext>
            </a:extLst>
          </p:cNvPr>
          <p:cNvSpPr/>
          <p:nvPr/>
        </p:nvSpPr>
        <p:spPr>
          <a:xfrm>
            <a:off x="3866138" y="4300550"/>
            <a:ext cx="856570" cy="427371"/>
          </a:xfrm>
          <a:prstGeom prst="flowChartConnector">
            <a:avLst/>
          </a:prstGeom>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a:t>Device was added to an existing BUDI</a:t>
            </a:r>
          </a:p>
        </p:txBody>
      </p:sp>
      <p:sp>
        <p:nvSpPr>
          <p:cNvPr id="53" name="Flussdiagramm: Verbinder 52">
            <a:extLst>
              <a:ext uri="{FF2B5EF4-FFF2-40B4-BE49-F238E27FC236}">
                <a16:creationId xmlns:a16="http://schemas.microsoft.com/office/drawing/2014/main" id="{EE8E498C-3BB6-480D-AA3C-4686016755F9}"/>
              </a:ext>
            </a:extLst>
          </p:cNvPr>
          <p:cNvSpPr/>
          <p:nvPr/>
        </p:nvSpPr>
        <p:spPr>
          <a:xfrm>
            <a:off x="3813960" y="674294"/>
            <a:ext cx="960923" cy="453714"/>
          </a:xfrm>
          <a:prstGeom prst="flowChartConnector">
            <a:avLst/>
          </a:prstGeom>
          <a:solidFill>
            <a:schemeClr val="accent1">
              <a:lumMod val="60000"/>
              <a:lumOff val="40000"/>
            </a:schemeClr>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a:t>Device has to be added to an existing BUDI</a:t>
            </a:r>
          </a:p>
        </p:txBody>
      </p:sp>
      <p:cxnSp>
        <p:nvCxnSpPr>
          <p:cNvPr id="54" name="Gerade Verbindung mit Pfeil 53">
            <a:extLst>
              <a:ext uri="{FF2B5EF4-FFF2-40B4-BE49-F238E27FC236}">
                <a16:creationId xmlns:a16="http://schemas.microsoft.com/office/drawing/2014/main" id="{28DB09A5-7289-48EA-BAA0-EFD48655989C}"/>
              </a:ext>
            </a:extLst>
          </p:cNvPr>
          <p:cNvCxnSpPr>
            <a:cxnSpLocks/>
          </p:cNvCxnSpPr>
          <p:nvPr/>
        </p:nvCxnSpPr>
        <p:spPr>
          <a:xfrm flipH="1">
            <a:off x="4294422" y="1130316"/>
            <a:ext cx="2" cy="144000"/>
          </a:xfrm>
          <a:prstGeom prst="straightConnector1">
            <a:avLst/>
          </a:prstGeom>
          <a:ln w="22225">
            <a:solidFill>
              <a:srgbClr val="203864"/>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463997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ADD9E0F-ED1C-4F82-BD9D-F0239A2E7022}"/>
              </a:ext>
            </a:extLst>
          </p:cNvPr>
          <p:cNvSpPr>
            <a:spLocks noGrp="1"/>
          </p:cNvSpPr>
          <p:nvPr>
            <p:ph type="title"/>
          </p:nvPr>
        </p:nvSpPr>
        <p:spPr/>
        <p:txBody>
          <a:bodyPr>
            <a:normAutofit fontScale="90000"/>
          </a:bodyPr>
          <a:lstStyle/>
          <a:p>
            <a:r>
              <a:rPr lang="de-DE"/>
              <a:t>Appendix - </a:t>
            </a:r>
            <a:r>
              <a:rPr lang="de-DE" err="1"/>
              <a:t>Reassigning</a:t>
            </a:r>
            <a:r>
              <a:rPr lang="de-DE"/>
              <a:t> an existing UDI-DI to a new BASIC UDI-DI</a:t>
            </a:r>
          </a:p>
        </p:txBody>
      </p:sp>
      <p:sp>
        <p:nvSpPr>
          <p:cNvPr id="15" name="Rechteck 14">
            <a:extLst>
              <a:ext uri="{FF2B5EF4-FFF2-40B4-BE49-F238E27FC236}">
                <a16:creationId xmlns:a16="http://schemas.microsoft.com/office/drawing/2014/main" id="{47243BA3-2990-4F85-BD0D-16DD7D3B84F2}"/>
              </a:ext>
            </a:extLst>
          </p:cNvPr>
          <p:cNvSpPr/>
          <p:nvPr/>
        </p:nvSpPr>
        <p:spPr>
          <a:xfrm>
            <a:off x="3457987" y="1136070"/>
            <a:ext cx="1530000" cy="360000"/>
          </a:xfrm>
          <a:prstGeom prst="rect">
            <a:avLst/>
          </a:prstGeom>
          <a:solidFill>
            <a:srgbClr val="20386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t>Execute /UDI/MAINTAIN, enter the search criteria for the existing record the and click “Maintain UDI data”</a:t>
            </a:r>
            <a:endParaRPr lang="de-DE" sz="700"/>
          </a:p>
        </p:txBody>
      </p:sp>
      <p:sp>
        <p:nvSpPr>
          <p:cNvPr id="22" name="Rechteck 21">
            <a:extLst>
              <a:ext uri="{FF2B5EF4-FFF2-40B4-BE49-F238E27FC236}">
                <a16:creationId xmlns:a16="http://schemas.microsoft.com/office/drawing/2014/main" id="{F5260FC9-FA5A-40DB-A841-9B108A33AA6D}"/>
              </a:ext>
            </a:extLst>
          </p:cNvPr>
          <p:cNvSpPr/>
          <p:nvPr/>
        </p:nvSpPr>
        <p:spPr>
          <a:xfrm>
            <a:off x="3457987" y="1656017"/>
            <a:ext cx="1530000" cy="360000"/>
          </a:xfrm>
          <a:prstGeom prst="rect">
            <a:avLst/>
          </a:prstGeom>
          <a:solidFill>
            <a:srgbClr val="20386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t>Go to the sheet “UDI-DI” and unlink the material by clicking </a:t>
            </a:r>
          </a:p>
          <a:p>
            <a:pPr algn="ctr"/>
            <a:r>
              <a:rPr lang="en-US" sz="700"/>
              <a:t>“Unlink UDI-DI”</a:t>
            </a:r>
            <a:endParaRPr lang="de-DE" sz="700"/>
          </a:p>
        </p:txBody>
      </p:sp>
      <p:cxnSp>
        <p:nvCxnSpPr>
          <p:cNvPr id="23" name="Gerade Verbindung mit Pfeil 22">
            <a:extLst>
              <a:ext uri="{FF2B5EF4-FFF2-40B4-BE49-F238E27FC236}">
                <a16:creationId xmlns:a16="http://schemas.microsoft.com/office/drawing/2014/main" id="{530CCB4F-7610-4860-B76F-4A8567559A2D}"/>
              </a:ext>
            </a:extLst>
          </p:cNvPr>
          <p:cNvCxnSpPr>
            <a:cxnSpLocks/>
          </p:cNvCxnSpPr>
          <p:nvPr/>
        </p:nvCxnSpPr>
        <p:spPr>
          <a:xfrm flipH="1">
            <a:off x="4232485" y="1498853"/>
            <a:ext cx="2" cy="144000"/>
          </a:xfrm>
          <a:prstGeom prst="straightConnector1">
            <a:avLst/>
          </a:prstGeom>
          <a:ln w="22225">
            <a:solidFill>
              <a:srgbClr val="203864"/>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5" name="Gerade Verbindung mit Pfeil 24">
            <a:extLst>
              <a:ext uri="{FF2B5EF4-FFF2-40B4-BE49-F238E27FC236}">
                <a16:creationId xmlns:a16="http://schemas.microsoft.com/office/drawing/2014/main" id="{0F0E2E3E-DBC6-4212-AB2B-6727C7567BAA}"/>
              </a:ext>
            </a:extLst>
          </p:cNvPr>
          <p:cNvCxnSpPr>
            <a:cxnSpLocks/>
          </p:cNvCxnSpPr>
          <p:nvPr/>
        </p:nvCxnSpPr>
        <p:spPr>
          <a:xfrm flipH="1">
            <a:off x="4232485" y="2016017"/>
            <a:ext cx="2" cy="144000"/>
          </a:xfrm>
          <a:prstGeom prst="straightConnector1">
            <a:avLst/>
          </a:prstGeom>
          <a:ln w="22225">
            <a:solidFill>
              <a:srgbClr val="203864"/>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34" name="Textfeld 33">
            <a:extLst>
              <a:ext uri="{FF2B5EF4-FFF2-40B4-BE49-F238E27FC236}">
                <a16:creationId xmlns:a16="http://schemas.microsoft.com/office/drawing/2014/main" id="{7F68CFC7-0A34-439C-AC54-653D06DDCA0C}"/>
              </a:ext>
            </a:extLst>
          </p:cNvPr>
          <p:cNvSpPr txBox="1"/>
          <p:nvPr/>
        </p:nvSpPr>
        <p:spPr>
          <a:xfrm>
            <a:off x="5029750" y="2175778"/>
            <a:ext cx="329667" cy="200055"/>
          </a:xfrm>
          <a:prstGeom prst="rect">
            <a:avLst/>
          </a:prstGeom>
          <a:noFill/>
        </p:spPr>
        <p:txBody>
          <a:bodyPr wrap="square" rtlCol="0">
            <a:spAutoFit/>
          </a:bodyPr>
          <a:lstStyle/>
          <a:p>
            <a:r>
              <a:rPr lang="de-DE" sz="700" b="1">
                <a:effectLst>
                  <a:outerShdw blurRad="38100" dist="38100" dir="2700000" algn="tl">
                    <a:srgbClr val="000000">
                      <a:alpha val="43137"/>
                    </a:srgbClr>
                  </a:outerShdw>
                </a:effectLst>
              </a:rPr>
              <a:t>Yes</a:t>
            </a:r>
          </a:p>
        </p:txBody>
      </p:sp>
      <p:sp>
        <p:nvSpPr>
          <p:cNvPr id="35" name="Flussdiagramm: Verzweigung 34">
            <a:extLst>
              <a:ext uri="{FF2B5EF4-FFF2-40B4-BE49-F238E27FC236}">
                <a16:creationId xmlns:a16="http://schemas.microsoft.com/office/drawing/2014/main" id="{FC1CC548-6367-4408-8A6F-ECDC6F18EA34}"/>
              </a:ext>
            </a:extLst>
          </p:cNvPr>
          <p:cNvSpPr/>
          <p:nvPr/>
        </p:nvSpPr>
        <p:spPr>
          <a:xfrm>
            <a:off x="3611744" y="2174990"/>
            <a:ext cx="1232119" cy="398135"/>
          </a:xfrm>
          <a:prstGeom prst="flowChartDecision">
            <a:avLst/>
          </a:prstGeom>
          <a:solidFill>
            <a:schemeClr val="accent1">
              <a:lumMod val="75000"/>
            </a:schemeClr>
          </a:solidFill>
          <a:ln w="22225">
            <a:solidFill>
              <a:schemeClr val="accent1">
                <a:lumMod val="50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a:t>New BASIC UDI-DI</a:t>
            </a:r>
          </a:p>
          <a:p>
            <a:pPr algn="ctr"/>
            <a:r>
              <a:rPr lang="de-DE" sz="700"/>
              <a:t>exists</a:t>
            </a:r>
          </a:p>
        </p:txBody>
      </p:sp>
      <p:cxnSp>
        <p:nvCxnSpPr>
          <p:cNvPr id="37" name="Verbinder: gewinkelt 36">
            <a:extLst>
              <a:ext uri="{FF2B5EF4-FFF2-40B4-BE49-F238E27FC236}">
                <a16:creationId xmlns:a16="http://schemas.microsoft.com/office/drawing/2014/main" id="{C7B35F22-BA49-417B-86CB-E70F3ACC93AC}"/>
              </a:ext>
            </a:extLst>
          </p:cNvPr>
          <p:cNvCxnSpPr>
            <a:cxnSpLocks/>
          </p:cNvCxnSpPr>
          <p:nvPr/>
        </p:nvCxnSpPr>
        <p:spPr>
          <a:xfrm>
            <a:off x="4834159" y="2376017"/>
            <a:ext cx="720851" cy="229527"/>
          </a:xfrm>
          <a:prstGeom prst="bentConnector2">
            <a:avLst/>
          </a:prstGeom>
          <a:ln w="22225">
            <a:solidFill>
              <a:srgbClr val="203864"/>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38" name="Rechteck 37">
            <a:extLst>
              <a:ext uri="{FF2B5EF4-FFF2-40B4-BE49-F238E27FC236}">
                <a16:creationId xmlns:a16="http://schemas.microsoft.com/office/drawing/2014/main" id="{591A5E30-2820-4FEF-A606-C7F36A899FB8}"/>
              </a:ext>
            </a:extLst>
          </p:cNvPr>
          <p:cNvSpPr/>
          <p:nvPr/>
        </p:nvSpPr>
        <p:spPr>
          <a:xfrm>
            <a:off x="2190896" y="2589442"/>
            <a:ext cx="1501829" cy="360000"/>
          </a:xfrm>
          <a:prstGeom prst="rect">
            <a:avLst/>
          </a:prstGeom>
          <a:solidFill>
            <a:srgbClr val="20386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t>Execute /UDI/MAINTAIN and click “Create Basic UDI-DI”</a:t>
            </a:r>
            <a:endParaRPr lang="de-DE" sz="700"/>
          </a:p>
        </p:txBody>
      </p:sp>
      <p:sp>
        <p:nvSpPr>
          <p:cNvPr id="39" name="Rechteck 38">
            <a:extLst>
              <a:ext uri="{FF2B5EF4-FFF2-40B4-BE49-F238E27FC236}">
                <a16:creationId xmlns:a16="http://schemas.microsoft.com/office/drawing/2014/main" id="{17EA580B-F935-4861-9493-9E58C4321313}"/>
              </a:ext>
            </a:extLst>
          </p:cNvPr>
          <p:cNvSpPr/>
          <p:nvPr/>
        </p:nvSpPr>
        <p:spPr>
          <a:xfrm>
            <a:off x="2162725" y="3093184"/>
            <a:ext cx="1530000" cy="360000"/>
          </a:xfrm>
          <a:prstGeom prst="rect">
            <a:avLst/>
          </a:prstGeom>
          <a:solidFill>
            <a:srgbClr val="20386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t>Maintain the UDI data in the sheet “BASIC UDI-DI”</a:t>
            </a:r>
            <a:endParaRPr lang="de-DE" sz="700"/>
          </a:p>
        </p:txBody>
      </p:sp>
      <p:cxnSp>
        <p:nvCxnSpPr>
          <p:cNvPr id="40" name="Gerade Verbindung mit Pfeil 39">
            <a:extLst>
              <a:ext uri="{FF2B5EF4-FFF2-40B4-BE49-F238E27FC236}">
                <a16:creationId xmlns:a16="http://schemas.microsoft.com/office/drawing/2014/main" id="{FC990A98-777B-43F8-843B-CDCC10EAB5D6}"/>
              </a:ext>
            </a:extLst>
          </p:cNvPr>
          <p:cNvCxnSpPr>
            <a:cxnSpLocks/>
          </p:cNvCxnSpPr>
          <p:nvPr/>
        </p:nvCxnSpPr>
        <p:spPr>
          <a:xfrm flipH="1">
            <a:off x="2955894" y="2947481"/>
            <a:ext cx="2" cy="144000"/>
          </a:xfrm>
          <a:prstGeom prst="straightConnector1">
            <a:avLst/>
          </a:prstGeom>
          <a:ln w="22225">
            <a:solidFill>
              <a:srgbClr val="203864"/>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41" name="Rechteck 40">
            <a:extLst>
              <a:ext uri="{FF2B5EF4-FFF2-40B4-BE49-F238E27FC236}">
                <a16:creationId xmlns:a16="http://schemas.microsoft.com/office/drawing/2014/main" id="{CB6FEC06-F76D-4793-A86E-BB8BEAD07175}"/>
              </a:ext>
            </a:extLst>
          </p:cNvPr>
          <p:cNvSpPr/>
          <p:nvPr/>
        </p:nvSpPr>
        <p:spPr>
          <a:xfrm>
            <a:off x="2166974" y="3580798"/>
            <a:ext cx="1530000" cy="360000"/>
          </a:xfrm>
          <a:prstGeom prst="rect">
            <a:avLst/>
          </a:prstGeom>
          <a:solidFill>
            <a:srgbClr val="20386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t>Go to the sheet “UDI-DI” and add the material by clicking “Add UDI-DI”</a:t>
            </a:r>
            <a:endParaRPr lang="de-DE" sz="700"/>
          </a:p>
        </p:txBody>
      </p:sp>
      <p:cxnSp>
        <p:nvCxnSpPr>
          <p:cNvPr id="42" name="Gerade Verbindung mit Pfeil 41">
            <a:extLst>
              <a:ext uri="{FF2B5EF4-FFF2-40B4-BE49-F238E27FC236}">
                <a16:creationId xmlns:a16="http://schemas.microsoft.com/office/drawing/2014/main" id="{C4167C87-A7E0-4970-8CD0-7354B6D73770}"/>
              </a:ext>
            </a:extLst>
          </p:cNvPr>
          <p:cNvCxnSpPr>
            <a:cxnSpLocks/>
          </p:cNvCxnSpPr>
          <p:nvPr/>
        </p:nvCxnSpPr>
        <p:spPr>
          <a:xfrm flipH="1">
            <a:off x="2951364" y="3451481"/>
            <a:ext cx="2" cy="144000"/>
          </a:xfrm>
          <a:prstGeom prst="straightConnector1">
            <a:avLst/>
          </a:prstGeom>
          <a:ln w="22225">
            <a:solidFill>
              <a:srgbClr val="203864"/>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43" name="Rechteck 42">
            <a:extLst>
              <a:ext uri="{FF2B5EF4-FFF2-40B4-BE49-F238E27FC236}">
                <a16:creationId xmlns:a16="http://schemas.microsoft.com/office/drawing/2014/main" id="{F35091B8-5AF7-4838-9CC8-25BC6C2B4946}"/>
              </a:ext>
            </a:extLst>
          </p:cNvPr>
          <p:cNvSpPr/>
          <p:nvPr/>
        </p:nvSpPr>
        <p:spPr>
          <a:xfrm>
            <a:off x="2162725" y="4090237"/>
            <a:ext cx="1530000" cy="360000"/>
          </a:xfrm>
          <a:prstGeom prst="rect">
            <a:avLst/>
          </a:prstGeom>
          <a:solidFill>
            <a:srgbClr val="20386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t>If necessary, adjust the UDI data in the sheet “UDI-DI” (*The UDI-DI data from the old record is transferred)</a:t>
            </a:r>
            <a:endParaRPr lang="de-DE" sz="700"/>
          </a:p>
        </p:txBody>
      </p:sp>
      <p:sp>
        <p:nvSpPr>
          <p:cNvPr id="45" name="Rechteck 44">
            <a:extLst>
              <a:ext uri="{FF2B5EF4-FFF2-40B4-BE49-F238E27FC236}">
                <a16:creationId xmlns:a16="http://schemas.microsoft.com/office/drawing/2014/main" id="{D0AB6765-0315-44FF-A0CE-37BAE05F8825}"/>
              </a:ext>
            </a:extLst>
          </p:cNvPr>
          <p:cNvSpPr/>
          <p:nvPr/>
        </p:nvSpPr>
        <p:spPr>
          <a:xfrm>
            <a:off x="4827554" y="2598834"/>
            <a:ext cx="1530000" cy="360000"/>
          </a:xfrm>
          <a:prstGeom prst="rect">
            <a:avLst/>
          </a:prstGeom>
          <a:solidFill>
            <a:srgbClr val="20386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t>Execute /UDI/MAINTAIN, enter the new Basic UDI-DI Code and click “Maintain UDI data”</a:t>
            </a:r>
            <a:endParaRPr lang="de-DE" sz="700"/>
          </a:p>
        </p:txBody>
      </p:sp>
      <p:sp>
        <p:nvSpPr>
          <p:cNvPr id="46" name="Rechteck 45">
            <a:extLst>
              <a:ext uri="{FF2B5EF4-FFF2-40B4-BE49-F238E27FC236}">
                <a16:creationId xmlns:a16="http://schemas.microsoft.com/office/drawing/2014/main" id="{78C5B243-8445-4FF9-8E32-E618706F0FE7}"/>
              </a:ext>
            </a:extLst>
          </p:cNvPr>
          <p:cNvSpPr/>
          <p:nvPr/>
        </p:nvSpPr>
        <p:spPr>
          <a:xfrm>
            <a:off x="4843863" y="3204025"/>
            <a:ext cx="1530000" cy="360000"/>
          </a:xfrm>
          <a:prstGeom prst="rect">
            <a:avLst/>
          </a:prstGeom>
          <a:solidFill>
            <a:srgbClr val="20386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t>Go to the sheet “UDI-DI” and add the material by clicking “Add UDI-DI”</a:t>
            </a:r>
            <a:endParaRPr lang="de-DE" sz="700"/>
          </a:p>
        </p:txBody>
      </p:sp>
      <p:sp>
        <p:nvSpPr>
          <p:cNvPr id="48" name="Rechteck 47">
            <a:extLst>
              <a:ext uri="{FF2B5EF4-FFF2-40B4-BE49-F238E27FC236}">
                <a16:creationId xmlns:a16="http://schemas.microsoft.com/office/drawing/2014/main" id="{BDFE37B0-8C2C-47C0-A583-A6DA574491A7}"/>
              </a:ext>
            </a:extLst>
          </p:cNvPr>
          <p:cNvSpPr/>
          <p:nvPr/>
        </p:nvSpPr>
        <p:spPr>
          <a:xfrm>
            <a:off x="4843863" y="3846379"/>
            <a:ext cx="1530000" cy="360000"/>
          </a:xfrm>
          <a:prstGeom prst="rect">
            <a:avLst/>
          </a:prstGeom>
          <a:solidFill>
            <a:srgbClr val="20386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t>If necessary, adjust the UDI data in the sheet “UDI-DI” (*The UDI-DI data from the old record is transferred)</a:t>
            </a:r>
            <a:endParaRPr lang="de-DE" sz="700"/>
          </a:p>
        </p:txBody>
      </p:sp>
      <p:cxnSp>
        <p:nvCxnSpPr>
          <p:cNvPr id="8" name="Verbinder: gewinkelt 7">
            <a:extLst>
              <a:ext uri="{FF2B5EF4-FFF2-40B4-BE49-F238E27FC236}">
                <a16:creationId xmlns:a16="http://schemas.microsoft.com/office/drawing/2014/main" id="{81E42687-A5E6-4386-A5F7-C963184B8FA2}"/>
              </a:ext>
            </a:extLst>
          </p:cNvPr>
          <p:cNvCxnSpPr>
            <a:cxnSpLocks/>
            <a:stCxn id="35" idx="1"/>
            <a:endCxn id="38" idx="0"/>
          </p:cNvCxnSpPr>
          <p:nvPr/>
        </p:nvCxnSpPr>
        <p:spPr>
          <a:xfrm rot="10800000" flipV="1">
            <a:off x="2941812" y="2374058"/>
            <a:ext cx="669933" cy="215384"/>
          </a:xfrm>
          <a:prstGeom prst="bentConnector2">
            <a:avLst/>
          </a:prstGeom>
          <a:ln w="22225">
            <a:solidFill>
              <a:srgbClr val="203864"/>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67" name="Textfeld 66">
            <a:extLst>
              <a:ext uri="{FF2B5EF4-FFF2-40B4-BE49-F238E27FC236}">
                <a16:creationId xmlns:a16="http://schemas.microsoft.com/office/drawing/2014/main" id="{23A714C3-CFC7-448E-9597-12156906FD13}"/>
              </a:ext>
            </a:extLst>
          </p:cNvPr>
          <p:cNvSpPr txBox="1"/>
          <p:nvPr/>
        </p:nvSpPr>
        <p:spPr>
          <a:xfrm>
            <a:off x="3071453" y="2186398"/>
            <a:ext cx="329667" cy="200055"/>
          </a:xfrm>
          <a:prstGeom prst="rect">
            <a:avLst/>
          </a:prstGeom>
          <a:noFill/>
        </p:spPr>
        <p:txBody>
          <a:bodyPr wrap="square" rtlCol="0">
            <a:spAutoFit/>
          </a:bodyPr>
          <a:lstStyle/>
          <a:p>
            <a:r>
              <a:rPr lang="de-DE" sz="700" b="1">
                <a:effectLst>
                  <a:outerShdw blurRad="38100" dist="38100" dir="2700000" algn="tl">
                    <a:srgbClr val="000000">
                      <a:alpha val="43137"/>
                    </a:srgbClr>
                  </a:outerShdw>
                </a:effectLst>
              </a:rPr>
              <a:t>No</a:t>
            </a:r>
          </a:p>
        </p:txBody>
      </p:sp>
      <p:cxnSp>
        <p:nvCxnSpPr>
          <p:cNvPr id="75" name="Gerade Verbindung mit Pfeil 74">
            <a:extLst>
              <a:ext uri="{FF2B5EF4-FFF2-40B4-BE49-F238E27FC236}">
                <a16:creationId xmlns:a16="http://schemas.microsoft.com/office/drawing/2014/main" id="{655ACD9D-9AFE-4BBA-8B09-D1B0B2A4C156}"/>
              </a:ext>
            </a:extLst>
          </p:cNvPr>
          <p:cNvCxnSpPr>
            <a:cxnSpLocks/>
          </p:cNvCxnSpPr>
          <p:nvPr/>
        </p:nvCxnSpPr>
        <p:spPr>
          <a:xfrm flipH="1">
            <a:off x="2941808" y="3943329"/>
            <a:ext cx="2" cy="144000"/>
          </a:xfrm>
          <a:prstGeom prst="straightConnector1">
            <a:avLst/>
          </a:prstGeom>
          <a:ln w="22225">
            <a:solidFill>
              <a:srgbClr val="203864"/>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8" name="Flussdiagramm: Verbinder 77">
            <a:extLst>
              <a:ext uri="{FF2B5EF4-FFF2-40B4-BE49-F238E27FC236}">
                <a16:creationId xmlns:a16="http://schemas.microsoft.com/office/drawing/2014/main" id="{051DA0E1-D2EB-4E25-A6AF-0B67157CE3C8}"/>
              </a:ext>
            </a:extLst>
          </p:cNvPr>
          <p:cNvSpPr/>
          <p:nvPr/>
        </p:nvSpPr>
        <p:spPr>
          <a:xfrm>
            <a:off x="3730980" y="575385"/>
            <a:ext cx="1003010" cy="453714"/>
          </a:xfrm>
          <a:prstGeom prst="flowChartConnector">
            <a:avLst/>
          </a:prstGeom>
          <a:solidFill>
            <a:schemeClr val="accent1">
              <a:lumMod val="60000"/>
              <a:lumOff val="40000"/>
            </a:schemeClr>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a:t>UDI-DI has to be reassigned to a new BUDI</a:t>
            </a:r>
          </a:p>
        </p:txBody>
      </p:sp>
      <p:sp>
        <p:nvSpPr>
          <p:cNvPr id="79" name="Flussdiagramm: Verbinder 78">
            <a:extLst>
              <a:ext uri="{FF2B5EF4-FFF2-40B4-BE49-F238E27FC236}">
                <a16:creationId xmlns:a16="http://schemas.microsoft.com/office/drawing/2014/main" id="{3A359687-2016-44B7-ACAA-482CD4102B66}"/>
              </a:ext>
            </a:extLst>
          </p:cNvPr>
          <p:cNvSpPr/>
          <p:nvPr/>
        </p:nvSpPr>
        <p:spPr>
          <a:xfrm>
            <a:off x="3899566" y="4354430"/>
            <a:ext cx="856570" cy="427371"/>
          </a:xfrm>
          <a:prstGeom prst="flowChartConnector">
            <a:avLst/>
          </a:prstGeom>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a:t>UDI-DI was reassigned</a:t>
            </a:r>
          </a:p>
        </p:txBody>
      </p:sp>
      <p:cxnSp>
        <p:nvCxnSpPr>
          <p:cNvPr id="89" name="Verbinder: gewinkelt 88">
            <a:extLst>
              <a:ext uri="{FF2B5EF4-FFF2-40B4-BE49-F238E27FC236}">
                <a16:creationId xmlns:a16="http://schemas.microsoft.com/office/drawing/2014/main" id="{F261D284-FBF7-40DA-AC96-C7F922904529}"/>
              </a:ext>
            </a:extLst>
          </p:cNvPr>
          <p:cNvCxnSpPr>
            <a:cxnSpLocks/>
            <a:stCxn id="48" idx="2"/>
            <a:endCxn id="79" idx="6"/>
          </p:cNvCxnSpPr>
          <p:nvPr/>
        </p:nvCxnSpPr>
        <p:spPr>
          <a:xfrm rot="5400000">
            <a:off x="5001632" y="3960884"/>
            <a:ext cx="361737" cy="852727"/>
          </a:xfrm>
          <a:prstGeom prst="bentConnector2">
            <a:avLst/>
          </a:prstGeom>
          <a:ln w="22225">
            <a:solidFill>
              <a:srgbClr val="203864"/>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92" name="Verbinder: gewinkelt 91">
            <a:extLst>
              <a:ext uri="{FF2B5EF4-FFF2-40B4-BE49-F238E27FC236}">
                <a16:creationId xmlns:a16="http://schemas.microsoft.com/office/drawing/2014/main" id="{7F913D27-1927-49A8-9057-91E6549E3593}"/>
              </a:ext>
            </a:extLst>
          </p:cNvPr>
          <p:cNvCxnSpPr>
            <a:cxnSpLocks/>
            <a:stCxn id="43" idx="2"/>
            <a:endCxn id="79" idx="2"/>
          </p:cNvCxnSpPr>
          <p:nvPr/>
        </p:nvCxnSpPr>
        <p:spPr>
          <a:xfrm rot="16200000" flipH="1">
            <a:off x="3354706" y="4023255"/>
            <a:ext cx="117879" cy="971841"/>
          </a:xfrm>
          <a:prstGeom prst="bentConnector2">
            <a:avLst/>
          </a:prstGeom>
          <a:ln w="22225">
            <a:solidFill>
              <a:srgbClr val="203864"/>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07" name="Gerade Verbindung mit Pfeil 106">
            <a:extLst>
              <a:ext uri="{FF2B5EF4-FFF2-40B4-BE49-F238E27FC236}">
                <a16:creationId xmlns:a16="http://schemas.microsoft.com/office/drawing/2014/main" id="{5A1E8E5D-D2D0-46C7-8C38-5F3C46BB6975}"/>
              </a:ext>
            </a:extLst>
          </p:cNvPr>
          <p:cNvCxnSpPr>
            <a:cxnSpLocks/>
          </p:cNvCxnSpPr>
          <p:nvPr/>
        </p:nvCxnSpPr>
        <p:spPr>
          <a:xfrm flipH="1">
            <a:off x="3108294" y="3099881"/>
            <a:ext cx="2" cy="144000"/>
          </a:xfrm>
          <a:prstGeom prst="straightConnector1">
            <a:avLst/>
          </a:prstGeom>
          <a:ln w="22225">
            <a:solidFill>
              <a:srgbClr val="203864"/>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10" name="Gerade Verbindung mit Pfeil 109">
            <a:extLst>
              <a:ext uri="{FF2B5EF4-FFF2-40B4-BE49-F238E27FC236}">
                <a16:creationId xmlns:a16="http://schemas.microsoft.com/office/drawing/2014/main" id="{96BF69EB-D092-49D4-90BC-2C1249E5672D}"/>
              </a:ext>
            </a:extLst>
          </p:cNvPr>
          <p:cNvCxnSpPr>
            <a:cxnSpLocks/>
            <a:stCxn id="45" idx="2"/>
          </p:cNvCxnSpPr>
          <p:nvPr/>
        </p:nvCxnSpPr>
        <p:spPr>
          <a:xfrm flipH="1">
            <a:off x="5592002" y="2958834"/>
            <a:ext cx="552" cy="240647"/>
          </a:xfrm>
          <a:prstGeom prst="straightConnector1">
            <a:avLst/>
          </a:prstGeom>
          <a:ln w="22225">
            <a:solidFill>
              <a:srgbClr val="203864"/>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13" name="Gerade Verbindung mit Pfeil 112">
            <a:extLst>
              <a:ext uri="{FF2B5EF4-FFF2-40B4-BE49-F238E27FC236}">
                <a16:creationId xmlns:a16="http://schemas.microsoft.com/office/drawing/2014/main" id="{5448F9F0-7308-4C58-B46B-EABE7EEFC62E}"/>
              </a:ext>
            </a:extLst>
          </p:cNvPr>
          <p:cNvCxnSpPr>
            <a:cxnSpLocks/>
            <a:stCxn id="46" idx="2"/>
            <a:endCxn id="48" idx="0"/>
          </p:cNvCxnSpPr>
          <p:nvPr/>
        </p:nvCxnSpPr>
        <p:spPr>
          <a:xfrm>
            <a:off x="5608863" y="3564025"/>
            <a:ext cx="0" cy="282354"/>
          </a:xfrm>
          <a:prstGeom prst="straightConnector1">
            <a:avLst/>
          </a:prstGeom>
          <a:ln w="22225">
            <a:solidFill>
              <a:srgbClr val="203864"/>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20" name="Gerade Verbindung mit Pfeil 119">
            <a:extLst>
              <a:ext uri="{FF2B5EF4-FFF2-40B4-BE49-F238E27FC236}">
                <a16:creationId xmlns:a16="http://schemas.microsoft.com/office/drawing/2014/main" id="{071915FA-B6CC-4B1B-AF1F-06CE23C369FD}"/>
              </a:ext>
            </a:extLst>
          </p:cNvPr>
          <p:cNvCxnSpPr>
            <a:cxnSpLocks/>
            <a:stCxn id="78" idx="4"/>
          </p:cNvCxnSpPr>
          <p:nvPr/>
        </p:nvCxnSpPr>
        <p:spPr>
          <a:xfrm>
            <a:off x="4232485" y="1029099"/>
            <a:ext cx="0" cy="106971"/>
          </a:xfrm>
          <a:prstGeom prst="straightConnector1">
            <a:avLst/>
          </a:prstGeom>
          <a:ln w="22225">
            <a:solidFill>
              <a:srgbClr val="203864"/>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7121529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ADD9E0F-ED1C-4F82-BD9D-F0239A2E7022}"/>
              </a:ext>
            </a:extLst>
          </p:cNvPr>
          <p:cNvSpPr>
            <a:spLocks noGrp="1"/>
          </p:cNvSpPr>
          <p:nvPr>
            <p:ph type="title"/>
          </p:nvPr>
        </p:nvSpPr>
        <p:spPr/>
        <p:txBody>
          <a:bodyPr>
            <a:normAutofit fontScale="90000"/>
          </a:bodyPr>
          <a:lstStyle/>
          <a:p>
            <a:r>
              <a:rPr lang="de-DE"/>
              <a:t>Appendix - </a:t>
            </a:r>
            <a:r>
              <a:rPr lang="de-DE" err="1"/>
              <a:t>Removing</a:t>
            </a:r>
            <a:r>
              <a:rPr lang="de-DE"/>
              <a:t> a </a:t>
            </a:r>
            <a:r>
              <a:rPr lang="de-DE" err="1"/>
              <a:t>device</a:t>
            </a:r>
            <a:r>
              <a:rPr lang="de-DE"/>
              <a:t> from the market</a:t>
            </a:r>
          </a:p>
        </p:txBody>
      </p:sp>
      <p:sp>
        <p:nvSpPr>
          <p:cNvPr id="15" name="Rechteck 14">
            <a:extLst>
              <a:ext uri="{FF2B5EF4-FFF2-40B4-BE49-F238E27FC236}">
                <a16:creationId xmlns:a16="http://schemas.microsoft.com/office/drawing/2014/main" id="{07A4308F-6E0C-4FE4-B1CC-28E68C7CD55B}"/>
              </a:ext>
            </a:extLst>
          </p:cNvPr>
          <p:cNvSpPr/>
          <p:nvPr/>
        </p:nvSpPr>
        <p:spPr>
          <a:xfrm>
            <a:off x="2100847" y="1824011"/>
            <a:ext cx="1530000" cy="360000"/>
          </a:xfrm>
          <a:prstGeom prst="rect">
            <a:avLst/>
          </a:prstGeom>
          <a:solidFill>
            <a:srgbClr val="20386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t>Execute /UDI/MAINTAIN, enter the search criteria for the device and click “Maintain UDI data”</a:t>
            </a:r>
            <a:endParaRPr lang="de-DE" sz="700"/>
          </a:p>
        </p:txBody>
      </p:sp>
      <p:sp>
        <p:nvSpPr>
          <p:cNvPr id="17" name="Rechteck 16">
            <a:extLst>
              <a:ext uri="{FF2B5EF4-FFF2-40B4-BE49-F238E27FC236}">
                <a16:creationId xmlns:a16="http://schemas.microsoft.com/office/drawing/2014/main" id="{0F463DB7-32E3-48FC-ADE5-6255B0C76CDF}"/>
              </a:ext>
            </a:extLst>
          </p:cNvPr>
          <p:cNvSpPr/>
          <p:nvPr/>
        </p:nvSpPr>
        <p:spPr>
          <a:xfrm>
            <a:off x="2100847" y="2963528"/>
            <a:ext cx="1530000" cy="360000"/>
          </a:xfrm>
          <a:prstGeom prst="rect">
            <a:avLst/>
          </a:prstGeom>
          <a:solidFill>
            <a:srgbClr val="20386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t>Go to the sheet “UDI-DI” and choose the  Device Status “No longer placed on the EU market”</a:t>
            </a:r>
            <a:endParaRPr lang="de-DE" sz="700"/>
          </a:p>
        </p:txBody>
      </p:sp>
      <p:cxnSp>
        <p:nvCxnSpPr>
          <p:cNvPr id="21" name="Gerade Verbindung mit Pfeil 20">
            <a:extLst>
              <a:ext uri="{FF2B5EF4-FFF2-40B4-BE49-F238E27FC236}">
                <a16:creationId xmlns:a16="http://schemas.microsoft.com/office/drawing/2014/main" id="{FE8A48D1-ADF7-436F-9A1A-47BE6DB3FBD8}"/>
              </a:ext>
            </a:extLst>
          </p:cNvPr>
          <p:cNvCxnSpPr>
            <a:cxnSpLocks/>
            <a:stCxn id="17" idx="2"/>
          </p:cNvCxnSpPr>
          <p:nvPr/>
        </p:nvCxnSpPr>
        <p:spPr>
          <a:xfrm>
            <a:off x="2865847" y="3323528"/>
            <a:ext cx="0" cy="492587"/>
          </a:xfrm>
          <a:prstGeom prst="straightConnector1">
            <a:avLst/>
          </a:prstGeom>
          <a:ln w="22225">
            <a:solidFill>
              <a:srgbClr val="203864"/>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8" name="Flussdiagramm: Verbinder 7">
            <a:extLst>
              <a:ext uri="{FF2B5EF4-FFF2-40B4-BE49-F238E27FC236}">
                <a16:creationId xmlns:a16="http://schemas.microsoft.com/office/drawing/2014/main" id="{39AE1A71-3304-43AD-97E2-0D97E4C5151B}"/>
              </a:ext>
            </a:extLst>
          </p:cNvPr>
          <p:cNvSpPr/>
          <p:nvPr/>
        </p:nvSpPr>
        <p:spPr>
          <a:xfrm>
            <a:off x="2392632" y="867514"/>
            <a:ext cx="998070" cy="681318"/>
          </a:xfrm>
          <a:prstGeom prst="flowChartConnector">
            <a:avLst/>
          </a:prstGeom>
          <a:solidFill>
            <a:schemeClr val="accent1">
              <a:lumMod val="60000"/>
              <a:lumOff val="40000"/>
            </a:schemeClr>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t>Device is no longer placed on the EU market</a:t>
            </a:r>
            <a:endParaRPr lang="de-DE" sz="700"/>
          </a:p>
        </p:txBody>
      </p:sp>
      <p:cxnSp>
        <p:nvCxnSpPr>
          <p:cNvPr id="24" name="Gerade Verbindung mit Pfeil 23">
            <a:extLst>
              <a:ext uri="{FF2B5EF4-FFF2-40B4-BE49-F238E27FC236}">
                <a16:creationId xmlns:a16="http://schemas.microsoft.com/office/drawing/2014/main" id="{5A13B0B3-6E70-45D6-AD44-5E8C9908E4BD}"/>
              </a:ext>
            </a:extLst>
          </p:cNvPr>
          <p:cNvCxnSpPr>
            <a:cxnSpLocks/>
            <a:endCxn id="15" idx="0"/>
          </p:cNvCxnSpPr>
          <p:nvPr/>
        </p:nvCxnSpPr>
        <p:spPr>
          <a:xfrm flipH="1">
            <a:off x="2865847" y="1548832"/>
            <a:ext cx="2" cy="275179"/>
          </a:xfrm>
          <a:prstGeom prst="straightConnector1">
            <a:avLst/>
          </a:prstGeom>
          <a:ln w="22225">
            <a:solidFill>
              <a:srgbClr val="203864"/>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5" name="Flussdiagramm: Verbinder 24">
            <a:extLst>
              <a:ext uri="{FF2B5EF4-FFF2-40B4-BE49-F238E27FC236}">
                <a16:creationId xmlns:a16="http://schemas.microsoft.com/office/drawing/2014/main" id="{DFAB3307-E065-4DF7-8830-1CAAEACD6D0C}"/>
              </a:ext>
            </a:extLst>
          </p:cNvPr>
          <p:cNvSpPr/>
          <p:nvPr/>
        </p:nvSpPr>
        <p:spPr>
          <a:xfrm>
            <a:off x="2366812" y="3816115"/>
            <a:ext cx="998070" cy="681318"/>
          </a:xfrm>
          <a:prstGeom prst="flowChartConnector">
            <a:avLst/>
          </a:prstGeom>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a:t>Device Status was updated</a:t>
            </a:r>
          </a:p>
        </p:txBody>
      </p:sp>
      <p:cxnSp>
        <p:nvCxnSpPr>
          <p:cNvPr id="35" name="Gerade Verbindung mit Pfeil 34">
            <a:extLst>
              <a:ext uri="{FF2B5EF4-FFF2-40B4-BE49-F238E27FC236}">
                <a16:creationId xmlns:a16="http://schemas.microsoft.com/office/drawing/2014/main" id="{7A60A4FA-BF34-4A1B-AE34-4921E845C143}"/>
              </a:ext>
            </a:extLst>
          </p:cNvPr>
          <p:cNvCxnSpPr>
            <a:cxnSpLocks/>
            <a:stCxn id="15" idx="2"/>
            <a:endCxn id="17" idx="0"/>
          </p:cNvCxnSpPr>
          <p:nvPr/>
        </p:nvCxnSpPr>
        <p:spPr>
          <a:xfrm>
            <a:off x="2865847" y="2184011"/>
            <a:ext cx="0" cy="779517"/>
          </a:xfrm>
          <a:prstGeom prst="straightConnector1">
            <a:avLst/>
          </a:prstGeom>
          <a:ln w="22225">
            <a:solidFill>
              <a:srgbClr val="203864"/>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3" name="Grafik 2">
            <a:extLst>
              <a:ext uri="{FF2B5EF4-FFF2-40B4-BE49-F238E27FC236}">
                <a16:creationId xmlns:a16="http://schemas.microsoft.com/office/drawing/2014/main" id="{1311894E-5D92-4FE9-8D06-6A6ADE830988}"/>
              </a:ext>
            </a:extLst>
          </p:cNvPr>
          <p:cNvPicPr>
            <a:picLocks noChangeAspect="1"/>
          </p:cNvPicPr>
          <p:nvPr/>
        </p:nvPicPr>
        <p:blipFill>
          <a:blip r:embed="rId2"/>
          <a:stretch>
            <a:fillRect/>
          </a:stretch>
        </p:blipFill>
        <p:spPr>
          <a:xfrm>
            <a:off x="5073879" y="653759"/>
            <a:ext cx="2948925" cy="2227535"/>
          </a:xfrm>
          <a:prstGeom prst="rect">
            <a:avLst/>
          </a:prstGeom>
          <a:ln>
            <a:noFill/>
          </a:ln>
          <a:effectLst>
            <a:outerShdw blurRad="50800" dist="38100" dir="5400000" algn="t" rotWithShape="0">
              <a:prstClr val="black">
                <a:alpha val="40000"/>
              </a:prstClr>
            </a:outerShdw>
          </a:effectLst>
        </p:spPr>
      </p:pic>
      <p:pic>
        <p:nvPicPr>
          <p:cNvPr id="9" name="Grafik 8">
            <a:extLst>
              <a:ext uri="{FF2B5EF4-FFF2-40B4-BE49-F238E27FC236}">
                <a16:creationId xmlns:a16="http://schemas.microsoft.com/office/drawing/2014/main" id="{EB772F11-198F-4FB2-AD50-164C52AA329B}"/>
              </a:ext>
            </a:extLst>
          </p:cNvPr>
          <p:cNvPicPr>
            <a:picLocks noChangeAspect="1"/>
          </p:cNvPicPr>
          <p:nvPr/>
        </p:nvPicPr>
        <p:blipFill>
          <a:blip r:embed="rId3"/>
          <a:stretch>
            <a:fillRect/>
          </a:stretch>
        </p:blipFill>
        <p:spPr>
          <a:xfrm>
            <a:off x="4885743" y="3111251"/>
            <a:ext cx="3137061" cy="1111307"/>
          </a:xfrm>
          <a:prstGeom prst="rect">
            <a:avLst/>
          </a:prstGeom>
          <a:ln>
            <a:noFill/>
          </a:ln>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17543089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ADD9E0F-ED1C-4F82-BD9D-F0239A2E7022}"/>
              </a:ext>
            </a:extLst>
          </p:cNvPr>
          <p:cNvSpPr>
            <a:spLocks noGrp="1"/>
          </p:cNvSpPr>
          <p:nvPr>
            <p:ph type="title"/>
          </p:nvPr>
        </p:nvSpPr>
        <p:spPr/>
        <p:txBody>
          <a:bodyPr>
            <a:normAutofit fontScale="90000"/>
          </a:bodyPr>
          <a:lstStyle/>
          <a:p>
            <a:r>
              <a:rPr lang="de-DE"/>
              <a:t>Appendix - </a:t>
            </a:r>
            <a:r>
              <a:rPr lang="de-DE" err="1"/>
              <a:t>Removing</a:t>
            </a:r>
            <a:r>
              <a:rPr lang="de-DE"/>
              <a:t> a </a:t>
            </a:r>
            <a:r>
              <a:rPr lang="de-DE" err="1"/>
              <a:t>device</a:t>
            </a:r>
            <a:r>
              <a:rPr lang="de-DE"/>
              <a:t> from the market</a:t>
            </a:r>
          </a:p>
        </p:txBody>
      </p:sp>
      <p:sp>
        <p:nvSpPr>
          <p:cNvPr id="15" name="Rechteck 14">
            <a:extLst>
              <a:ext uri="{FF2B5EF4-FFF2-40B4-BE49-F238E27FC236}">
                <a16:creationId xmlns:a16="http://schemas.microsoft.com/office/drawing/2014/main" id="{07A4308F-6E0C-4FE4-B1CC-28E68C7CD55B}"/>
              </a:ext>
            </a:extLst>
          </p:cNvPr>
          <p:cNvSpPr/>
          <p:nvPr/>
        </p:nvSpPr>
        <p:spPr>
          <a:xfrm>
            <a:off x="3781180" y="1779766"/>
            <a:ext cx="1530000" cy="360000"/>
          </a:xfrm>
          <a:prstGeom prst="rect">
            <a:avLst/>
          </a:prstGeom>
          <a:solidFill>
            <a:srgbClr val="20386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t>Execute /UDI/MAINTAIN, enter the search criteria for the device and click “Maintain UDI data”</a:t>
            </a:r>
            <a:endParaRPr lang="de-DE" sz="700"/>
          </a:p>
        </p:txBody>
      </p:sp>
      <p:sp>
        <p:nvSpPr>
          <p:cNvPr id="17" name="Rechteck 16">
            <a:extLst>
              <a:ext uri="{FF2B5EF4-FFF2-40B4-BE49-F238E27FC236}">
                <a16:creationId xmlns:a16="http://schemas.microsoft.com/office/drawing/2014/main" id="{0F463DB7-32E3-48FC-ADE5-6255B0C76CDF}"/>
              </a:ext>
            </a:extLst>
          </p:cNvPr>
          <p:cNvSpPr/>
          <p:nvPr/>
        </p:nvSpPr>
        <p:spPr>
          <a:xfrm>
            <a:off x="3781180" y="2919283"/>
            <a:ext cx="1530000" cy="360000"/>
          </a:xfrm>
          <a:prstGeom prst="rect">
            <a:avLst/>
          </a:prstGeom>
          <a:solidFill>
            <a:srgbClr val="20386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t>Go to the sheet “UDI-DI” and choose the  Device Status “No longer placed on the EU market”</a:t>
            </a:r>
            <a:endParaRPr lang="de-DE" sz="700"/>
          </a:p>
        </p:txBody>
      </p:sp>
      <p:cxnSp>
        <p:nvCxnSpPr>
          <p:cNvPr id="21" name="Gerade Verbindung mit Pfeil 20">
            <a:extLst>
              <a:ext uri="{FF2B5EF4-FFF2-40B4-BE49-F238E27FC236}">
                <a16:creationId xmlns:a16="http://schemas.microsoft.com/office/drawing/2014/main" id="{FE8A48D1-ADF7-436F-9A1A-47BE6DB3FBD8}"/>
              </a:ext>
            </a:extLst>
          </p:cNvPr>
          <p:cNvCxnSpPr>
            <a:cxnSpLocks/>
          </p:cNvCxnSpPr>
          <p:nvPr/>
        </p:nvCxnSpPr>
        <p:spPr>
          <a:xfrm>
            <a:off x="4546180" y="3279283"/>
            <a:ext cx="0" cy="492587"/>
          </a:xfrm>
          <a:prstGeom prst="straightConnector1">
            <a:avLst/>
          </a:prstGeom>
          <a:ln w="22225">
            <a:solidFill>
              <a:srgbClr val="203864"/>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8" name="Flussdiagramm: Verbinder 7">
            <a:extLst>
              <a:ext uri="{FF2B5EF4-FFF2-40B4-BE49-F238E27FC236}">
                <a16:creationId xmlns:a16="http://schemas.microsoft.com/office/drawing/2014/main" id="{39AE1A71-3304-43AD-97E2-0D97E4C5151B}"/>
              </a:ext>
            </a:extLst>
          </p:cNvPr>
          <p:cNvSpPr/>
          <p:nvPr/>
        </p:nvSpPr>
        <p:spPr>
          <a:xfrm>
            <a:off x="4047145" y="823269"/>
            <a:ext cx="998070" cy="681318"/>
          </a:xfrm>
          <a:prstGeom prst="flowChartConnector">
            <a:avLst/>
          </a:prstGeom>
          <a:solidFill>
            <a:schemeClr val="accent1">
              <a:lumMod val="60000"/>
              <a:lumOff val="40000"/>
            </a:schemeClr>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t>Device is no longer placed on the EU market</a:t>
            </a:r>
            <a:endParaRPr lang="de-DE" sz="700"/>
          </a:p>
        </p:txBody>
      </p:sp>
      <p:cxnSp>
        <p:nvCxnSpPr>
          <p:cNvPr id="24" name="Gerade Verbindung mit Pfeil 23">
            <a:extLst>
              <a:ext uri="{FF2B5EF4-FFF2-40B4-BE49-F238E27FC236}">
                <a16:creationId xmlns:a16="http://schemas.microsoft.com/office/drawing/2014/main" id="{5A13B0B3-6E70-45D6-AD44-5E8C9908E4BD}"/>
              </a:ext>
            </a:extLst>
          </p:cNvPr>
          <p:cNvCxnSpPr>
            <a:cxnSpLocks/>
          </p:cNvCxnSpPr>
          <p:nvPr/>
        </p:nvCxnSpPr>
        <p:spPr>
          <a:xfrm flipH="1">
            <a:off x="4546179" y="1504587"/>
            <a:ext cx="2" cy="275179"/>
          </a:xfrm>
          <a:prstGeom prst="straightConnector1">
            <a:avLst/>
          </a:prstGeom>
          <a:ln w="22225">
            <a:solidFill>
              <a:srgbClr val="203864"/>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5" name="Flussdiagramm: Verbinder 24">
            <a:extLst>
              <a:ext uri="{FF2B5EF4-FFF2-40B4-BE49-F238E27FC236}">
                <a16:creationId xmlns:a16="http://schemas.microsoft.com/office/drawing/2014/main" id="{DFAB3307-E065-4DF7-8830-1CAAEACD6D0C}"/>
              </a:ext>
            </a:extLst>
          </p:cNvPr>
          <p:cNvSpPr/>
          <p:nvPr/>
        </p:nvSpPr>
        <p:spPr>
          <a:xfrm>
            <a:off x="4047145" y="3771870"/>
            <a:ext cx="998070" cy="681318"/>
          </a:xfrm>
          <a:prstGeom prst="flowChartConnector">
            <a:avLst/>
          </a:prstGeom>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a:t>Device Status was updated</a:t>
            </a:r>
          </a:p>
        </p:txBody>
      </p:sp>
      <p:cxnSp>
        <p:nvCxnSpPr>
          <p:cNvPr id="35" name="Gerade Verbindung mit Pfeil 34">
            <a:extLst>
              <a:ext uri="{FF2B5EF4-FFF2-40B4-BE49-F238E27FC236}">
                <a16:creationId xmlns:a16="http://schemas.microsoft.com/office/drawing/2014/main" id="{7A60A4FA-BF34-4A1B-AE34-4921E845C143}"/>
              </a:ext>
            </a:extLst>
          </p:cNvPr>
          <p:cNvCxnSpPr>
            <a:cxnSpLocks/>
          </p:cNvCxnSpPr>
          <p:nvPr/>
        </p:nvCxnSpPr>
        <p:spPr>
          <a:xfrm>
            <a:off x="4546180" y="2139766"/>
            <a:ext cx="0" cy="779517"/>
          </a:xfrm>
          <a:prstGeom prst="straightConnector1">
            <a:avLst/>
          </a:prstGeom>
          <a:ln w="22225">
            <a:solidFill>
              <a:srgbClr val="203864"/>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973807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ADD9E0F-ED1C-4F82-BD9D-F0239A2E7022}"/>
              </a:ext>
            </a:extLst>
          </p:cNvPr>
          <p:cNvSpPr>
            <a:spLocks noGrp="1"/>
          </p:cNvSpPr>
          <p:nvPr>
            <p:ph type="title"/>
          </p:nvPr>
        </p:nvSpPr>
        <p:spPr/>
        <p:txBody>
          <a:bodyPr>
            <a:normAutofit fontScale="90000"/>
          </a:bodyPr>
          <a:lstStyle/>
          <a:p>
            <a:r>
              <a:rPr lang="de-DE"/>
              <a:t>Workflow: </a:t>
            </a:r>
            <a:r>
              <a:rPr lang="de-DE" err="1"/>
              <a:t>Changing</a:t>
            </a:r>
            <a:r>
              <a:rPr lang="de-DE"/>
              <a:t> a </a:t>
            </a:r>
            <a:r>
              <a:rPr lang="de-DE" err="1"/>
              <a:t>Directive</a:t>
            </a:r>
            <a:r>
              <a:rPr lang="de-DE"/>
              <a:t> Device to a Regulation Device</a:t>
            </a:r>
          </a:p>
        </p:txBody>
      </p:sp>
      <p:sp>
        <p:nvSpPr>
          <p:cNvPr id="15" name="Rechteck 14">
            <a:extLst>
              <a:ext uri="{FF2B5EF4-FFF2-40B4-BE49-F238E27FC236}">
                <a16:creationId xmlns:a16="http://schemas.microsoft.com/office/drawing/2014/main" id="{76D8FCF7-4826-4AA2-A38F-22344541C486}"/>
              </a:ext>
            </a:extLst>
          </p:cNvPr>
          <p:cNvSpPr/>
          <p:nvPr/>
        </p:nvSpPr>
        <p:spPr>
          <a:xfrm>
            <a:off x="1761638" y="1297737"/>
            <a:ext cx="1530000" cy="360000"/>
          </a:xfrm>
          <a:prstGeom prst="rect">
            <a:avLst/>
          </a:prstGeom>
          <a:solidFill>
            <a:srgbClr val="20386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t>Execute /UDI/MAINTAIN, enter the search criteria for the Legacy Device record and click “Maintain UDI data”</a:t>
            </a:r>
            <a:endParaRPr lang="de-DE" sz="700"/>
          </a:p>
        </p:txBody>
      </p:sp>
      <p:cxnSp>
        <p:nvCxnSpPr>
          <p:cNvPr id="38" name="Gerade Verbindung mit Pfeil 37">
            <a:extLst>
              <a:ext uri="{FF2B5EF4-FFF2-40B4-BE49-F238E27FC236}">
                <a16:creationId xmlns:a16="http://schemas.microsoft.com/office/drawing/2014/main" id="{84E0E5B1-CFAE-496F-BB52-2E920E832405}"/>
              </a:ext>
            </a:extLst>
          </p:cNvPr>
          <p:cNvCxnSpPr>
            <a:cxnSpLocks/>
          </p:cNvCxnSpPr>
          <p:nvPr/>
        </p:nvCxnSpPr>
        <p:spPr>
          <a:xfrm>
            <a:off x="2526638" y="1170219"/>
            <a:ext cx="0" cy="129564"/>
          </a:xfrm>
          <a:prstGeom prst="straightConnector1">
            <a:avLst/>
          </a:prstGeom>
          <a:ln w="22225">
            <a:solidFill>
              <a:srgbClr val="203864"/>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39" name="Rechteck 38">
            <a:extLst>
              <a:ext uri="{FF2B5EF4-FFF2-40B4-BE49-F238E27FC236}">
                <a16:creationId xmlns:a16="http://schemas.microsoft.com/office/drawing/2014/main" id="{C26A1586-51CB-429B-BF9B-D7834A199362}"/>
              </a:ext>
            </a:extLst>
          </p:cNvPr>
          <p:cNvSpPr/>
          <p:nvPr/>
        </p:nvSpPr>
        <p:spPr>
          <a:xfrm>
            <a:off x="1761638" y="1785255"/>
            <a:ext cx="1530000" cy="360000"/>
          </a:xfrm>
          <a:prstGeom prst="rect">
            <a:avLst/>
          </a:prstGeom>
          <a:solidFill>
            <a:srgbClr val="20386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700"/>
              <a:t>Go to the sheet “UDI-DI” and unlink the material by clicking </a:t>
            </a:r>
          </a:p>
          <a:p>
            <a:pPr algn="ctr"/>
            <a:r>
              <a:rPr lang="en-US" sz="700"/>
              <a:t>“Unlink UDI-DI” and save</a:t>
            </a:r>
            <a:endParaRPr lang="de-DE" sz="700"/>
          </a:p>
        </p:txBody>
      </p:sp>
      <p:sp>
        <p:nvSpPr>
          <p:cNvPr id="40" name="Rechteck 39">
            <a:extLst>
              <a:ext uri="{FF2B5EF4-FFF2-40B4-BE49-F238E27FC236}">
                <a16:creationId xmlns:a16="http://schemas.microsoft.com/office/drawing/2014/main" id="{500E7DBC-E020-4841-8DF6-D3B8FF3633BB}"/>
              </a:ext>
            </a:extLst>
          </p:cNvPr>
          <p:cNvSpPr/>
          <p:nvPr/>
        </p:nvSpPr>
        <p:spPr>
          <a:xfrm>
            <a:off x="1775724" y="2315982"/>
            <a:ext cx="1501829" cy="360000"/>
          </a:xfrm>
          <a:prstGeom prst="rect">
            <a:avLst/>
          </a:prstGeom>
          <a:solidFill>
            <a:srgbClr val="20386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t>Execute /UDI/MAINTAIN and click “Create Basic UDI-DI”</a:t>
            </a:r>
            <a:endParaRPr lang="de-DE" sz="700"/>
          </a:p>
        </p:txBody>
      </p:sp>
      <p:sp>
        <p:nvSpPr>
          <p:cNvPr id="41" name="Rechteck 40">
            <a:extLst>
              <a:ext uri="{FF2B5EF4-FFF2-40B4-BE49-F238E27FC236}">
                <a16:creationId xmlns:a16="http://schemas.microsoft.com/office/drawing/2014/main" id="{D2E01880-43F6-480D-B973-27064236B9CA}"/>
              </a:ext>
            </a:extLst>
          </p:cNvPr>
          <p:cNvSpPr/>
          <p:nvPr/>
        </p:nvSpPr>
        <p:spPr>
          <a:xfrm>
            <a:off x="1761638" y="2819724"/>
            <a:ext cx="1530000" cy="360000"/>
          </a:xfrm>
          <a:prstGeom prst="rect">
            <a:avLst/>
          </a:prstGeom>
          <a:solidFill>
            <a:srgbClr val="20386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t>Maintain the UDI data in the sheet “BASIC UDI-DI” for the MDR/IVDR Device</a:t>
            </a:r>
            <a:endParaRPr lang="de-DE" sz="700"/>
          </a:p>
        </p:txBody>
      </p:sp>
      <p:cxnSp>
        <p:nvCxnSpPr>
          <p:cNvPr id="42" name="Gerade Verbindung mit Pfeil 41">
            <a:extLst>
              <a:ext uri="{FF2B5EF4-FFF2-40B4-BE49-F238E27FC236}">
                <a16:creationId xmlns:a16="http://schemas.microsoft.com/office/drawing/2014/main" id="{F57D4104-1D74-44CA-BB72-F33B77C0290B}"/>
              </a:ext>
            </a:extLst>
          </p:cNvPr>
          <p:cNvCxnSpPr>
            <a:cxnSpLocks/>
          </p:cNvCxnSpPr>
          <p:nvPr/>
        </p:nvCxnSpPr>
        <p:spPr>
          <a:xfrm flipH="1">
            <a:off x="2526637" y="2674021"/>
            <a:ext cx="2" cy="144000"/>
          </a:xfrm>
          <a:prstGeom prst="straightConnector1">
            <a:avLst/>
          </a:prstGeom>
          <a:ln w="22225">
            <a:solidFill>
              <a:srgbClr val="203864"/>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43" name="Rechteck 42">
            <a:extLst>
              <a:ext uri="{FF2B5EF4-FFF2-40B4-BE49-F238E27FC236}">
                <a16:creationId xmlns:a16="http://schemas.microsoft.com/office/drawing/2014/main" id="{0B4A204F-1BA9-4F1C-9C85-1C1C7A64B22E}"/>
              </a:ext>
            </a:extLst>
          </p:cNvPr>
          <p:cNvSpPr/>
          <p:nvPr/>
        </p:nvSpPr>
        <p:spPr>
          <a:xfrm>
            <a:off x="1761638" y="3307338"/>
            <a:ext cx="1530000" cy="360000"/>
          </a:xfrm>
          <a:prstGeom prst="rect">
            <a:avLst/>
          </a:prstGeom>
          <a:solidFill>
            <a:srgbClr val="20386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700"/>
              <a:t>Go to the sheet “UDI-DI” and add the material by clicking “Add UDI-DI” and save</a:t>
            </a:r>
            <a:endParaRPr lang="de-DE" sz="700"/>
          </a:p>
        </p:txBody>
      </p:sp>
      <p:cxnSp>
        <p:nvCxnSpPr>
          <p:cNvPr id="44" name="Gerade Verbindung mit Pfeil 43">
            <a:extLst>
              <a:ext uri="{FF2B5EF4-FFF2-40B4-BE49-F238E27FC236}">
                <a16:creationId xmlns:a16="http://schemas.microsoft.com/office/drawing/2014/main" id="{F15AA048-74BC-4B75-B178-61CB1CE8C6C0}"/>
              </a:ext>
            </a:extLst>
          </p:cNvPr>
          <p:cNvCxnSpPr>
            <a:cxnSpLocks/>
          </p:cNvCxnSpPr>
          <p:nvPr/>
        </p:nvCxnSpPr>
        <p:spPr>
          <a:xfrm flipH="1">
            <a:off x="2526637" y="3178021"/>
            <a:ext cx="2" cy="144000"/>
          </a:xfrm>
          <a:prstGeom prst="straightConnector1">
            <a:avLst/>
          </a:prstGeom>
          <a:ln w="22225">
            <a:solidFill>
              <a:srgbClr val="203864"/>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45" name="Rechteck 44">
            <a:extLst>
              <a:ext uri="{FF2B5EF4-FFF2-40B4-BE49-F238E27FC236}">
                <a16:creationId xmlns:a16="http://schemas.microsoft.com/office/drawing/2014/main" id="{C011B289-F94A-4524-A61C-7F681B5BCC17}"/>
              </a:ext>
            </a:extLst>
          </p:cNvPr>
          <p:cNvSpPr/>
          <p:nvPr/>
        </p:nvSpPr>
        <p:spPr>
          <a:xfrm>
            <a:off x="1761638" y="3816777"/>
            <a:ext cx="1530000" cy="360000"/>
          </a:xfrm>
          <a:prstGeom prst="rect">
            <a:avLst/>
          </a:prstGeom>
          <a:solidFill>
            <a:srgbClr val="20386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t>If necessary, adjust the UDI data in the sheet “UDI-DI” (*The UDI-DI data from the old record is transferred)</a:t>
            </a:r>
            <a:endParaRPr lang="de-DE" sz="700"/>
          </a:p>
        </p:txBody>
      </p:sp>
      <p:cxnSp>
        <p:nvCxnSpPr>
          <p:cNvPr id="46" name="Gerade Verbindung mit Pfeil 45">
            <a:extLst>
              <a:ext uri="{FF2B5EF4-FFF2-40B4-BE49-F238E27FC236}">
                <a16:creationId xmlns:a16="http://schemas.microsoft.com/office/drawing/2014/main" id="{7F70BE78-B710-46DE-B79E-D090C1E0DA42}"/>
              </a:ext>
            </a:extLst>
          </p:cNvPr>
          <p:cNvCxnSpPr>
            <a:cxnSpLocks/>
          </p:cNvCxnSpPr>
          <p:nvPr/>
        </p:nvCxnSpPr>
        <p:spPr>
          <a:xfrm flipH="1">
            <a:off x="2526637" y="3669869"/>
            <a:ext cx="2" cy="144000"/>
          </a:xfrm>
          <a:prstGeom prst="straightConnector1">
            <a:avLst/>
          </a:prstGeom>
          <a:ln w="22225">
            <a:solidFill>
              <a:srgbClr val="203864"/>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8" name="Gerade Verbindung mit Pfeil 47">
            <a:extLst>
              <a:ext uri="{FF2B5EF4-FFF2-40B4-BE49-F238E27FC236}">
                <a16:creationId xmlns:a16="http://schemas.microsoft.com/office/drawing/2014/main" id="{C082A545-A0F8-4501-BC7A-8EFB71E89BFC}"/>
              </a:ext>
            </a:extLst>
          </p:cNvPr>
          <p:cNvCxnSpPr>
            <a:cxnSpLocks/>
            <a:stCxn id="45" idx="2"/>
          </p:cNvCxnSpPr>
          <p:nvPr/>
        </p:nvCxnSpPr>
        <p:spPr>
          <a:xfrm>
            <a:off x="2526638" y="4176777"/>
            <a:ext cx="0" cy="164934"/>
          </a:xfrm>
          <a:prstGeom prst="straightConnector1">
            <a:avLst/>
          </a:prstGeom>
          <a:ln w="22225">
            <a:solidFill>
              <a:srgbClr val="203864"/>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9" name="Gerade Verbindung mit Pfeil 48">
            <a:extLst>
              <a:ext uri="{FF2B5EF4-FFF2-40B4-BE49-F238E27FC236}">
                <a16:creationId xmlns:a16="http://schemas.microsoft.com/office/drawing/2014/main" id="{B6B548DB-719E-450C-99D6-323A0BB2DAC6}"/>
              </a:ext>
            </a:extLst>
          </p:cNvPr>
          <p:cNvCxnSpPr>
            <a:cxnSpLocks/>
          </p:cNvCxnSpPr>
          <p:nvPr/>
        </p:nvCxnSpPr>
        <p:spPr>
          <a:xfrm flipH="1">
            <a:off x="2526637" y="1641438"/>
            <a:ext cx="2" cy="144000"/>
          </a:xfrm>
          <a:prstGeom prst="straightConnector1">
            <a:avLst/>
          </a:prstGeom>
          <a:ln w="22225">
            <a:solidFill>
              <a:srgbClr val="203864"/>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50" name="Gerade Verbindung mit Pfeil 49">
            <a:extLst>
              <a:ext uri="{FF2B5EF4-FFF2-40B4-BE49-F238E27FC236}">
                <a16:creationId xmlns:a16="http://schemas.microsoft.com/office/drawing/2014/main" id="{96080D39-561D-4E2C-AAAD-B60867A05523}"/>
              </a:ext>
            </a:extLst>
          </p:cNvPr>
          <p:cNvCxnSpPr>
            <a:cxnSpLocks/>
          </p:cNvCxnSpPr>
          <p:nvPr/>
        </p:nvCxnSpPr>
        <p:spPr>
          <a:xfrm flipH="1">
            <a:off x="2526637" y="2146753"/>
            <a:ext cx="2" cy="144000"/>
          </a:xfrm>
          <a:prstGeom prst="straightConnector1">
            <a:avLst/>
          </a:prstGeom>
          <a:ln w="22225">
            <a:solidFill>
              <a:srgbClr val="203864"/>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3" name="Flussdiagramm: Verbinder 52">
            <a:extLst>
              <a:ext uri="{FF2B5EF4-FFF2-40B4-BE49-F238E27FC236}">
                <a16:creationId xmlns:a16="http://schemas.microsoft.com/office/drawing/2014/main" id="{5362D682-2C83-4FA7-BA2E-5452756E2545}"/>
              </a:ext>
            </a:extLst>
          </p:cNvPr>
          <p:cNvSpPr/>
          <p:nvPr/>
        </p:nvSpPr>
        <p:spPr>
          <a:xfrm>
            <a:off x="1860782" y="614167"/>
            <a:ext cx="1331712" cy="530823"/>
          </a:xfrm>
          <a:prstGeom prst="flowChartConnector">
            <a:avLst/>
          </a:prstGeom>
          <a:solidFill>
            <a:schemeClr val="accent1">
              <a:lumMod val="60000"/>
              <a:lumOff val="40000"/>
            </a:schemeClr>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a:t>MDD /IVDD /AIMDD Device </a:t>
            </a:r>
            <a:r>
              <a:rPr lang="en-US" sz="700"/>
              <a:t>becomes a compliant MDR/IVDR Device</a:t>
            </a:r>
            <a:endParaRPr lang="de-DE" sz="700"/>
          </a:p>
        </p:txBody>
      </p:sp>
      <p:sp>
        <p:nvSpPr>
          <p:cNvPr id="54" name="Flussdiagramm: Verbinder 53">
            <a:extLst>
              <a:ext uri="{FF2B5EF4-FFF2-40B4-BE49-F238E27FC236}">
                <a16:creationId xmlns:a16="http://schemas.microsoft.com/office/drawing/2014/main" id="{B821EB63-2491-4163-A87C-D62D113B4101}"/>
              </a:ext>
            </a:extLst>
          </p:cNvPr>
          <p:cNvSpPr/>
          <p:nvPr/>
        </p:nvSpPr>
        <p:spPr>
          <a:xfrm>
            <a:off x="1826840" y="4341711"/>
            <a:ext cx="1399596" cy="427371"/>
          </a:xfrm>
          <a:prstGeom prst="flowChartConnector">
            <a:avLst/>
          </a:prstGeom>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a:t>MDD /IVDD /AIMDD to MDR/IVDR change was completed</a:t>
            </a:r>
          </a:p>
        </p:txBody>
      </p:sp>
      <p:sp>
        <p:nvSpPr>
          <p:cNvPr id="65" name="Rechteck 64">
            <a:extLst>
              <a:ext uri="{FF2B5EF4-FFF2-40B4-BE49-F238E27FC236}">
                <a16:creationId xmlns:a16="http://schemas.microsoft.com/office/drawing/2014/main" id="{E424FD0E-254E-45E5-89C9-E0CBF00E3BE9}"/>
              </a:ext>
            </a:extLst>
          </p:cNvPr>
          <p:cNvSpPr/>
          <p:nvPr/>
        </p:nvSpPr>
        <p:spPr>
          <a:xfrm>
            <a:off x="4706794" y="2736377"/>
            <a:ext cx="1530000" cy="842002"/>
          </a:xfrm>
          <a:prstGeom prst="rect">
            <a:avLst/>
          </a:prstGeom>
          <a:solidFill>
            <a:schemeClr val="accent1">
              <a:lumMod val="60000"/>
              <a:lumOff val="40000"/>
            </a:schemeClr>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b="1"/>
              <a:t>EUDAMED DI</a:t>
            </a:r>
          </a:p>
          <a:p>
            <a:pPr algn="ctr"/>
            <a:r>
              <a:rPr lang="de-DE" sz="1000" b="1"/>
              <a:t>(MDD, IVDD, AIMDD)</a:t>
            </a:r>
          </a:p>
          <a:p>
            <a:pPr algn="ctr"/>
            <a:r>
              <a:rPr lang="de-DE" sz="700"/>
              <a:t>EUDAMED DI generated based on the existing UDI-DI as follows:</a:t>
            </a:r>
          </a:p>
          <a:p>
            <a:pPr algn="ctr"/>
            <a:r>
              <a:rPr lang="de-DE" sz="700"/>
              <a:t> „B-“ + UDI-DI:</a:t>
            </a:r>
          </a:p>
          <a:p>
            <a:pPr algn="ctr"/>
            <a:r>
              <a:rPr lang="de-DE" sz="700"/>
              <a:t>B-07812345678911</a:t>
            </a:r>
          </a:p>
          <a:p>
            <a:pPr algn="ctr"/>
            <a:endParaRPr lang="de-DE" sz="700"/>
          </a:p>
        </p:txBody>
      </p:sp>
      <p:sp>
        <p:nvSpPr>
          <p:cNvPr id="67" name="Rechteck 66">
            <a:extLst>
              <a:ext uri="{FF2B5EF4-FFF2-40B4-BE49-F238E27FC236}">
                <a16:creationId xmlns:a16="http://schemas.microsoft.com/office/drawing/2014/main" id="{3FE15374-5006-48E3-99A3-1ED0D346AB29}"/>
              </a:ext>
            </a:extLst>
          </p:cNvPr>
          <p:cNvSpPr/>
          <p:nvPr/>
        </p:nvSpPr>
        <p:spPr>
          <a:xfrm>
            <a:off x="5838276" y="1144990"/>
            <a:ext cx="1530000" cy="692671"/>
          </a:xfrm>
          <a:prstGeom prst="rect">
            <a:avLst/>
          </a:prstGeom>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b="1"/>
              <a:t>Legacy Device</a:t>
            </a:r>
          </a:p>
          <a:p>
            <a:pPr algn="ctr"/>
            <a:r>
              <a:rPr lang="de-DE" sz="1000" b="1"/>
              <a:t>(MDD, IVDD, AIMDD)</a:t>
            </a:r>
          </a:p>
          <a:p>
            <a:pPr algn="ctr"/>
            <a:r>
              <a:rPr lang="de-DE" sz="700"/>
              <a:t>GS1 Primary DI: 07812345678911</a:t>
            </a:r>
          </a:p>
        </p:txBody>
      </p:sp>
      <p:sp>
        <p:nvSpPr>
          <p:cNvPr id="68" name="Rechteck 67">
            <a:extLst>
              <a:ext uri="{FF2B5EF4-FFF2-40B4-BE49-F238E27FC236}">
                <a16:creationId xmlns:a16="http://schemas.microsoft.com/office/drawing/2014/main" id="{1E95C3CA-0462-46D5-997E-525C5E618DE9}"/>
              </a:ext>
            </a:extLst>
          </p:cNvPr>
          <p:cNvSpPr/>
          <p:nvPr/>
        </p:nvSpPr>
        <p:spPr>
          <a:xfrm>
            <a:off x="7001794" y="2736377"/>
            <a:ext cx="1530000" cy="842001"/>
          </a:xfrm>
          <a:prstGeom prst="rect">
            <a:avLst/>
          </a:prstGeom>
          <a:solidFill>
            <a:schemeClr val="accent1">
              <a:lumMod val="60000"/>
              <a:lumOff val="40000"/>
            </a:schemeClr>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b="1"/>
              <a:t>Basic UDI-DI</a:t>
            </a:r>
          </a:p>
          <a:p>
            <a:pPr algn="ctr"/>
            <a:r>
              <a:rPr lang="de-DE" sz="1000" b="1"/>
              <a:t>(MDR, IVDR)</a:t>
            </a:r>
          </a:p>
          <a:p>
            <a:pPr algn="ctr"/>
            <a:r>
              <a:rPr lang="de-DE" sz="700"/>
              <a:t>Basic UDI-DI generated based on standard rules:</a:t>
            </a:r>
          </a:p>
          <a:p>
            <a:pPr algn="ctr"/>
            <a:r>
              <a:rPr lang="de-DE" sz="700"/>
              <a:t>078123NEWBUDI100TW</a:t>
            </a:r>
          </a:p>
          <a:p>
            <a:pPr algn="ctr"/>
            <a:endParaRPr lang="de-DE" sz="700"/>
          </a:p>
        </p:txBody>
      </p:sp>
      <p:cxnSp>
        <p:nvCxnSpPr>
          <p:cNvPr id="69" name="Verbinder: gewinkelt 68">
            <a:extLst>
              <a:ext uri="{FF2B5EF4-FFF2-40B4-BE49-F238E27FC236}">
                <a16:creationId xmlns:a16="http://schemas.microsoft.com/office/drawing/2014/main" id="{7866A51A-F919-4E33-823E-82B4268FD583}"/>
              </a:ext>
            </a:extLst>
          </p:cNvPr>
          <p:cNvCxnSpPr>
            <a:cxnSpLocks/>
            <a:stCxn id="67" idx="3"/>
            <a:endCxn id="68" idx="3"/>
          </p:cNvCxnSpPr>
          <p:nvPr/>
        </p:nvCxnSpPr>
        <p:spPr>
          <a:xfrm>
            <a:off x="7368276" y="1491326"/>
            <a:ext cx="1163518" cy="1666052"/>
          </a:xfrm>
          <a:prstGeom prst="bentConnector3">
            <a:avLst>
              <a:gd name="adj1" fmla="val 119647"/>
            </a:avLst>
          </a:prstGeom>
          <a:ln w="22225">
            <a:solidFill>
              <a:srgbClr val="203864"/>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71" name="Verbinder: gewinkelt 70">
            <a:extLst>
              <a:ext uri="{FF2B5EF4-FFF2-40B4-BE49-F238E27FC236}">
                <a16:creationId xmlns:a16="http://schemas.microsoft.com/office/drawing/2014/main" id="{1F5896B2-C6C9-4C1F-88DE-BAD4E2D7F16B}"/>
              </a:ext>
            </a:extLst>
          </p:cNvPr>
          <p:cNvCxnSpPr>
            <a:cxnSpLocks/>
            <a:stCxn id="67" idx="1"/>
            <a:endCxn id="65" idx="1"/>
          </p:cNvCxnSpPr>
          <p:nvPr/>
        </p:nvCxnSpPr>
        <p:spPr>
          <a:xfrm rot="10800000" flipV="1">
            <a:off x="4706794" y="1491326"/>
            <a:ext cx="1131482" cy="1666052"/>
          </a:xfrm>
          <a:prstGeom prst="bentConnector3">
            <a:avLst>
              <a:gd name="adj1" fmla="val 120204"/>
            </a:avLst>
          </a:prstGeom>
          <a:ln w="22225">
            <a:solidFill>
              <a:srgbClr val="203864"/>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3" name="Multiplikationszeichen 72">
            <a:extLst>
              <a:ext uri="{FF2B5EF4-FFF2-40B4-BE49-F238E27FC236}">
                <a16:creationId xmlns:a16="http://schemas.microsoft.com/office/drawing/2014/main" id="{40453F49-0566-4180-8E9F-2D6AAE81E0A3}"/>
              </a:ext>
            </a:extLst>
          </p:cNvPr>
          <p:cNvSpPr/>
          <p:nvPr/>
        </p:nvSpPr>
        <p:spPr>
          <a:xfrm>
            <a:off x="4376842" y="2135982"/>
            <a:ext cx="293423" cy="360000"/>
          </a:xfrm>
          <a:prstGeom prst="mathMultiply">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74792330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17403686-94D3-4A24-BDEB-07854049E7FA}"/>
              </a:ext>
            </a:extLst>
          </p:cNvPr>
          <p:cNvSpPr>
            <a:spLocks noGrp="1"/>
          </p:cNvSpPr>
          <p:nvPr>
            <p:ph type="title"/>
          </p:nvPr>
        </p:nvSpPr>
        <p:spPr/>
        <p:txBody>
          <a:bodyPr>
            <a:normAutofit fontScale="90000"/>
          </a:bodyPr>
          <a:lstStyle/>
          <a:p>
            <a:r>
              <a:rPr lang="de-DE"/>
              <a:t>Appendix - </a:t>
            </a:r>
            <a:r>
              <a:rPr lang="en-US"/>
              <a:t>Standard process for creating a material</a:t>
            </a:r>
            <a:endParaRPr lang="de-DE"/>
          </a:p>
        </p:txBody>
      </p:sp>
      <p:sp>
        <p:nvSpPr>
          <p:cNvPr id="4" name="Rechteck: abgerundete Ecken 3">
            <a:extLst>
              <a:ext uri="{FF2B5EF4-FFF2-40B4-BE49-F238E27FC236}">
                <a16:creationId xmlns:a16="http://schemas.microsoft.com/office/drawing/2014/main" id="{C15F0967-AE72-425B-B48F-48D65E103DE8}"/>
              </a:ext>
            </a:extLst>
          </p:cNvPr>
          <p:cNvSpPr/>
          <p:nvPr/>
        </p:nvSpPr>
        <p:spPr>
          <a:xfrm>
            <a:off x="6426961" y="801122"/>
            <a:ext cx="1976722" cy="3744479"/>
          </a:xfrm>
          <a:prstGeom prst="round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5" name="Rechteck: abgerundete Ecken 4">
            <a:extLst>
              <a:ext uri="{FF2B5EF4-FFF2-40B4-BE49-F238E27FC236}">
                <a16:creationId xmlns:a16="http://schemas.microsoft.com/office/drawing/2014/main" id="{C47AD447-1391-4753-ACE4-E28DE8BDF170}"/>
              </a:ext>
            </a:extLst>
          </p:cNvPr>
          <p:cNvSpPr/>
          <p:nvPr/>
        </p:nvSpPr>
        <p:spPr>
          <a:xfrm>
            <a:off x="4450239" y="801122"/>
            <a:ext cx="1976722" cy="3744479"/>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7" name="Rechteck: abgerundete Ecken 6">
            <a:extLst>
              <a:ext uri="{FF2B5EF4-FFF2-40B4-BE49-F238E27FC236}">
                <a16:creationId xmlns:a16="http://schemas.microsoft.com/office/drawing/2014/main" id="{B6AC1B17-3F88-4D40-804E-9B0D2C2CA948}"/>
              </a:ext>
            </a:extLst>
          </p:cNvPr>
          <p:cNvSpPr/>
          <p:nvPr/>
        </p:nvSpPr>
        <p:spPr>
          <a:xfrm>
            <a:off x="2483133" y="804826"/>
            <a:ext cx="1976722" cy="3744479"/>
          </a:xfrm>
          <a:prstGeom prst="round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8" name="Rechteck: abgerundete Ecken 7">
            <a:extLst>
              <a:ext uri="{FF2B5EF4-FFF2-40B4-BE49-F238E27FC236}">
                <a16:creationId xmlns:a16="http://schemas.microsoft.com/office/drawing/2014/main" id="{71FE1C28-D166-4223-BE2C-947C67DDF362}"/>
              </a:ext>
            </a:extLst>
          </p:cNvPr>
          <p:cNvSpPr/>
          <p:nvPr/>
        </p:nvSpPr>
        <p:spPr>
          <a:xfrm>
            <a:off x="512344" y="808530"/>
            <a:ext cx="1976722" cy="3744479"/>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9" name="Rechteck: abgerundete Ecken 8">
            <a:extLst>
              <a:ext uri="{FF2B5EF4-FFF2-40B4-BE49-F238E27FC236}">
                <a16:creationId xmlns:a16="http://schemas.microsoft.com/office/drawing/2014/main" id="{BF625B3B-054F-492B-BA4C-7613E1C58443}"/>
              </a:ext>
            </a:extLst>
          </p:cNvPr>
          <p:cNvSpPr/>
          <p:nvPr/>
        </p:nvSpPr>
        <p:spPr>
          <a:xfrm>
            <a:off x="624890" y="906921"/>
            <a:ext cx="1769197" cy="1000953"/>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a:solidFill>
                  <a:schemeClr val="bg1"/>
                </a:solidFill>
                <a:latin typeface="Arial" panose="020B0604020202020204" pitchFamily="34" charset="0"/>
                <a:cs typeface="Arial" panose="020B0604020202020204" pitchFamily="34" charset="0"/>
              </a:rPr>
              <a:t>Material is set to EUDAMED relevant in the Basic Data 1 in Material Master (Status 1, 2).</a:t>
            </a:r>
            <a:endParaRPr lang="de-CH" sz="1300">
              <a:solidFill>
                <a:schemeClr val="bg1"/>
              </a:solidFill>
              <a:latin typeface="Arial" panose="020B0604020202020204" pitchFamily="34" charset="0"/>
              <a:cs typeface="Arial" panose="020B0604020202020204" pitchFamily="34" charset="0"/>
            </a:endParaRPr>
          </a:p>
        </p:txBody>
      </p:sp>
      <p:sp>
        <p:nvSpPr>
          <p:cNvPr id="10" name="Rechteck: abgerundete Ecken 9">
            <a:extLst>
              <a:ext uri="{FF2B5EF4-FFF2-40B4-BE49-F238E27FC236}">
                <a16:creationId xmlns:a16="http://schemas.microsoft.com/office/drawing/2014/main" id="{5BDD4101-AC72-4520-97CA-1A59C9205A30}"/>
              </a:ext>
            </a:extLst>
          </p:cNvPr>
          <p:cNvSpPr/>
          <p:nvPr/>
        </p:nvSpPr>
        <p:spPr>
          <a:xfrm>
            <a:off x="2563831" y="911537"/>
            <a:ext cx="1830048" cy="1010316"/>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a:solidFill>
                  <a:schemeClr val="bg1"/>
                </a:solidFill>
                <a:latin typeface="Arial" panose="020B0604020202020204" pitchFamily="34" charset="0"/>
                <a:cs typeface="Arial" panose="020B0604020202020204" pitchFamily="34" charset="0"/>
              </a:rPr>
              <a:t>If not already existing, a Basic UDI-DI is created.</a:t>
            </a:r>
          </a:p>
        </p:txBody>
      </p:sp>
      <p:sp>
        <p:nvSpPr>
          <p:cNvPr id="11" name="Pfeil: nach rechts 10">
            <a:extLst>
              <a:ext uri="{FF2B5EF4-FFF2-40B4-BE49-F238E27FC236}">
                <a16:creationId xmlns:a16="http://schemas.microsoft.com/office/drawing/2014/main" id="{32B56375-6760-4522-A9E4-CDE2E1BD8062}"/>
              </a:ext>
            </a:extLst>
          </p:cNvPr>
          <p:cNvSpPr/>
          <p:nvPr/>
        </p:nvSpPr>
        <p:spPr>
          <a:xfrm>
            <a:off x="2389004" y="1361958"/>
            <a:ext cx="115695" cy="90877"/>
          </a:xfrm>
          <a:prstGeom prst="rightArrow">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a:p>
        </p:txBody>
      </p:sp>
      <p:sp>
        <p:nvSpPr>
          <p:cNvPr id="13" name="Rechteck: abgerundete Ecken 12">
            <a:extLst>
              <a:ext uri="{FF2B5EF4-FFF2-40B4-BE49-F238E27FC236}">
                <a16:creationId xmlns:a16="http://schemas.microsoft.com/office/drawing/2014/main" id="{B9E1B828-9B86-439D-ACAD-6BE4179CC0B5}"/>
              </a:ext>
            </a:extLst>
          </p:cNvPr>
          <p:cNvSpPr/>
          <p:nvPr/>
        </p:nvSpPr>
        <p:spPr>
          <a:xfrm>
            <a:off x="4529649" y="897558"/>
            <a:ext cx="1830048" cy="1010316"/>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a:solidFill>
                  <a:schemeClr val="bg1"/>
                </a:solidFill>
                <a:latin typeface="Arial" panose="020B0604020202020204" pitchFamily="34" charset="0"/>
                <a:cs typeface="Arial" panose="020B0604020202020204" pitchFamily="34" charset="0"/>
              </a:rPr>
              <a:t>The material is added to the Basic UDI-DI.</a:t>
            </a:r>
            <a:endParaRPr lang="de-CH" sz="1300">
              <a:solidFill>
                <a:schemeClr val="bg1"/>
              </a:solidFill>
              <a:latin typeface="Arial" panose="020B0604020202020204" pitchFamily="34" charset="0"/>
              <a:cs typeface="Arial" panose="020B0604020202020204" pitchFamily="34" charset="0"/>
            </a:endParaRPr>
          </a:p>
        </p:txBody>
      </p:sp>
      <p:sp>
        <p:nvSpPr>
          <p:cNvPr id="15" name="Rechteck: abgerundete Ecken 14">
            <a:extLst>
              <a:ext uri="{FF2B5EF4-FFF2-40B4-BE49-F238E27FC236}">
                <a16:creationId xmlns:a16="http://schemas.microsoft.com/office/drawing/2014/main" id="{83D75EC2-C7C2-4C77-B789-ACB0F3B7C39A}"/>
              </a:ext>
            </a:extLst>
          </p:cNvPr>
          <p:cNvSpPr/>
          <p:nvPr/>
        </p:nvSpPr>
        <p:spPr>
          <a:xfrm>
            <a:off x="6512454" y="906921"/>
            <a:ext cx="1830048" cy="1010316"/>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a:solidFill>
                  <a:schemeClr val="bg1"/>
                </a:solidFill>
                <a:latin typeface="Arial" panose="020B0604020202020204" pitchFamily="34" charset="0"/>
                <a:cs typeface="Arial" panose="020B0604020202020204" pitchFamily="34" charset="0"/>
              </a:rPr>
              <a:t>The additional UDI data can be entered.</a:t>
            </a:r>
            <a:endParaRPr lang="de-CH" sz="1300">
              <a:solidFill>
                <a:schemeClr val="bg1"/>
              </a:solidFill>
              <a:latin typeface="Arial" panose="020B0604020202020204" pitchFamily="34" charset="0"/>
              <a:cs typeface="Arial" panose="020B0604020202020204" pitchFamily="34" charset="0"/>
            </a:endParaRPr>
          </a:p>
        </p:txBody>
      </p:sp>
      <p:sp>
        <p:nvSpPr>
          <p:cNvPr id="30" name="Pfeil: nach rechts 29">
            <a:extLst>
              <a:ext uri="{FF2B5EF4-FFF2-40B4-BE49-F238E27FC236}">
                <a16:creationId xmlns:a16="http://schemas.microsoft.com/office/drawing/2014/main" id="{4939613C-248B-4DD1-A3A1-83DB2E4A4336}"/>
              </a:ext>
            </a:extLst>
          </p:cNvPr>
          <p:cNvSpPr/>
          <p:nvPr/>
        </p:nvSpPr>
        <p:spPr>
          <a:xfrm>
            <a:off x="6342468" y="1361958"/>
            <a:ext cx="115695" cy="90877"/>
          </a:xfrm>
          <a:prstGeom prst="rightArrow">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a:p>
        </p:txBody>
      </p:sp>
      <p:sp>
        <p:nvSpPr>
          <p:cNvPr id="31" name="Pfeil: nach rechts 30">
            <a:extLst>
              <a:ext uri="{FF2B5EF4-FFF2-40B4-BE49-F238E27FC236}">
                <a16:creationId xmlns:a16="http://schemas.microsoft.com/office/drawing/2014/main" id="{BCBBDAD7-53BC-4220-9F68-3DB7B1D37894}"/>
              </a:ext>
            </a:extLst>
          </p:cNvPr>
          <p:cNvSpPr/>
          <p:nvPr/>
        </p:nvSpPr>
        <p:spPr>
          <a:xfrm>
            <a:off x="4378778" y="1361958"/>
            <a:ext cx="115695" cy="90877"/>
          </a:xfrm>
          <a:prstGeom prst="rightArrow">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a:p>
        </p:txBody>
      </p:sp>
      <p:pic>
        <p:nvPicPr>
          <p:cNvPr id="12" name="Grafik 11">
            <a:extLst>
              <a:ext uri="{FF2B5EF4-FFF2-40B4-BE49-F238E27FC236}">
                <a16:creationId xmlns:a16="http://schemas.microsoft.com/office/drawing/2014/main" id="{98DBD290-BEC4-4841-B4F3-18C779C04FB7}"/>
              </a:ext>
            </a:extLst>
          </p:cNvPr>
          <p:cNvPicPr>
            <a:picLocks noChangeAspect="1"/>
          </p:cNvPicPr>
          <p:nvPr/>
        </p:nvPicPr>
        <p:blipFill>
          <a:blip r:embed="rId2"/>
          <a:stretch>
            <a:fillRect/>
          </a:stretch>
        </p:blipFill>
        <p:spPr>
          <a:xfrm>
            <a:off x="590811" y="1999391"/>
            <a:ext cx="1809157" cy="2302564"/>
          </a:xfrm>
          <a:prstGeom prst="rect">
            <a:avLst/>
          </a:prstGeom>
        </p:spPr>
      </p:pic>
      <p:sp>
        <p:nvSpPr>
          <p:cNvPr id="20" name="Rechteck 19">
            <a:extLst>
              <a:ext uri="{FF2B5EF4-FFF2-40B4-BE49-F238E27FC236}">
                <a16:creationId xmlns:a16="http://schemas.microsoft.com/office/drawing/2014/main" id="{C51E5346-F2A4-4A8C-B97B-10FB04E44E3C}"/>
              </a:ext>
            </a:extLst>
          </p:cNvPr>
          <p:cNvSpPr/>
          <p:nvPr/>
        </p:nvSpPr>
        <p:spPr>
          <a:xfrm>
            <a:off x="1084944" y="4165716"/>
            <a:ext cx="396169" cy="77863"/>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36" name="Grafik 35">
            <a:extLst>
              <a:ext uri="{FF2B5EF4-FFF2-40B4-BE49-F238E27FC236}">
                <a16:creationId xmlns:a16="http://schemas.microsoft.com/office/drawing/2014/main" id="{1287C34D-676E-4ADB-802E-3773377EF013}"/>
              </a:ext>
            </a:extLst>
          </p:cNvPr>
          <p:cNvPicPr>
            <a:picLocks noChangeAspect="1"/>
          </p:cNvPicPr>
          <p:nvPr/>
        </p:nvPicPr>
        <p:blipFill>
          <a:blip r:embed="rId3"/>
          <a:stretch>
            <a:fillRect/>
          </a:stretch>
        </p:blipFill>
        <p:spPr>
          <a:xfrm>
            <a:off x="353693" y="3334413"/>
            <a:ext cx="2203186" cy="644166"/>
          </a:xfrm>
          <a:prstGeom prst="ellipse">
            <a:avLst/>
          </a:prstGeom>
          <a:ln w="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19" name="Rechteck 18">
            <a:extLst>
              <a:ext uri="{FF2B5EF4-FFF2-40B4-BE49-F238E27FC236}">
                <a16:creationId xmlns:a16="http://schemas.microsoft.com/office/drawing/2014/main" id="{5302C129-1CC6-456A-A811-227F7DB92178}"/>
              </a:ext>
            </a:extLst>
          </p:cNvPr>
          <p:cNvSpPr/>
          <p:nvPr/>
        </p:nvSpPr>
        <p:spPr>
          <a:xfrm>
            <a:off x="933113" y="3680156"/>
            <a:ext cx="542976" cy="132504"/>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40" name="Grafik 39">
            <a:extLst>
              <a:ext uri="{FF2B5EF4-FFF2-40B4-BE49-F238E27FC236}">
                <a16:creationId xmlns:a16="http://schemas.microsoft.com/office/drawing/2014/main" id="{1953B5BD-82EB-4A12-81BC-DC38332F8F7E}"/>
              </a:ext>
            </a:extLst>
          </p:cNvPr>
          <p:cNvPicPr>
            <a:picLocks noChangeAspect="1"/>
          </p:cNvPicPr>
          <p:nvPr/>
        </p:nvPicPr>
        <p:blipFill>
          <a:blip r:embed="rId4"/>
          <a:stretch>
            <a:fillRect/>
          </a:stretch>
        </p:blipFill>
        <p:spPr>
          <a:xfrm>
            <a:off x="2570840" y="2964285"/>
            <a:ext cx="1767939" cy="1480761"/>
          </a:xfrm>
          <a:prstGeom prst="rect">
            <a:avLst/>
          </a:prstGeom>
        </p:spPr>
      </p:pic>
      <p:sp>
        <p:nvSpPr>
          <p:cNvPr id="21" name="Rechteck 20">
            <a:extLst>
              <a:ext uri="{FF2B5EF4-FFF2-40B4-BE49-F238E27FC236}">
                <a16:creationId xmlns:a16="http://schemas.microsoft.com/office/drawing/2014/main" id="{F9DFBD54-F439-4685-A885-33737D01C33F}"/>
              </a:ext>
            </a:extLst>
          </p:cNvPr>
          <p:cNvSpPr/>
          <p:nvPr/>
        </p:nvSpPr>
        <p:spPr>
          <a:xfrm>
            <a:off x="3339201" y="3056004"/>
            <a:ext cx="458042" cy="99693"/>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42" name="Grafik 41">
            <a:extLst>
              <a:ext uri="{FF2B5EF4-FFF2-40B4-BE49-F238E27FC236}">
                <a16:creationId xmlns:a16="http://schemas.microsoft.com/office/drawing/2014/main" id="{1DBDDE15-5A0A-46B5-8146-47619D4C28EA}"/>
              </a:ext>
            </a:extLst>
          </p:cNvPr>
          <p:cNvPicPr>
            <a:picLocks noChangeAspect="1"/>
          </p:cNvPicPr>
          <p:nvPr/>
        </p:nvPicPr>
        <p:blipFill>
          <a:blip r:embed="rId5"/>
          <a:stretch>
            <a:fillRect/>
          </a:stretch>
        </p:blipFill>
        <p:spPr>
          <a:xfrm>
            <a:off x="2545074" y="1990720"/>
            <a:ext cx="1904434" cy="869306"/>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23" name="Rechteck 22">
            <a:extLst>
              <a:ext uri="{FF2B5EF4-FFF2-40B4-BE49-F238E27FC236}">
                <a16:creationId xmlns:a16="http://schemas.microsoft.com/office/drawing/2014/main" id="{BDED44D3-4E2A-4EE3-A30B-5EE24651FE7F}"/>
              </a:ext>
            </a:extLst>
          </p:cNvPr>
          <p:cNvSpPr/>
          <p:nvPr/>
        </p:nvSpPr>
        <p:spPr>
          <a:xfrm>
            <a:off x="3137100" y="2235416"/>
            <a:ext cx="711650" cy="224322"/>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46" name="Grafik 45">
            <a:extLst>
              <a:ext uri="{FF2B5EF4-FFF2-40B4-BE49-F238E27FC236}">
                <a16:creationId xmlns:a16="http://schemas.microsoft.com/office/drawing/2014/main" id="{DB37006B-2608-4948-B17E-8B940951100D}"/>
              </a:ext>
            </a:extLst>
          </p:cNvPr>
          <p:cNvPicPr>
            <a:picLocks noChangeAspect="1"/>
          </p:cNvPicPr>
          <p:nvPr/>
        </p:nvPicPr>
        <p:blipFill>
          <a:blip r:embed="rId6"/>
          <a:stretch>
            <a:fillRect/>
          </a:stretch>
        </p:blipFill>
        <p:spPr>
          <a:xfrm>
            <a:off x="4550513" y="1970658"/>
            <a:ext cx="1836374" cy="857313"/>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25" name="Rechteck 24">
            <a:extLst>
              <a:ext uri="{FF2B5EF4-FFF2-40B4-BE49-F238E27FC236}">
                <a16:creationId xmlns:a16="http://schemas.microsoft.com/office/drawing/2014/main" id="{47D081CB-07E5-452F-AF2C-16DD2AC4BEFF}"/>
              </a:ext>
            </a:extLst>
          </p:cNvPr>
          <p:cNvSpPr/>
          <p:nvPr/>
        </p:nvSpPr>
        <p:spPr>
          <a:xfrm>
            <a:off x="4961316" y="2326404"/>
            <a:ext cx="498930" cy="152454"/>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48" name="Grafik 47">
            <a:extLst>
              <a:ext uri="{FF2B5EF4-FFF2-40B4-BE49-F238E27FC236}">
                <a16:creationId xmlns:a16="http://schemas.microsoft.com/office/drawing/2014/main" id="{88DE0281-2530-41C8-80C3-D11163C060D9}"/>
              </a:ext>
            </a:extLst>
          </p:cNvPr>
          <p:cNvPicPr>
            <a:picLocks noChangeAspect="1"/>
          </p:cNvPicPr>
          <p:nvPr/>
        </p:nvPicPr>
        <p:blipFill>
          <a:blip r:embed="rId7"/>
          <a:stretch>
            <a:fillRect/>
          </a:stretch>
        </p:blipFill>
        <p:spPr>
          <a:xfrm>
            <a:off x="5399676" y="2789910"/>
            <a:ext cx="2053108" cy="1678416"/>
          </a:xfrm>
          <a:prstGeom prst="rect">
            <a:avLst/>
          </a:prstGeom>
        </p:spPr>
      </p:pic>
      <p:sp>
        <p:nvSpPr>
          <p:cNvPr id="26" name="Rechteck 25">
            <a:extLst>
              <a:ext uri="{FF2B5EF4-FFF2-40B4-BE49-F238E27FC236}">
                <a16:creationId xmlns:a16="http://schemas.microsoft.com/office/drawing/2014/main" id="{5C61A3D9-BA67-4443-B77F-48944A447AD8}"/>
              </a:ext>
            </a:extLst>
          </p:cNvPr>
          <p:cNvSpPr/>
          <p:nvPr/>
        </p:nvSpPr>
        <p:spPr>
          <a:xfrm>
            <a:off x="5583687" y="3418804"/>
            <a:ext cx="243324" cy="79745"/>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8" name="Rechteck 27">
            <a:extLst>
              <a:ext uri="{FF2B5EF4-FFF2-40B4-BE49-F238E27FC236}">
                <a16:creationId xmlns:a16="http://schemas.microsoft.com/office/drawing/2014/main" id="{DBD119D8-9C5B-4430-8C09-57AD42A0CA10}"/>
              </a:ext>
            </a:extLst>
          </p:cNvPr>
          <p:cNvSpPr/>
          <p:nvPr/>
        </p:nvSpPr>
        <p:spPr>
          <a:xfrm>
            <a:off x="6786626" y="3838666"/>
            <a:ext cx="640851" cy="529708"/>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50" name="Grafik 49">
            <a:extLst>
              <a:ext uri="{FF2B5EF4-FFF2-40B4-BE49-F238E27FC236}">
                <a16:creationId xmlns:a16="http://schemas.microsoft.com/office/drawing/2014/main" id="{4E7A13D9-6DAE-4545-A6A6-946A15BE6542}"/>
              </a:ext>
            </a:extLst>
          </p:cNvPr>
          <p:cNvPicPr>
            <a:picLocks noChangeAspect="1"/>
          </p:cNvPicPr>
          <p:nvPr/>
        </p:nvPicPr>
        <p:blipFill>
          <a:blip r:embed="rId8"/>
          <a:stretch>
            <a:fillRect/>
          </a:stretch>
        </p:blipFill>
        <p:spPr>
          <a:xfrm>
            <a:off x="6538421" y="1990720"/>
            <a:ext cx="1830048" cy="1112228"/>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37840045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1"/>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0"/>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5"/>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5"/>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5"/>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4"/>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50"/>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48"/>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8"/>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7" grpId="0" animBg="1"/>
      <p:bldP spid="10" grpId="0" animBg="1"/>
      <p:bldP spid="13" grpId="0" animBg="1"/>
      <p:bldP spid="15" grpId="0" animBg="1"/>
      <p:bldP spid="30" grpId="0" animBg="1"/>
      <p:bldP spid="31" grpId="0" animBg="1"/>
      <p:bldP spid="21" grpId="0" animBg="1"/>
      <p:bldP spid="23" grpId="0" animBg="1"/>
      <p:bldP spid="25" grpId="0" animBg="1"/>
      <p:bldP spid="26" grpId="0" animBg="1"/>
      <p:bldP spid="28" grpId="0" animBg="1"/>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17403686-94D3-4A24-BDEB-07854049E7FA}"/>
              </a:ext>
            </a:extLst>
          </p:cNvPr>
          <p:cNvSpPr>
            <a:spLocks noGrp="1"/>
          </p:cNvSpPr>
          <p:nvPr>
            <p:ph type="title"/>
          </p:nvPr>
        </p:nvSpPr>
        <p:spPr/>
        <p:txBody>
          <a:bodyPr>
            <a:normAutofit fontScale="90000"/>
          </a:bodyPr>
          <a:lstStyle/>
          <a:p>
            <a:r>
              <a:rPr lang="de-DE"/>
              <a:t>Appendix - </a:t>
            </a:r>
            <a:r>
              <a:rPr lang="en-US"/>
              <a:t>Initial assignment of a UDI-DI to a Basic UDI-DI</a:t>
            </a:r>
            <a:endParaRPr lang="de-DE"/>
          </a:p>
        </p:txBody>
      </p:sp>
      <p:sp>
        <p:nvSpPr>
          <p:cNvPr id="4" name="Rechteck 3">
            <a:extLst>
              <a:ext uri="{FF2B5EF4-FFF2-40B4-BE49-F238E27FC236}">
                <a16:creationId xmlns:a16="http://schemas.microsoft.com/office/drawing/2014/main" id="{76E46312-65A7-425B-A064-4B86D9BB1403}"/>
              </a:ext>
            </a:extLst>
          </p:cNvPr>
          <p:cNvSpPr/>
          <p:nvPr/>
        </p:nvSpPr>
        <p:spPr>
          <a:xfrm>
            <a:off x="2774140" y="749941"/>
            <a:ext cx="3445796" cy="3946327"/>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CH"/>
          </a:p>
        </p:txBody>
      </p:sp>
      <p:sp>
        <p:nvSpPr>
          <p:cNvPr id="5" name="Rechteck: abgerundete Ecken 4">
            <a:extLst>
              <a:ext uri="{FF2B5EF4-FFF2-40B4-BE49-F238E27FC236}">
                <a16:creationId xmlns:a16="http://schemas.microsoft.com/office/drawing/2014/main" id="{CECAD65B-A87D-40F5-BAEA-81A65285748D}"/>
              </a:ext>
            </a:extLst>
          </p:cNvPr>
          <p:cNvSpPr/>
          <p:nvPr/>
        </p:nvSpPr>
        <p:spPr>
          <a:xfrm>
            <a:off x="548164" y="2644486"/>
            <a:ext cx="1648800" cy="824063"/>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Arial" panose="020B0604020202020204" pitchFamily="34" charset="0"/>
                <a:cs typeface="Arial" panose="020B0604020202020204" pitchFamily="34" charset="0"/>
              </a:rPr>
              <a:t>The material is attached by using the "Add UDI-DI" button.</a:t>
            </a:r>
            <a:endParaRPr lang="de-CH" sz="1200">
              <a:solidFill>
                <a:schemeClr val="bg1"/>
              </a:solidFill>
              <a:latin typeface="Arial" panose="020B0604020202020204" pitchFamily="34" charset="0"/>
              <a:cs typeface="Arial" panose="020B0604020202020204" pitchFamily="34" charset="0"/>
            </a:endParaRPr>
          </a:p>
        </p:txBody>
      </p:sp>
      <p:sp>
        <p:nvSpPr>
          <p:cNvPr id="7" name="Rechteck: abgerundete Ecken 6">
            <a:extLst>
              <a:ext uri="{FF2B5EF4-FFF2-40B4-BE49-F238E27FC236}">
                <a16:creationId xmlns:a16="http://schemas.microsoft.com/office/drawing/2014/main" id="{767C7E67-D531-49ED-8A43-F98FCECB303B}"/>
              </a:ext>
            </a:extLst>
          </p:cNvPr>
          <p:cNvSpPr/>
          <p:nvPr/>
        </p:nvSpPr>
        <p:spPr>
          <a:xfrm>
            <a:off x="2831811" y="801916"/>
            <a:ext cx="2756697" cy="580179"/>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Arial" panose="020B0604020202020204" pitchFamily="34" charset="0"/>
                <a:cs typeface="Arial" panose="020B0604020202020204" pitchFamily="34" charset="0"/>
              </a:rPr>
              <a:t>The Basic UDI-DI and the UDI-DI are permanently connected to each other.</a:t>
            </a:r>
            <a:endParaRPr lang="de-CH" sz="1200">
              <a:solidFill>
                <a:schemeClr val="bg1"/>
              </a:solidFill>
              <a:latin typeface="Arial" panose="020B0604020202020204" pitchFamily="34" charset="0"/>
              <a:cs typeface="Arial" panose="020B0604020202020204" pitchFamily="34" charset="0"/>
            </a:endParaRPr>
          </a:p>
        </p:txBody>
      </p:sp>
      <p:sp>
        <p:nvSpPr>
          <p:cNvPr id="9" name="Rechteck 8">
            <a:extLst>
              <a:ext uri="{FF2B5EF4-FFF2-40B4-BE49-F238E27FC236}">
                <a16:creationId xmlns:a16="http://schemas.microsoft.com/office/drawing/2014/main" id="{EE5BCEAC-1993-4E61-B666-0DC8AB870660}"/>
              </a:ext>
            </a:extLst>
          </p:cNvPr>
          <p:cNvSpPr/>
          <p:nvPr/>
        </p:nvSpPr>
        <p:spPr>
          <a:xfrm>
            <a:off x="3195057" y="1444417"/>
            <a:ext cx="1712572" cy="101539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latin typeface="Arial" panose="020B0604020202020204" pitchFamily="34" charset="0"/>
                <a:cs typeface="Arial" panose="020B0604020202020204" pitchFamily="34" charset="0"/>
              </a:rPr>
              <a:t>Basic UDI-DI</a:t>
            </a:r>
            <a:endParaRPr lang="de-CH">
              <a:latin typeface="Arial" panose="020B0604020202020204" pitchFamily="34" charset="0"/>
              <a:cs typeface="Arial" panose="020B0604020202020204" pitchFamily="34" charset="0"/>
            </a:endParaRPr>
          </a:p>
        </p:txBody>
      </p:sp>
      <p:sp>
        <p:nvSpPr>
          <p:cNvPr id="11" name="Rechteck 10">
            <a:extLst>
              <a:ext uri="{FF2B5EF4-FFF2-40B4-BE49-F238E27FC236}">
                <a16:creationId xmlns:a16="http://schemas.microsoft.com/office/drawing/2014/main" id="{B8339206-BF6B-4361-9A8F-92191590435C}"/>
              </a:ext>
            </a:extLst>
          </p:cNvPr>
          <p:cNvSpPr/>
          <p:nvPr/>
        </p:nvSpPr>
        <p:spPr>
          <a:xfrm>
            <a:off x="3498754" y="3293337"/>
            <a:ext cx="1080000" cy="1080000"/>
          </a:xfrm>
          <a:prstGeom prst="rect">
            <a:avLst/>
          </a:prstGeom>
          <a:solidFill>
            <a:srgbClr val="83A3D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latin typeface="Arial" panose="020B0604020202020204" pitchFamily="34" charset="0"/>
                <a:cs typeface="Arial" panose="020B0604020202020204" pitchFamily="34" charset="0"/>
              </a:rPr>
              <a:t>UDI-DI</a:t>
            </a:r>
            <a:endParaRPr lang="de-CH">
              <a:latin typeface="Arial" panose="020B0604020202020204" pitchFamily="34" charset="0"/>
              <a:cs typeface="Arial" panose="020B0604020202020204" pitchFamily="34" charset="0"/>
            </a:endParaRPr>
          </a:p>
        </p:txBody>
      </p:sp>
      <p:sp>
        <p:nvSpPr>
          <p:cNvPr id="12" name="Pfeil: nach oben 11">
            <a:extLst>
              <a:ext uri="{FF2B5EF4-FFF2-40B4-BE49-F238E27FC236}">
                <a16:creationId xmlns:a16="http://schemas.microsoft.com/office/drawing/2014/main" id="{24204041-51D7-4DD1-B6CC-2BB0894A37AA}"/>
              </a:ext>
            </a:extLst>
          </p:cNvPr>
          <p:cNvSpPr/>
          <p:nvPr/>
        </p:nvSpPr>
        <p:spPr>
          <a:xfrm>
            <a:off x="3892526" y="2576847"/>
            <a:ext cx="317634" cy="576940"/>
          </a:xfrm>
          <a:prstGeom prst="upArrow">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3" name="Rechteck 12">
            <a:extLst>
              <a:ext uri="{FF2B5EF4-FFF2-40B4-BE49-F238E27FC236}">
                <a16:creationId xmlns:a16="http://schemas.microsoft.com/office/drawing/2014/main" id="{80A9C668-B80C-4078-AF55-BD32B345947C}"/>
              </a:ext>
            </a:extLst>
          </p:cNvPr>
          <p:cNvSpPr/>
          <p:nvPr/>
        </p:nvSpPr>
        <p:spPr>
          <a:xfrm>
            <a:off x="4694894" y="3252880"/>
            <a:ext cx="1080000" cy="1080000"/>
          </a:xfrm>
          <a:prstGeom prst="rect">
            <a:avLst/>
          </a:prstGeom>
          <a:solidFill>
            <a:srgbClr val="C8E2F8"/>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UDI DI</a:t>
            </a:r>
            <a:endParaRPr lang="de-CH"/>
          </a:p>
        </p:txBody>
      </p:sp>
      <p:sp>
        <p:nvSpPr>
          <p:cNvPr id="14" name="Rechteck 13">
            <a:extLst>
              <a:ext uri="{FF2B5EF4-FFF2-40B4-BE49-F238E27FC236}">
                <a16:creationId xmlns:a16="http://schemas.microsoft.com/office/drawing/2014/main" id="{0237BF3A-F90E-4919-8D5A-9012CE32AED7}"/>
              </a:ext>
            </a:extLst>
          </p:cNvPr>
          <p:cNvSpPr/>
          <p:nvPr/>
        </p:nvSpPr>
        <p:spPr>
          <a:xfrm>
            <a:off x="4847294" y="3405280"/>
            <a:ext cx="1080000" cy="1080000"/>
          </a:xfrm>
          <a:prstGeom prst="rect">
            <a:avLst/>
          </a:prstGeom>
          <a:solidFill>
            <a:srgbClr val="C8E2F8"/>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UDI DI</a:t>
            </a:r>
            <a:endParaRPr lang="de-CH"/>
          </a:p>
        </p:txBody>
      </p:sp>
      <p:sp>
        <p:nvSpPr>
          <p:cNvPr id="15" name="Rechteck 14">
            <a:extLst>
              <a:ext uri="{FF2B5EF4-FFF2-40B4-BE49-F238E27FC236}">
                <a16:creationId xmlns:a16="http://schemas.microsoft.com/office/drawing/2014/main" id="{19D191A9-A5B4-4C41-9BDD-42C843080739}"/>
              </a:ext>
            </a:extLst>
          </p:cNvPr>
          <p:cNvSpPr/>
          <p:nvPr/>
        </p:nvSpPr>
        <p:spPr>
          <a:xfrm>
            <a:off x="4999694" y="3534971"/>
            <a:ext cx="1080000" cy="1080000"/>
          </a:xfrm>
          <a:prstGeom prst="rect">
            <a:avLst/>
          </a:prstGeom>
          <a:solidFill>
            <a:srgbClr val="C8E2F8"/>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latin typeface="Arial" panose="020B0604020202020204" pitchFamily="34" charset="0"/>
                <a:cs typeface="Arial" panose="020B0604020202020204" pitchFamily="34" charset="0"/>
              </a:rPr>
              <a:t>UDI-DI</a:t>
            </a:r>
            <a:endParaRPr lang="de-CH">
              <a:latin typeface="Arial" panose="020B0604020202020204" pitchFamily="34" charset="0"/>
              <a:cs typeface="Arial" panose="020B0604020202020204" pitchFamily="34" charset="0"/>
            </a:endParaRPr>
          </a:p>
        </p:txBody>
      </p:sp>
      <p:sp>
        <p:nvSpPr>
          <p:cNvPr id="16" name="Pfeil: nach oben 15">
            <a:extLst>
              <a:ext uri="{FF2B5EF4-FFF2-40B4-BE49-F238E27FC236}">
                <a16:creationId xmlns:a16="http://schemas.microsoft.com/office/drawing/2014/main" id="{FDDA6F99-A49A-4036-B8E8-4EAE74D6A4BA}"/>
              </a:ext>
            </a:extLst>
          </p:cNvPr>
          <p:cNvSpPr/>
          <p:nvPr/>
        </p:nvSpPr>
        <p:spPr>
          <a:xfrm rot="19621396">
            <a:off x="4693261" y="2301195"/>
            <a:ext cx="317634" cy="648000"/>
          </a:xfrm>
          <a:prstGeom prst="upArrow">
            <a:avLst/>
          </a:prstGeom>
          <a:solidFill>
            <a:srgbClr val="C8E2F8"/>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7" name="Pfeil: nach oben 16">
            <a:extLst>
              <a:ext uri="{FF2B5EF4-FFF2-40B4-BE49-F238E27FC236}">
                <a16:creationId xmlns:a16="http://schemas.microsoft.com/office/drawing/2014/main" id="{6D7325D2-ACC5-4CAA-A50C-15A7930908B6}"/>
              </a:ext>
            </a:extLst>
          </p:cNvPr>
          <p:cNvSpPr/>
          <p:nvPr/>
        </p:nvSpPr>
        <p:spPr>
          <a:xfrm rot="19621396">
            <a:off x="4845661" y="2453595"/>
            <a:ext cx="317634" cy="648000"/>
          </a:xfrm>
          <a:prstGeom prst="upArrow">
            <a:avLst/>
          </a:prstGeom>
          <a:solidFill>
            <a:srgbClr val="C8E2F8"/>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8" name="Pfeil: nach oben 17">
            <a:extLst>
              <a:ext uri="{FF2B5EF4-FFF2-40B4-BE49-F238E27FC236}">
                <a16:creationId xmlns:a16="http://schemas.microsoft.com/office/drawing/2014/main" id="{267F9382-0561-4724-9547-62774AB471AD}"/>
              </a:ext>
            </a:extLst>
          </p:cNvPr>
          <p:cNvSpPr/>
          <p:nvPr/>
        </p:nvSpPr>
        <p:spPr>
          <a:xfrm rot="19621396">
            <a:off x="4998061" y="2605995"/>
            <a:ext cx="317634" cy="648000"/>
          </a:xfrm>
          <a:prstGeom prst="upArrow">
            <a:avLst/>
          </a:prstGeom>
          <a:solidFill>
            <a:srgbClr val="C8E2F8"/>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9" name="Rechteck: abgerundete Ecken 18">
            <a:extLst>
              <a:ext uri="{FF2B5EF4-FFF2-40B4-BE49-F238E27FC236}">
                <a16:creationId xmlns:a16="http://schemas.microsoft.com/office/drawing/2014/main" id="{BD62C548-CB9C-46F9-B13F-C4D1DCEE7C11}"/>
              </a:ext>
            </a:extLst>
          </p:cNvPr>
          <p:cNvSpPr/>
          <p:nvPr/>
        </p:nvSpPr>
        <p:spPr>
          <a:xfrm>
            <a:off x="77720" y="4001261"/>
            <a:ext cx="2578016" cy="507832"/>
          </a:xfrm>
          <a:prstGeom prst="roundRect">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lumMod val="65000"/>
                  </a:schemeClr>
                </a:solidFill>
                <a:latin typeface="Arial" panose="020B0604020202020204" pitchFamily="34" charset="0"/>
                <a:cs typeface="Arial" panose="020B0604020202020204" pitchFamily="34" charset="0"/>
              </a:rPr>
              <a:t>One or more UDI-DI's can be attached</a:t>
            </a:r>
          </a:p>
          <a:p>
            <a:pPr algn="ctr"/>
            <a:r>
              <a:rPr lang="en-US" sz="1000">
                <a:solidFill>
                  <a:schemeClr val="bg1">
                    <a:lumMod val="65000"/>
                  </a:schemeClr>
                </a:solidFill>
                <a:latin typeface="Arial" panose="020B0604020202020204" pitchFamily="34" charset="0"/>
                <a:cs typeface="Arial" panose="020B0604020202020204" pitchFamily="34" charset="0"/>
              </a:rPr>
              <a:t>to a Basic UDI-DI.</a:t>
            </a:r>
            <a:endParaRPr lang="de-CH" sz="1000">
              <a:solidFill>
                <a:schemeClr val="bg1">
                  <a:lumMod val="65000"/>
                </a:schemeClr>
              </a:solidFill>
              <a:latin typeface="Arial" panose="020B0604020202020204" pitchFamily="34" charset="0"/>
              <a:cs typeface="Arial" panose="020B0604020202020204" pitchFamily="34" charset="0"/>
            </a:endParaRPr>
          </a:p>
        </p:txBody>
      </p:sp>
      <p:pic>
        <p:nvPicPr>
          <p:cNvPr id="20" name="Grafik 19" descr="Informationen">
            <a:extLst>
              <a:ext uri="{FF2B5EF4-FFF2-40B4-BE49-F238E27FC236}">
                <a16:creationId xmlns:a16="http://schemas.microsoft.com/office/drawing/2014/main" id="{9F34F351-65D9-4815-A81D-F05450359B5D}"/>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720" y="4038570"/>
            <a:ext cx="216607" cy="216607"/>
          </a:xfrm>
          <a:prstGeom prst="rect">
            <a:avLst/>
          </a:prstGeom>
        </p:spPr>
      </p:pic>
      <p:sp>
        <p:nvSpPr>
          <p:cNvPr id="21" name="Textfeld 20">
            <a:extLst>
              <a:ext uri="{FF2B5EF4-FFF2-40B4-BE49-F238E27FC236}">
                <a16:creationId xmlns:a16="http://schemas.microsoft.com/office/drawing/2014/main" id="{A2BB358D-BDDF-4090-9501-334CF807D50B}"/>
              </a:ext>
            </a:extLst>
          </p:cNvPr>
          <p:cNvSpPr txBox="1"/>
          <p:nvPr/>
        </p:nvSpPr>
        <p:spPr>
          <a:xfrm>
            <a:off x="6250182" y="703629"/>
            <a:ext cx="2800951" cy="3985706"/>
          </a:xfrm>
          <a:prstGeom prst="rect">
            <a:avLst/>
          </a:prstGeom>
          <a:noFill/>
        </p:spPr>
        <p:txBody>
          <a:bodyPr wrap="square" rtlCol="0">
            <a:spAutoFit/>
          </a:bodyPr>
          <a:lstStyle/>
          <a:p>
            <a:r>
              <a:rPr lang="en-US" sz="1100" b="1">
                <a:latin typeface="Arial" panose="020B0604020202020204" pitchFamily="34" charset="0"/>
                <a:cs typeface="Arial" panose="020B0604020202020204" pitchFamily="34" charset="0"/>
              </a:rPr>
              <a:t>Impacts:</a:t>
            </a:r>
          </a:p>
          <a:p>
            <a:r>
              <a:rPr lang="en-US" sz="1100">
                <a:latin typeface="Arial" panose="020B0604020202020204" pitchFamily="34" charset="0"/>
                <a:cs typeface="Arial" panose="020B0604020202020204" pitchFamily="34" charset="0"/>
              </a:rPr>
              <a:t>Attaching the UDI-DI to the Basic UDI-DI has implications in several areas. We look at four of these here:</a:t>
            </a:r>
          </a:p>
          <a:p>
            <a:endParaRPr lang="de-DE" sz="1100">
              <a:latin typeface="Arial" panose="020B0604020202020204" pitchFamily="34" charset="0"/>
              <a:cs typeface="Arial" panose="020B0604020202020204" pitchFamily="34" charset="0"/>
            </a:endParaRPr>
          </a:p>
          <a:p>
            <a:pPr marL="177800" indent="-177800">
              <a:buFont typeface="Arial" panose="020B0604020202020204" pitchFamily="34" charset="0"/>
              <a:buChar char="•"/>
            </a:pPr>
            <a:r>
              <a:rPr lang="en-US" sz="1100" b="1">
                <a:latin typeface="Arial" panose="020B0604020202020204" pitchFamily="34" charset="0"/>
                <a:cs typeface="Arial" panose="020B0604020202020204" pitchFamily="34" charset="0"/>
              </a:rPr>
              <a:t>Jumping out of the MM02</a:t>
            </a:r>
          </a:p>
          <a:p>
            <a:r>
              <a:rPr lang="en-US" sz="1100">
                <a:latin typeface="Arial" panose="020B0604020202020204" pitchFamily="34" charset="0"/>
                <a:cs typeface="Arial" panose="020B0604020202020204" pitchFamily="34" charset="0"/>
              </a:rPr>
              <a:t>Is it possible to jump out of the MM02 into the material?</a:t>
            </a:r>
          </a:p>
          <a:p>
            <a:pPr marL="177800" indent="-177800">
              <a:buFontTx/>
              <a:buChar char="-"/>
            </a:pPr>
            <a:endParaRPr lang="de-DE" sz="1100">
              <a:latin typeface="Arial" panose="020B0604020202020204" pitchFamily="34" charset="0"/>
              <a:cs typeface="Arial" panose="020B0604020202020204" pitchFamily="34" charset="0"/>
            </a:endParaRPr>
          </a:p>
          <a:p>
            <a:pPr marL="177800" indent="-177800">
              <a:buFont typeface="Arial" panose="020B0604020202020204" pitchFamily="34" charset="0"/>
              <a:buChar char="•"/>
            </a:pPr>
            <a:r>
              <a:rPr lang="en-US" sz="1100" b="1">
                <a:latin typeface="Arial" panose="020B0604020202020204" pitchFamily="34" charset="0"/>
                <a:cs typeface="Arial" panose="020B0604020202020204" pitchFamily="34" charset="0"/>
              </a:rPr>
              <a:t>Display master data maintenance</a:t>
            </a:r>
          </a:p>
          <a:p>
            <a:r>
              <a:rPr lang="en-US" sz="1100">
                <a:latin typeface="Arial" panose="020B0604020202020204" pitchFamily="34" charset="0"/>
                <a:cs typeface="Arial" panose="020B0604020202020204" pitchFamily="34" charset="0"/>
              </a:rPr>
              <a:t>Is the material included in the Master Data Maintenance transaction?</a:t>
            </a:r>
          </a:p>
          <a:p>
            <a:endParaRPr lang="de-DE" sz="1100">
              <a:latin typeface="Arial" panose="020B0604020202020204" pitchFamily="34" charset="0"/>
              <a:cs typeface="Arial" panose="020B0604020202020204" pitchFamily="34" charset="0"/>
            </a:endParaRPr>
          </a:p>
          <a:p>
            <a:pPr marL="177800" indent="-177800">
              <a:buFont typeface="Arial" panose="020B0604020202020204" pitchFamily="34" charset="0"/>
              <a:buChar char="•"/>
            </a:pPr>
            <a:r>
              <a:rPr lang="en-US" sz="1100" b="1">
                <a:latin typeface="Arial" panose="020B0604020202020204" pitchFamily="34" charset="0"/>
                <a:cs typeface="Arial" panose="020B0604020202020204" pitchFamily="34" charset="0"/>
              </a:rPr>
              <a:t>Display master data overview</a:t>
            </a:r>
          </a:p>
          <a:p>
            <a:r>
              <a:rPr lang="en-US" sz="1100">
                <a:latin typeface="Arial" panose="020B0604020202020204" pitchFamily="34" charset="0"/>
                <a:cs typeface="Arial" panose="020B0604020202020204" pitchFamily="34" charset="0"/>
              </a:rPr>
              <a:t>Is the material included in the Master Data Overview transaction?</a:t>
            </a:r>
          </a:p>
          <a:p>
            <a:pPr marL="177800" indent="-177800">
              <a:buFontTx/>
              <a:buChar char="-"/>
            </a:pPr>
            <a:endParaRPr lang="en-US" sz="1100" b="1">
              <a:latin typeface="Arial" panose="020B0604020202020204" pitchFamily="34" charset="0"/>
              <a:cs typeface="Arial" panose="020B0604020202020204" pitchFamily="34" charset="0"/>
            </a:endParaRPr>
          </a:p>
          <a:p>
            <a:pPr marL="177800" indent="-177800">
              <a:buFont typeface="Arial" panose="020B0604020202020204" pitchFamily="34" charset="0"/>
              <a:buChar char="•"/>
            </a:pPr>
            <a:r>
              <a:rPr lang="en-US" sz="1100" b="1">
                <a:latin typeface="Arial" panose="020B0604020202020204" pitchFamily="34" charset="0"/>
                <a:cs typeface="Arial" panose="020B0604020202020204" pitchFamily="34" charset="0"/>
              </a:rPr>
              <a:t>Data export / data transfer</a:t>
            </a:r>
          </a:p>
          <a:p>
            <a:r>
              <a:rPr lang="en-US" sz="1100">
                <a:latin typeface="Arial" panose="020B0604020202020204" pitchFamily="34" charset="0"/>
                <a:cs typeface="Arial" panose="020B0604020202020204" pitchFamily="34" charset="0"/>
              </a:rPr>
              <a:t>Is the material taken into account during data export/data transfer?</a:t>
            </a:r>
          </a:p>
          <a:p>
            <a:endParaRPr lang="en-US" sz="1100">
              <a:latin typeface="Arial" panose="020B0604020202020204" pitchFamily="34" charset="0"/>
              <a:cs typeface="Arial" panose="020B0604020202020204" pitchFamily="34" charset="0"/>
            </a:endParaRPr>
          </a:p>
          <a:p>
            <a:r>
              <a:rPr lang="en-US" sz="1100">
                <a:latin typeface="Arial" panose="020B0604020202020204" pitchFamily="34" charset="0"/>
                <a:cs typeface="Arial" panose="020B0604020202020204" pitchFamily="34" charset="0"/>
              </a:rPr>
              <a:t>During initial attachment, these questions can all be answered with Yes. </a:t>
            </a:r>
            <a:endParaRPr lang="de-DE" sz="1100">
              <a:latin typeface="Arial" panose="020B0604020202020204" pitchFamily="34" charset="0"/>
              <a:cs typeface="Arial" panose="020B0604020202020204" pitchFamily="34" charset="0"/>
            </a:endParaRPr>
          </a:p>
        </p:txBody>
      </p:sp>
      <p:pic>
        <p:nvPicPr>
          <p:cNvPr id="22" name="Grafik 21" descr="Häkchen">
            <a:extLst>
              <a:ext uri="{FF2B5EF4-FFF2-40B4-BE49-F238E27FC236}">
                <a16:creationId xmlns:a16="http://schemas.microsoft.com/office/drawing/2014/main" id="{03C2BFA0-B0D3-4BC7-BE49-4AFCE1512D9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480887" y="1327289"/>
            <a:ext cx="435532" cy="435532"/>
          </a:xfrm>
          <a:prstGeom prst="rect">
            <a:avLst/>
          </a:prstGeom>
        </p:spPr>
      </p:pic>
      <p:pic>
        <p:nvPicPr>
          <p:cNvPr id="23" name="Grafik 22" descr="Häkchen">
            <a:extLst>
              <a:ext uri="{FF2B5EF4-FFF2-40B4-BE49-F238E27FC236}">
                <a16:creationId xmlns:a16="http://schemas.microsoft.com/office/drawing/2014/main" id="{96CDECA8-E6DC-4848-AC8D-23FDCD23E6F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480887" y="1905728"/>
            <a:ext cx="435532" cy="435532"/>
          </a:xfrm>
          <a:prstGeom prst="rect">
            <a:avLst/>
          </a:prstGeom>
        </p:spPr>
      </p:pic>
      <p:pic>
        <p:nvPicPr>
          <p:cNvPr id="24" name="Grafik 23" descr="Häkchen">
            <a:extLst>
              <a:ext uri="{FF2B5EF4-FFF2-40B4-BE49-F238E27FC236}">
                <a16:creationId xmlns:a16="http://schemas.microsoft.com/office/drawing/2014/main" id="{952992B4-386F-4A50-900F-738B545535C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480887" y="2620986"/>
            <a:ext cx="435532" cy="435532"/>
          </a:xfrm>
          <a:prstGeom prst="rect">
            <a:avLst/>
          </a:prstGeom>
        </p:spPr>
      </p:pic>
      <p:pic>
        <p:nvPicPr>
          <p:cNvPr id="25" name="Grafik 24" descr="Häkchen">
            <a:extLst>
              <a:ext uri="{FF2B5EF4-FFF2-40B4-BE49-F238E27FC236}">
                <a16:creationId xmlns:a16="http://schemas.microsoft.com/office/drawing/2014/main" id="{99FBB0D7-8B42-4A3A-86E6-A169E27D17A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480887" y="3414224"/>
            <a:ext cx="435532" cy="435532"/>
          </a:xfrm>
          <a:prstGeom prst="rect">
            <a:avLst/>
          </a:prstGeom>
        </p:spPr>
      </p:pic>
      <p:pic>
        <p:nvPicPr>
          <p:cNvPr id="26" name="Grafik 25">
            <a:extLst>
              <a:ext uri="{FF2B5EF4-FFF2-40B4-BE49-F238E27FC236}">
                <a16:creationId xmlns:a16="http://schemas.microsoft.com/office/drawing/2014/main" id="{1657DE1B-FC17-431F-AC61-C94DB865B549}"/>
              </a:ext>
            </a:extLst>
          </p:cNvPr>
          <p:cNvPicPr>
            <a:picLocks noChangeAspect="1"/>
          </p:cNvPicPr>
          <p:nvPr/>
        </p:nvPicPr>
        <p:blipFill>
          <a:blip r:embed="rId7"/>
          <a:stretch>
            <a:fillRect/>
          </a:stretch>
        </p:blipFill>
        <p:spPr>
          <a:xfrm>
            <a:off x="377493" y="1048822"/>
            <a:ext cx="2337445" cy="1091238"/>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27" name="Rechteck 26">
            <a:extLst>
              <a:ext uri="{FF2B5EF4-FFF2-40B4-BE49-F238E27FC236}">
                <a16:creationId xmlns:a16="http://schemas.microsoft.com/office/drawing/2014/main" id="{76BAF44F-3BFF-4CD6-B289-4471287818C8}"/>
              </a:ext>
            </a:extLst>
          </p:cNvPr>
          <p:cNvSpPr/>
          <p:nvPr/>
        </p:nvSpPr>
        <p:spPr>
          <a:xfrm>
            <a:off x="886847" y="1495212"/>
            <a:ext cx="647985" cy="185759"/>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Tree>
    <p:extLst>
      <p:ext uri="{BB962C8B-B14F-4D97-AF65-F5344CB8AC3E}">
        <p14:creationId xmlns:p14="http://schemas.microsoft.com/office/powerpoint/2010/main" val="33015269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feld 22">
            <a:extLst>
              <a:ext uri="{FF2B5EF4-FFF2-40B4-BE49-F238E27FC236}">
                <a16:creationId xmlns:a16="http://schemas.microsoft.com/office/drawing/2014/main" id="{68431A46-294E-4004-9457-5DB9E469C778}"/>
              </a:ext>
            </a:extLst>
          </p:cNvPr>
          <p:cNvSpPr txBox="1"/>
          <p:nvPr/>
        </p:nvSpPr>
        <p:spPr>
          <a:xfrm>
            <a:off x="6088258" y="665631"/>
            <a:ext cx="2800951" cy="3985706"/>
          </a:xfrm>
          <a:prstGeom prst="rect">
            <a:avLst/>
          </a:prstGeom>
          <a:noFill/>
        </p:spPr>
        <p:txBody>
          <a:bodyPr wrap="square" rtlCol="0">
            <a:spAutoFit/>
          </a:bodyPr>
          <a:lstStyle/>
          <a:p>
            <a:r>
              <a:rPr lang="en-US" sz="1100" b="1">
                <a:latin typeface="Arial" panose="020B0604020202020204" pitchFamily="34" charset="0"/>
                <a:cs typeface="Arial" panose="020B0604020202020204" pitchFamily="34" charset="0"/>
              </a:rPr>
              <a:t>Impacts:</a:t>
            </a:r>
          </a:p>
          <a:p>
            <a:r>
              <a:rPr lang="en-US" sz="1100">
                <a:latin typeface="Arial" panose="020B0604020202020204" pitchFamily="34" charset="0"/>
                <a:cs typeface="Arial" panose="020B0604020202020204" pitchFamily="34" charset="0"/>
              </a:rPr>
              <a:t>Unlinking the UDI-DI from the Basic UDI-DI has implications in several areas. We look at four of these here:</a:t>
            </a:r>
          </a:p>
          <a:p>
            <a:endParaRPr lang="de-DE" sz="1100">
              <a:latin typeface="Arial" panose="020B0604020202020204" pitchFamily="34" charset="0"/>
              <a:cs typeface="Arial" panose="020B0604020202020204" pitchFamily="34" charset="0"/>
            </a:endParaRPr>
          </a:p>
          <a:p>
            <a:pPr marL="177800" indent="-177800">
              <a:buFont typeface="Arial" panose="020B0604020202020204" pitchFamily="34" charset="0"/>
              <a:buChar char="•"/>
            </a:pPr>
            <a:r>
              <a:rPr lang="en-US" sz="1100" b="1">
                <a:latin typeface="Arial" panose="020B0604020202020204" pitchFamily="34" charset="0"/>
                <a:cs typeface="Arial" panose="020B0604020202020204" pitchFamily="34" charset="0"/>
              </a:rPr>
              <a:t>Jumping out of the MM02</a:t>
            </a:r>
          </a:p>
          <a:p>
            <a:r>
              <a:rPr lang="en-US" sz="1100">
                <a:latin typeface="Arial" panose="020B0604020202020204" pitchFamily="34" charset="0"/>
                <a:cs typeface="Arial" panose="020B0604020202020204" pitchFamily="34" charset="0"/>
              </a:rPr>
              <a:t>Is it possible to jump out of the MM02 into the material?</a:t>
            </a:r>
          </a:p>
          <a:p>
            <a:pPr marL="177800" indent="-177800">
              <a:buFontTx/>
              <a:buChar char="-"/>
            </a:pPr>
            <a:endParaRPr lang="de-DE" sz="1100">
              <a:latin typeface="Arial" panose="020B0604020202020204" pitchFamily="34" charset="0"/>
              <a:cs typeface="Arial" panose="020B0604020202020204" pitchFamily="34" charset="0"/>
            </a:endParaRPr>
          </a:p>
          <a:p>
            <a:pPr marL="177800" indent="-177800">
              <a:buFont typeface="Arial" panose="020B0604020202020204" pitchFamily="34" charset="0"/>
              <a:buChar char="•"/>
            </a:pPr>
            <a:r>
              <a:rPr lang="en-US" sz="1100" b="1">
                <a:latin typeface="Arial" panose="020B0604020202020204" pitchFamily="34" charset="0"/>
                <a:cs typeface="Arial" panose="020B0604020202020204" pitchFamily="34" charset="0"/>
              </a:rPr>
              <a:t>Display master data maintenance</a:t>
            </a:r>
          </a:p>
          <a:p>
            <a:r>
              <a:rPr lang="en-US" sz="1100">
                <a:latin typeface="Arial" panose="020B0604020202020204" pitchFamily="34" charset="0"/>
                <a:cs typeface="Arial" panose="020B0604020202020204" pitchFamily="34" charset="0"/>
              </a:rPr>
              <a:t>Is the material included in the Master Data Maintenance transaction?</a:t>
            </a:r>
          </a:p>
          <a:p>
            <a:endParaRPr lang="de-DE" sz="1100">
              <a:latin typeface="Arial" panose="020B0604020202020204" pitchFamily="34" charset="0"/>
              <a:cs typeface="Arial" panose="020B0604020202020204" pitchFamily="34" charset="0"/>
            </a:endParaRPr>
          </a:p>
          <a:p>
            <a:pPr marL="177800" indent="-177800">
              <a:buFont typeface="Arial" panose="020B0604020202020204" pitchFamily="34" charset="0"/>
              <a:buChar char="•"/>
            </a:pPr>
            <a:r>
              <a:rPr lang="en-US" sz="1100" b="1">
                <a:latin typeface="Arial" panose="020B0604020202020204" pitchFamily="34" charset="0"/>
                <a:cs typeface="Arial" panose="020B0604020202020204" pitchFamily="34" charset="0"/>
              </a:rPr>
              <a:t>Display master data overview</a:t>
            </a:r>
          </a:p>
          <a:p>
            <a:r>
              <a:rPr lang="en-US" sz="1100">
                <a:latin typeface="Arial" panose="020B0604020202020204" pitchFamily="34" charset="0"/>
                <a:cs typeface="Arial" panose="020B0604020202020204" pitchFamily="34" charset="0"/>
              </a:rPr>
              <a:t>Is the material included in the Master Data Overview transaction?</a:t>
            </a:r>
          </a:p>
          <a:p>
            <a:pPr marL="177800" indent="-177800">
              <a:buFontTx/>
              <a:buChar char="-"/>
            </a:pPr>
            <a:endParaRPr lang="en-US" sz="1100" b="1">
              <a:latin typeface="Arial" panose="020B0604020202020204" pitchFamily="34" charset="0"/>
              <a:cs typeface="Arial" panose="020B0604020202020204" pitchFamily="34" charset="0"/>
            </a:endParaRPr>
          </a:p>
          <a:p>
            <a:pPr marL="177800" indent="-177800">
              <a:buFont typeface="Arial" panose="020B0604020202020204" pitchFamily="34" charset="0"/>
              <a:buChar char="•"/>
            </a:pPr>
            <a:r>
              <a:rPr lang="en-US" sz="1100" b="1">
                <a:latin typeface="Arial" panose="020B0604020202020204" pitchFamily="34" charset="0"/>
                <a:cs typeface="Arial" panose="020B0604020202020204" pitchFamily="34" charset="0"/>
              </a:rPr>
              <a:t>Data export / data transfer</a:t>
            </a:r>
          </a:p>
          <a:p>
            <a:r>
              <a:rPr lang="en-US" sz="1100">
                <a:latin typeface="Arial" panose="020B0604020202020204" pitchFamily="34" charset="0"/>
                <a:cs typeface="Arial" panose="020B0604020202020204" pitchFamily="34" charset="0"/>
              </a:rPr>
              <a:t>Is the material taken into account during data export/data transfer?</a:t>
            </a:r>
          </a:p>
          <a:p>
            <a:endParaRPr lang="en-US" sz="1100">
              <a:latin typeface="Arial" panose="020B0604020202020204" pitchFamily="34" charset="0"/>
              <a:cs typeface="Arial" panose="020B0604020202020204" pitchFamily="34" charset="0"/>
            </a:endParaRPr>
          </a:p>
          <a:p>
            <a:r>
              <a:rPr lang="en-US" sz="1100">
                <a:latin typeface="Arial" panose="020B0604020202020204" pitchFamily="34" charset="0"/>
                <a:cs typeface="Arial" panose="020B0604020202020204" pitchFamily="34" charset="0"/>
              </a:rPr>
              <a:t>When removing, these questions can all be answered with No. </a:t>
            </a:r>
            <a:endParaRPr lang="de-DE" sz="1100">
              <a:latin typeface="Arial" panose="020B0604020202020204" pitchFamily="34" charset="0"/>
              <a:cs typeface="Arial" panose="020B0604020202020204" pitchFamily="34" charset="0"/>
            </a:endParaRPr>
          </a:p>
        </p:txBody>
      </p:sp>
      <p:sp>
        <p:nvSpPr>
          <p:cNvPr id="3" name="Titel 2">
            <a:extLst>
              <a:ext uri="{FF2B5EF4-FFF2-40B4-BE49-F238E27FC236}">
                <a16:creationId xmlns:a16="http://schemas.microsoft.com/office/drawing/2014/main" id="{17403686-94D3-4A24-BDEB-07854049E7FA}"/>
              </a:ext>
            </a:extLst>
          </p:cNvPr>
          <p:cNvSpPr>
            <a:spLocks noGrp="1"/>
          </p:cNvSpPr>
          <p:nvPr>
            <p:ph type="title"/>
          </p:nvPr>
        </p:nvSpPr>
        <p:spPr/>
        <p:txBody>
          <a:bodyPr>
            <a:normAutofit fontScale="90000"/>
          </a:bodyPr>
          <a:lstStyle/>
          <a:p>
            <a:r>
              <a:rPr lang="de-DE"/>
              <a:t>Appendix - </a:t>
            </a:r>
            <a:r>
              <a:rPr lang="it-IT" err="1"/>
              <a:t>Unlinking</a:t>
            </a:r>
            <a:r>
              <a:rPr lang="it-IT"/>
              <a:t> a UDI-DI from a Basic UDI-DI</a:t>
            </a:r>
            <a:endParaRPr lang="de-DE"/>
          </a:p>
        </p:txBody>
      </p:sp>
      <p:sp>
        <p:nvSpPr>
          <p:cNvPr id="64" name="Rechteck 63">
            <a:extLst>
              <a:ext uri="{FF2B5EF4-FFF2-40B4-BE49-F238E27FC236}">
                <a16:creationId xmlns:a16="http://schemas.microsoft.com/office/drawing/2014/main" id="{43B3A7CD-034A-484D-8135-75E57851235D}"/>
              </a:ext>
            </a:extLst>
          </p:cNvPr>
          <p:cNvSpPr/>
          <p:nvPr/>
        </p:nvSpPr>
        <p:spPr>
          <a:xfrm>
            <a:off x="3035605" y="787228"/>
            <a:ext cx="2906938" cy="4002533"/>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CH"/>
          </a:p>
        </p:txBody>
      </p:sp>
      <p:sp>
        <p:nvSpPr>
          <p:cNvPr id="65" name="Rechteck: abgerundete Ecken 64">
            <a:extLst>
              <a:ext uri="{FF2B5EF4-FFF2-40B4-BE49-F238E27FC236}">
                <a16:creationId xmlns:a16="http://schemas.microsoft.com/office/drawing/2014/main" id="{167C8E0C-3FA1-43A5-A237-319C6E17B7FE}"/>
              </a:ext>
            </a:extLst>
          </p:cNvPr>
          <p:cNvSpPr/>
          <p:nvPr/>
        </p:nvSpPr>
        <p:spPr>
          <a:xfrm>
            <a:off x="587123" y="2851873"/>
            <a:ext cx="1701985" cy="903402"/>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Arial" panose="020B0604020202020204" pitchFamily="34" charset="0"/>
                <a:cs typeface="Arial" panose="020B0604020202020204" pitchFamily="34" charset="0"/>
              </a:rPr>
              <a:t>The material will be unlinked.</a:t>
            </a:r>
            <a:endParaRPr lang="de-CH" sz="1200">
              <a:solidFill>
                <a:schemeClr val="bg1"/>
              </a:solidFill>
              <a:latin typeface="Arial" panose="020B0604020202020204" pitchFamily="34" charset="0"/>
              <a:cs typeface="Arial" panose="020B0604020202020204" pitchFamily="34" charset="0"/>
            </a:endParaRPr>
          </a:p>
        </p:txBody>
      </p:sp>
      <p:sp>
        <p:nvSpPr>
          <p:cNvPr id="66" name="Rechteck: abgerundete Ecken 65">
            <a:extLst>
              <a:ext uri="{FF2B5EF4-FFF2-40B4-BE49-F238E27FC236}">
                <a16:creationId xmlns:a16="http://schemas.microsoft.com/office/drawing/2014/main" id="{62443C34-2F63-4BA2-BD47-61015E31769C}"/>
              </a:ext>
            </a:extLst>
          </p:cNvPr>
          <p:cNvSpPr/>
          <p:nvPr/>
        </p:nvSpPr>
        <p:spPr>
          <a:xfrm>
            <a:off x="3099916" y="869178"/>
            <a:ext cx="2778316" cy="796057"/>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Arial" panose="020B0604020202020204" pitchFamily="34" charset="0"/>
                <a:cs typeface="Arial" panose="020B0604020202020204" pitchFamily="34" charset="0"/>
              </a:rPr>
              <a:t>The assignment of the UDI-DI to the Basic UDI-DI is unlinked. </a:t>
            </a:r>
            <a:endParaRPr lang="de-CH" sz="1200">
              <a:solidFill>
                <a:schemeClr val="bg1"/>
              </a:solidFill>
              <a:latin typeface="Arial" panose="020B0604020202020204" pitchFamily="34" charset="0"/>
              <a:cs typeface="Arial" panose="020B0604020202020204" pitchFamily="34" charset="0"/>
            </a:endParaRPr>
          </a:p>
        </p:txBody>
      </p:sp>
      <p:sp>
        <p:nvSpPr>
          <p:cNvPr id="73" name="Rechteck: abgerundete Ecken 72">
            <a:extLst>
              <a:ext uri="{FF2B5EF4-FFF2-40B4-BE49-F238E27FC236}">
                <a16:creationId xmlns:a16="http://schemas.microsoft.com/office/drawing/2014/main" id="{AC18D74D-4E0C-482E-BBB7-425B84DA2662}"/>
              </a:ext>
            </a:extLst>
          </p:cNvPr>
          <p:cNvSpPr/>
          <p:nvPr/>
        </p:nvSpPr>
        <p:spPr>
          <a:xfrm>
            <a:off x="4817188" y="2639302"/>
            <a:ext cx="1042895" cy="733126"/>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lumMod val="50000"/>
                    <a:lumOff val="50000"/>
                  </a:schemeClr>
                </a:solidFill>
                <a:latin typeface="Arial" panose="020B0604020202020204" pitchFamily="34" charset="0"/>
                <a:cs typeface="Arial" panose="020B0604020202020204" pitchFamily="34" charset="0"/>
              </a:rPr>
              <a:t>Material is unlinked</a:t>
            </a:r>
            <a:endParaRPr lang="de-CH" sz="900">
              <a:solidFill>
                <a:schemeClr val="tx1">
                  <a:lumMod val="50000"/>
                  <a:lumOff val="50000"/>
                </a:schemeClr>
              </a:solidFill>
              <a:latin typeface="Arial" panose="020B0604020202020204" pitchFamily="34" charset="0"/>
              <a:cs typeface="Arial" panose="020B0604020202020204" pitchFamily="34" charset="0"/>
            </a:endParaRPr>
          </a:p>
        </p:txBody>
      </p:sp>
      <p:pic>
        <p:nvPicPr>
          <p:cNvPr id="74" name="Grafik 73" descr="Schließen">
            <a:extLst>
              <a:ext uri="{FF2B5EF4-FFF2-40B4-BE49-F238E27FC236}">
                <a16:creationId xmlns:a16="http://schemas.microsoft.com/office/drawing/2014/main" id="{ED2B98DF-B5CD-4024-A85C-AF7B35F07E8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68102" y="1317893"/>
            <a:ext cx="435533" cy="435533"/>
          </a:xfrm>
          <a:prstGeom prst="rect">
            <a:avLst/>
          </a:prstGeom>
        </p:spPr>
      </p:pic>
      <p:pic>
        <p:nvPicPr>
          <p:cNvPr id="75" name="Grafik 74" descr="Schließen">
            <a:extLst>
              <a:ext uri="{FF2B5EF4-FFF2-40B4-BE49-F238E27FC236}">
                <a16:creationId xmlns:a16="http://schemas.microsoft.com/office/drawing/2014/main" id="{91C27EEB-1F6D-4CC3-9BF9-626403C115E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68102" y="1838564"/>
            <a:ext cx="435533" cy="435533"/>
          </a:xfrm>
          <a:prstGeom prst="rect">
            <a:avLst/>
          </a:prstGeom>
        </p:spPr>
      </p:pic>
      <p:pic>
        <p:nvPicPr>
          <p:cNvPr id="76" name="Grafik 75" descr="Schließen">
            <a:extLst>
              <a:ext uri="{FF2B5EF4-FFF2-40B4-BE49-F238E27FC236}">
                <a16:creationId xmlns:a16="http://schemas.microsoft.com/office/drawing/2014/main" id="{16F62885-6663-4290-AAE9-51E9E93363F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68102" y="2678256"/>
            <a:ext cx="435533" cy="435533"/>
          </a:xfrm>
          <a:prstGeom prst="rect">
            <a:avLst/>
          </a:prstGeom>
        </p:spPr>
      </p:pic>
      <p:pic>
        <p:nvPicPr>
          <p:cNvPr id="77" name="Grafik 76" descr="Schließen">
            <a:extLst>
              <a:ext uri="{FF2B5EF4-FFF2-40B4-BE49-F238E27FC236}">
                <a16:creationId xmlns:a16="http://schemas.microsoft.com/office/drawing/2014/main" id="{B6669832-41E3-49D5-B506-8E97687E23B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68102" y="3353392"/>
            <a:ext cx="435533" cy="435533"/>
          </a:xfrm>
          <a:prstGeom prst="rect">
            <a:avLst/>
          </a:prstGeom>
        </p:spPr>
      </p:pic>
      <p:sp>
        <p:nvSpPr>
          <p:cNvPr id="24" name="Rechteck 23">
            <a:extLst>
              <a:ext uri="{FF2B5EF4-FFF2-40B4-BE49-F238E27FC236}">
                <a16:creationId xmlns:a16="http://schemas.microsoft.com/office/drawing/2014/main" id="{ABE7559C-E786-4260-9A1E-E10744B7425B}"/>
              </a:ext>
            </a:extLst>
          </p:cNvPr>
          <p:cNvSpPr/>
          <p:nvPr/>
        </p:nvSpPr>
        <p:spPr>
          <a:xfrm>
            <a:off x="3573503" y="1747184"/>
            <a:ext cx="1532826" cy="83496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latin typeface="Arial" panose="020B0604020202020204" pitchFamily="34" charset="0"/>
                <a:cs typeface="Arial" panose="020B0604020202020204" pitchFamily="34" charset="0"/>
              </a:rPr>
              <a:t>Basic UDI-DI</a:t>
            </a:r>
            <a:endParaRPr lang="de-CH">
              <a:latin typeface="Arial" panose="020B0604020202020204" pitchFamily="34" charset="0"/>
              <a:cs typeface="Arial" panose="020B0604020202020204" pitchFamily="34" charset="0"/>
            </a:endParaRPr>
          </a:p>
        </p:txBody>
      </p:sp>
      <p:sp>
        <p:nvSpPr>
          <p:cNvPr id="25" name="Rechteck 24">
            <a:extLst>
              <a:ext uri="{FF2B5EF4-FFF2-40B4-BE49-F238E27FC236}">
                <a16:creationId xmlns:a16="http://schemas.microsoft.com/office/drawing/2014/main" id="{27840079-BC70-43E1-B13E-AC1D959A1CFE}"/>
              </a:ext>
            </a:extLst>
          </p:cNvPr>
          <p:cNvSpPr/>
          <p:nvPr/>
        </p:nvSpPr>
        <p:spPr>
          <a:xfrm>
            <a:off x="3929188" y="3441282"/>
            <a:ext cx="966647" cy="888096"/>
          </a:xfrm>
          <a:prstGeom prst="rect">
            <a:avLst/>
          </a:prstGeom>
          <a:solidFill>
            <a:srgbClr val="83A3D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latin typeface="Arial" panose="020B0604020202020204" pitchFamily="34" charset="0"/>
                <a:cs typeface="Arial" panose="020B0604020202020204" pitchFamily="34" charset="0"/>
              </a:rPr>
              <a:t>UDI-DI</a:t>
            </a:r>
            <a:endParaRPr lang="de-CH">
              <a:latin typeface="Arial" panose="020B0604020202020204" pitchFamily="34" charset="0"/>
              <a:cs typeface="Arial" panose="020B0604020202020204" pitchFamily="34" charset="0"/>
            </a:endParaRPr>
          </a:p>
        </p:txBody>
      </p:sp>
      <p:sp>
        <p:nvSpPr>
          <p:cNvPr id="26" name="Pfeil: nach oben 25">
            <a:extLst>
              <a:ext uri="{FF2B5EF4-FFF2-40B4-BE49-F238E27FC236}">
                <a16:creationId xmlns:a16="http://schemas.microsoft.com/office/drawing/2014/main" id="{B1D423DC-B2DE-40DC-8044-7BF9ED1BA936}"/>
              </a:ext>
            </a:extLst>
          </p:cNvPr>
          <p:cNvSpPr/>
          <p:nvPr/>
        </p:nvSpPr>
        <p:spPr>
          <a:xfrm>
            <a:off x="4270365" y="2770330"/>
            <a:ext cx="284296" cy="474424"/>
          </a:xfrm>
          <a:prstGeom prst="upArrow">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78" name="Multiplikationszeichen 77">
            <a:extLst>
              <a:ext uri="{FF2B5EF4-FFF2-40B4-BE49-F238E27FC236}">
                <a16:creationId xmlns:a16="http://schemas.microsoft.com/office/drawing/2014/main" id="{975FC97E-9D9F-48E8-8D3C-27E9413ABFC8}"/>
              </a:ext>
            </a:extLst>
          </p:cNvPr>
          <p:cNvSpPr/>
          <p:nvPr/>
        </p:nvSpPr>
        <p:spPr>
          <a:xfrm>
            <a:off x="4090297" y="2711510"/>
            <a:ext cx="644431" cy="592064"/>
          </a:xfrm>
          <a:prstGeom prst="mathMultiply">
            <a:avLst>
              <a:gd name="adj1" fmla="val 6810"/>
            </a:avLst>
          </a:prstGeom>
          <a:solidFill>
            <a:srgbClr val="FF0000"/>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27" name="Grafik 26">
            <a:extLst>
              <a:ext uri="{FF2B5EF4-FFF2-40B4-BE49-F238E27FC236}">
                <a16:creationId xmlns:a16="http://schemas.microsoft.com/office/drawing/2014/main" id="{EBDE41A6-640D-45D5-93EB-7291ADB9A073}"/>
              </a:ext>
            </a:extLst>
          </p:cNvPr>
          <p:cNvPicPr>
            <a:picLocks noChangeAspect="1"/>
          </p:cNvPicPr>
          <p:nvPr/>
        </p:nvPicPr>
        <p:blipFill>
          <a:blip r:embed="rId4"/>
          <a:stretch>
            <a:fillRect/>
          </a:stretch>
        </p:blipFill>
        <p:spPr>
          <a:xfrm>
            <a:off x="269393" y="1308374"/>
            <a:ext cx="2467896" cy="1152139"/>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69" name="Rechteck 68">
            <a:extLst>
              <a:ext uri="{FF2B5EF4-FFF2-40B4-BE49-F238E27FC236}">
                <a16:creationId xmlns:a16="http://schemas.microsoft.com/office/drawing/2014/main" id="{CA9F602D-5F15-4814-90B1-40EFE3104D19}"/>
              </a:ext>
            </a:extLst>
          </p:cNvPr>
          <p:cNvSpPr/>
          <p:nvPr/>
        </p:nvSpPr>
        <p:spPr>
          <a:xfrm>
            <a:off x="1503341" y="1792282"/>
            <a:ext cx="680858" cy="184321"/>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Tree>
    <p:extLst>
      <p:ext uri="{BB962C8B-B14F-4D97-AF65-F5344CB8AC3E}">
        <p14:creationId xmlns:p14="http://schemas.microsoft.com/office/powerpoint/2010/main" val="36556017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hteck 16">
            <a:extLst>
              <a:ext uri="{FF2B5EF4-FFF2-40B4-BE49-F238E27FC236}">
                <a16:creationId xmlns:a16="http://schemas.microsoft.com/office/drawing/2014/main" id="{6B7811DF-6054-4F16-8131-21FF316F389B}"/>
              </a:ext>
            </a:extLst>
          </p:cNvPr>
          <p:cNvSpPr/>
          <p:nvPr/>
        </p:nvSpPr>
        <p:spPr>
          <a:xfrm>
            <a:off x="2606536" y="711146"/>
            <a:ext cx="3686475" cy="4009266"/>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CH"/>
          </a:p>
        </p:txBody>
      </p:sp>
      <p:sp>
        <p:nvSpPr>
          <p:cNvPr id="33" name="Rechteck: abgerundete Ecken 32">
            <a:extLst>
              <a:ext uri="{FF2B5EF4-FFF2-40B4-BE49-F238E27FC236}">
                <a16:creationId xmlns:a16="http://schemas.microsoft.com/office/drawing/2014/main" id="{0C4CD464-EBF1-47EB-B132-0DA85B524DFF}"/>
              </a:ext>
            </a:extLst>
          </p:cNvPr>
          <p:cNvSpPr/>
          <p:nvPr/>
        </p:nvSpPr>
        <p:spPr>
          <a:xfrm>
            <a:off x="305138" y="1789023"/>
            <a:ext cx="1899641" cy="826255"/>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Arial" panose="020B0604020202020204" pitchFamily="34" charset="0"/>
                <a:cs typeface="Arial" panose="020B0604020202020204" pitchFamily="34" charset="0"/>
              </a:rPr>
              <a:t>The material is unlinked by using the “Unlink UDI-DI" button</a:t>
            </a:r>
            <a:r>
              <a:rPr lang="de-DE" sz="1200">
                <a:solidFill>
                  <a:schemeClr val="bg1"/>
                </a:solidFill>
                <a:latin typeface="Arial" panose="020B0604020202020204" pitchFamily="34" charset="0"/>
                <a:cs typeface="Arial" panose="020B0604020202020204" pitchFamily="34" charset="0"/>
              </a:rPr>
              <a:t>.</a:t>
            </a:r>
            <a:endParaRPr lang="de-CH" sz="1200">
              <a:solidFill>
                <a:schemeClr val="bg1"/>
              </a:solidFill>
              <a:latin typeface="Arial" panose="020B0604020202020204" pitchFamily="34" charset="0"/>
              <a:cs typeface="Arial" panose="020B0604020202020204" pitchFamily="34" charset="0"/>
            </a:endParaRPr>
          </a:p>
        </p:txBody>
      </p:sp>
      <p:sp>
        <p:nvSpPr>
          <p:cNvPr id="35" name="Rechteck: abgerundete Ecken 34">
            <a:extLst>
              <a:ext uri="{FF2B5EF4-FFF2-40B4-BE49-F238E27FC236}">
                <a16:creationId xmlns:a16="http://schemas.microsoft.com/office/drawing/2014/main" id="{38F01A54-13AA-4071-9685-0B2059D30F49}"/>
              </a:ext>
            </a:extLst>
          </p:cNvPr>
          <p:cNvSpPr/>
          <p:nvPr/>
        </p:nvSpPr>
        <p:spPr>
          <a:xfrm>
            <a:off x="3065973" y="846966"/>
            <a:ext cx="2756497" cy="787005"/>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Arial" panose="020B0604020202020204" pitchFamily="34" charset="0"/>
                <a:cs typeface="Arial" panose="020B0604020202020204" pitchFamily="34" charset="0"/>
              </a:rPr>
              <a:t>If a UDI-DI is assigned to a "new" Basic UDI-DI, the connection is transferred to it.</a:t>
            </a:r>
            <a:endParaRPr lang="de-CH" sz="1200">
              <a:solidFill>
                <a:schemeClr val="bg1"/>
              </a:solidFill>
              <a:latin typeface="Arial" panose="020B0604020202020204" pitchFamily="34" charset="0"/>
              <a:cs typeface="Arial" panose="020B0604020202020204" pitchFamily="34" charset="0"/>
            </a:endParaRPr>
          </a:p>
        </p:txBody>
      </p:sp>
      <p:sp>
        <p:nvSpPr>
          <p:cNvPr id="11" name="Rechteck 10">
            <a:extLst>
              <a:ext uri="{FF2B5EF4-FFF2-40B4-BE49-F238E27FC236}">
                <a16:creationId xmlns:a16="http://schemas.microsoft.com/office/drawing/2014/main" id="{68E42465-BC53-47C1-AC13-3910561802D3}"/>
              </a:ext>
            </a:extLst>
          </p:cNvPr>
          <p:cNvSpPr/>
          <p:nvPr/>
        </p:nvSpPr>
        <p:spPr>
          <a:xfrm>
            <a:off x="2700919" y="1841427"/>
            <a:ext cx="1712572" cy="101539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latin typeface="Arial" panose="020B0604020202020204" pitchFamily="34" charset="0"/>
                <a:cs typeface="Arial" panose="020B0604020202020204" pitchFamily="34" charset="0"/>
              </a:rPr>
              <a:t>Basic UDI-DI</a:t>
            </a:r>
          </a:p>
          <a:p>
            <a:pPr algn="ctr"/>
            <a:r>
              <a:rPr lang="de-DE">
                <a:latin typeface="Arial" panose="020B0604020202020204" pitchFamily="34" charset="0"/>
                <a:cs typeface="Arial" panose="020B0604020202020204" pitchFamily="34" charset="0"/>
              </a:rPr>
              <a:t>„</a:t>
            </a:r>
            <a:r>
              <a:rPr lang="de-DE" err="1">
                <a:latin typeface="Arial" panose="020B0604020202020204" pitchFamily="34" charset="0"/>
                <a:cs typeface="Arial" panose="020B0604020202020204" pitchFamily="34" charset="0"/>
              </a:rPr>
              <a:t>old</a:t>
            </a:r>
            <a:r>
              <a:rPr lang="de-DE">
                <a:latin typeface="Arial" panose="020B0604020202020204" pitchFamily="34" charset="0"/>
                <a:cs typeface="Arial" panose="020B0604020202020204" pitchFamily="34" charset="0"/>
              </a:rPr>
              <a:t>“</a:t>
            </a:r>
            <a:endParaRPr lang="de-CH">
              <a:latin typeface="Arial" panose="020B0604020202020204" pitchFamily="34" charset="0"/>
              <a:cs typeface="Arial" panose="020B0604020202020204" pitchFamily="34" charset="0"/>
            </a:endParaRPr>
          </a:p>
        </p:txBody>
      </p:sp>
      <p:sp>
        <p:nvSpPr>
          <p:cNvPr id="31" name="Rechteck 30">
            <a:extLst>
              <a:ext uri="{FF2B5EF4-FFF2-40B4-BE49-F238E27FC236}">
                <a16:creationId xmlns:a16="http://schemas.microsoft.com/office/drawing/2014/main" id="{AFAF7424-1720-40BF-9BEC-63D125B52026}"/>
              </a:ext>
            </a:extLst>
          </p:cNvPr>
          <p:cNvSpPr/>
          <p:nvPr/>
        </p:nvSpPr>
        <p:spPr>
          <a:xfrm>
            <a:off x="3904222" y="3593004"/>
            <a:ext cx="1080000" cy="1080000"/>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latin typeface="Arial" panose="020B0604020202020204" pitchFamily="34" charset="0"/>
                <a:cs typeface="Arial" panose="020B0604020202020204" pitchFamily="34" charset="0"/>
              </a:rPr>
              <a:t>UDI-DI</a:t>
            </a:r>
            <a:endParaRPr lang="de-CH">
              <a:latin typeface="Arial" panose="020B0604020202020204" pitchFamily="34" charset="0"/>
              <a:cs typeface="Arial" panose="020B0604020202020204" pitchFamily="34" charset="0"/>
            </a:endParaRPr>
          </a:p>
        </p:txBody>
      </p:sp>
      <p:sp>
        <p:nvSpPr>
          <p:cNvPr id="26" name="Rechteck: abgerundete Ecken 25">
            <a:extLst>
              <a:ext uri="{FF2B5EF4-FFF2-40B4-BE49-F238E27FC236}">
                <a16:creationId xmlns:a16="http://schemas.microsoft.com/office/drawing/2014/main" id="{1F5D4AF2-5E49-43A8-BBDC-BD05C0200041}"/>
              </a:ext>
            </a:extLst>
          </p:cNvPr>
          <p:cNvSpPr/>
          <p:nvPr/>
        </p:nvSpPr>
        <p:spPr>
          <a:xfrm>
            <a:off x="2681327" y="2973114"/>
            <a:ext cx="1042895" cy="570981"/>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lumMod val="50000"/>
                    <a:lumOff val="50000"/>
                  </a:schemeClr>
                </a:solidFill>
                <a:latin typeface="Arial" panose="020B0604020202020204" pitchFamily="34" charset="0"/>
                <a:cs typeface="Arial" panose="020B0604020202020204" pitchFamily="34" charset="0"/>
              </a:rPr>
              <a:t>Connection to the "old" Basic UDI-DI is not active</a:t>
            </a:r>
          </a:p>
        </p:txBody>
      </p:sp>
      <p:sp>
        <p:nvSpPr>
          <p:cNvPr id="4" name="Multiplikationszeichen 3">
            <a:extLst>
              <a:ext uri="{FF2B5EF4-FFF2-40B4-BE49-F238E27FC236}">
                <a16:creationId xmlns:a16="http://schemas.microsoft.com/office/drawing/2014/main" id="{6450B1CF-C743-41D6-BC3D-F088F39AEA5A}"/>
              </a:ext>
            </a:extLst>
          </p:cNvPr>
          <p:cNvSpPr/>
          <p:nvPr/>
        </p:nvSpPr>
        <p:spPr>
          <a:xfrm>
            <a:off x="3724222" y="2898605"/>
            <a:ext cx="720000" cy="720000"/>
          </a:xfrm>
          <a:prstGeom prst="mathMultiply">
            <a:avLst>
              <a:gd name="adj1" fmla="val 6810"/>
            </a:avLst>
          </a:prstGeom>
          <a:solidFill>
            <a:srgbClr val="FF0000"/>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9" name="Rechteck: abgerundete Ecken 18">
            <a:extLst>
              <a:ext uri="{FF2B5EF4-FFF2-40B4-BE49-F238E27FC236}">
                <a16:creationId xmlns:a16="http://schemas.microsoft.com/office/drawing/2014/main" id="{EF920EB4-6BD7-47A9-8387-B05D3681E465}"/>
              </a:ext>
            </a:extLst>
          </p:cNvPr>
          <p:cNvSpPr/>
          <p:nvPr/>
        </p:nvSpPr>
        <p:spPr>
          <a:xfrm>
            <a:off x="270758" y="3780113"/>
            <a:ext cx="1903212" cy="826255"/>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Arial" panose="020B0604020202020204" pitchFamily="34" charset="0"/>
                <a:cs typeface="Arial" panose="020B0604020202020204" pitchFamily="34" charset="0"/>
              </a:rPr>
              <a:t>The material is attached by using the “Add UDI-DI" button</a:t>
            </a:r>
            <a:r>
              <a:rPr lang="de-DE" sz="1200">
                <a:solidFill>
                  <a:schemeClr val="bg1"/>
                </a:solidFill>
                <a:latin typeface="Arial" panose="020B0604020202020204" pitchFamily="34" charset="0"/>
                <a:cs typeface="Arial" panose="020B0604020202020204" pitchFamily="34" charset="0"/>
              </a:rPr>
              <a:t>.</a:t>
            </a:r>
            <a:endParaRPr lang="de-CH" sz="1200">
              <a:solidFill>
                <a:schemeClr val="bg1"/>
              </a:solidFill>
              <a:latin typeface="Arial" panose="020B0604020202020204" pitchFamily="34" charset="0"/>
              <a:cs typeface="Arial" panose="020B0604020202020204" pitchFamily="34" charset="0"/>
            </a:endParaRPr>
          </a:p>
        </p:txBody>
      </p:sp>
      <p:sp>
        <p:nvSpPr>
          <p:cNvPr id="25" name="Rechteck 24">
            <a:extLst>
              <a:ext uri="{FF2B5EF4-FFF2-40B4-BE49-F238E27FC236}">
                <a16:creationId xmlns:a16="http://schemas.microsoft.com/office/drawing/2014/main" id="{E4E967C3-B20A-4951-B84D-8D137E089400}"/>
              </a:ext>
            </a:extLst>
          </p:cNvPr>
          <p:cNvSpPr/>
          <p:nvPr/>
        </p:nvSpPr>
        <p:spPr>
          <a:xfrm>
            <a:off x="4507874" y="1841427"/>
            <a:ext cx="1712572" cy="101539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latin typeface="Arial" panose="020B0604020202020204" pitchFamily="34" charset="0"/>
                <a:cs typeface="Arial" panose="020B0604020202020204" pitchFamily="34" charset="0"/>
              </a:rPr>
              <a:t>Basic UDI-DI</a:t>
            </a:r>
          </a:p>
          <a:p>
            <a:pPr algn="ctr"/>
            <a:r>
              <a:rPr lang="de-DE">
                <a:latin typeface="Arial" panose="020B0604020202020204" pitchFamily="34" charset="0"/>
                <a:cs typeface="Arial" panose="020B0604020202020204" pitchFamily="34" charset="0"/>
              </a:rPr>
              <a:t>„new“</a:t>
            </a:r>
            <a:endParaRPr lang="de-CH">
              <a:latin typeface="Arial" panose="020B0604020202020204" pitchFamily="34" charset="0"/>
              <a:cs typeface="Arial" panose="020B0604020202020204" pitchFamily="34" charset="0"/>
            </a:endParaRPr>
          </a:p>
        </p:txBody>
      </p:sp>
      <p:sp>
        <p:nvSpPr>
          <p:cNvPr id="27" name="Pfeil: nach oben 26">
            <a:extLst>
              <a:ext uri="{FF2B5EF4-FFF2-40B4-BE49-F238E27FC236}">
                <a16:creationId xmlns:a16="http://schemas.microsoft.com/office/drawing/2014/main" id="{192E823F-5D46-4836-8A54-04EEC4B82262}"/>
              </a:ext>
            </a:extLst>
          </p:cNvPr>
          <p:cNvSpPr/>
          <p:nvPr/>
        </p:nvSpPr>
        <p:spPr>
          <a:xfrm>
            <a:off x="4575968" y="2898605"/>
            <a:ext cx="317634" cy="576940"/>
          </a:xfrm>
          <a:prstGeom prst="upArrow">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34" name="Rechteck: abgerundete Ecken 33">
            <a:extLst>
              <a:ext uri="{FF2B5EF4-FFF2-40B4-BE49-F238E27FC236}">
                <a16:creationId xmlns:a16="http://schemas.microsoft.com/office/drawing/2014/main" id="{0CE0A93E-69DE-439E-9006-750E23017D8F}"/>
              </a:ext>
            </a:extLst>
          </p:cNvPr>
          <p:cNvSpPr/>
          <p:nvPr/>
        </p:nvSpPr>
        <p:spPr>
          <a:xfrm>
            <a:off x="5051563" y="2958287"/>
            <a:ext cx="1042895" cy="570981"/>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lumMod val="50000"/>
                    <a:lumOff val="50000"/>
                  </a:schemeClr>
                </a:solidFill>
                <a:latin typeface="Arial" panose="020B0604020202020204" pitchFamily="34" charset="0"/>
                <a:cs typeface="Arial" panose="020B0604020202020204" pitchFamily="34" charset="0"/>
              </a:rPr>
              <a:t>Connection to the "new" Basic UDI-DI is established</a:t>
            </a:r>
            <a:endParaRPr lang="de-CH" sz="900">
              <a:solidFill>
                <a:schemeClr val="tx1">
                  <a:lumMod val="50000"/>
                  <a:lumOff val="50000"/>
                </a:schemeClr>
              </a:solidFill>
              <a:latin typeface="Arial" panose="020B0604020202020204" pitchFamily="34" charset="0"/>
              <a:cs typeface="Arial" panose="020B0604020202020204" pitchFamily="34" charset="0"/>
            </a:endParaRPr>
          </a:p>
        </p:txBody>
      </p:sp>
      <p:sp>
        <p:nvSpPr>
          <p:cNvPr id="30" name="Titel 2">
            <a:extLst>
              <a:ext uri="{FF2B5EF4-FFF2-40B4-BE49-F238E27FC236}">
                <a16:creationId xmlns:a16="http://schemas.microsoft.com/office/drawing/2014/main" id="{630A8247-0FF7-46A3-B199-B38E03DD1A06}"/>
              </a:ext>
            </a:extLst>
          </p:cNvPr>
          <p:cNvSpPr>
            <a:spLocks noGrp="1"/>
          </p:cNvSpPr>
          <p:nvPr>
            <p:ph type="title"/>
          </p:nvPr>
        </p:nvSpPr>
        <p:spPr>
          <a:xfrm>
            <a:off x="269393" y="78770"/>
            <a:ext cx="7907189" cy="330545"/>
          </a:xfrm>
        </p:spPr>
        <p:txBody>
          <a:bodyPr>
            <a:normAutofit fontScale="90000"/>
          </a:bodyPr>
          <a:lstStyle/>
          <a:p>
            <a:r>
              <a:rPr lang="de-DE"/>
              <a:t>Appendix - </a:t>
            </a:r>
            <a:r>
              <a:rPr lang="de-DE" err="1"/>
              <a:t>Reassigning</a:t>
            </a:r>
            <a:r>
              <a:rPr lang="de-DE"/>
              <a:t> a UDI-DI to a new Basic UDI-DI</a:t>
            </a:r>
          </a:p>
        </p:txBody>
      </p:sp>
      <p:sp>
        <p:nvSpPr>
          <p:cNvPr id="32" name="Textfeld 31">
            <a:extLst>
              <a:ext uri="{FF2B5EF4-FFF2-40B4-BE49-F238E27FC236}">
                <a16:creationId xmlns:a16="http://schemas.microsoft.com/office/drawing/2014/main" id="{410C7DCC-4102-4C2F-BB3E-461753C4F2C9}"/>
              </a:ext>
            </a:extLst>
          </p:cNvPr>
          <p:cNvSpPr txBox="1"/>
          <p:nvPr/>
        </p:nvSpPr>
        <p:spPr>
          <a:xfrm>
            <a:off x="6293011" y="591672"/>
            <a:ext cx="2800951" cy="4154984"/>
          </a:xfrm>
          <a:prstGeom prst="rect">
            <a:avLst/>
          </a:prstGeom>
          <a:noFill/>
        </p:spPr>
        <p:txBody>
          <a:bodyPr wrap="square" rtlCol="0">
            <a:spAutoFit/>
          </a:bodyPr>
          <a:lstStyle/>
          <a:p>
            <a:r>
              <a:rPr lang="en-US" sz="1100" b="1">
                <a:latin typeface="Arial" panose="020B0604020202020204" pitchFamily="34" charset="0"/>
                <a:cs typeface="Arial" panose="020B0604020202020204" pitchFamily="34" charset="0"/>
              </a:rPr>
              <a:t>Impacts:</a:t>
            </a:r>
          </a:p>
          <a:p>
            <a:r>
              <a:rPr lang="en-US" sz="1100">
                <a:latin typeface="Arial" panose="020B0604020202020204" pitchFamily="34" charset="0"/>
                <a:cs typeface="Arial" panose="020B0604020202020204" pitchFamily="34" charset="0"/>
              </a:rPr>
              <a:t>Reassigning the UDI-DI to a new Basic UDI-DI has implications in several areas. We look at four of these here:</a:t>
            </a:r>
          </a:p>
          <a:p>
            <a:endParaRPr lang="de-DE" sz="1100">
              <a:latin typeface="Arial" panose="020B0604020202020204" pitchFamily="34" charset="0"/>
              <a:cs typeface="Arial" panose="020B0604020202020204" pitchFamily="34" charset="0"/>
            </a:endParaRPr>
          </a:p>
          <a:p>
            <a:pPr marL="177800" indent="-177800">
              <a:buFont typeface="Arial" panose="020B0604020202020204" pitchFamily="34" charset="0"/>
              <a:buChar char="•"/>
            </a:pPr>
            <a:r>
              <a:rPr lang="en-US" sz="1100" b="1">
                <a:latin typeface="Arial" panose="020B0604020202020204" pitchFamily="34" charset="0"/>
                <a:cs typeface="Arial" panose="020B0604020202020204" pitchFamily="34" charset="0"/>
              </a:rPr>
              <a:t>Jumping out of the MM02</a:t>
            </a:r>
          </a:p>
          <a:p>
            <a:r>
              <a:rPr lang="en-US" sz="1100">
                <a:latin typeface="Arial" panose="020B0604020202020204" pitchFamily="34" charset="0"/>
                <a:cs typeface="Arial" panose="020B0604020202020204" pitchFamily="34" charset="0"/>
              </a:rPr>
              <a:t>Is it possible to jump out of the MM02 into the material?</a:t>
            </a:r>
          </a:p>
          <a:p>
            <a:pPr marL="177800" indent="-177800">
              <a:buFontTx/>
              <a:buChar char="-"/>
            </a:pPr>
            <a:endParaRPr lang="de-DE" sz="1100">
              <a:latin typeface="Arial" panose="020B0604020202020204" pitchFamily="34" charset="0"/>
              <a:cs typeface="Arial" panose="020B0604020202020204" pitchFamily="34" charset="0"/>
            </a:endParaRPr>
          </a:p>
          <a:p>
            <a:pPr marL="177800" indent="-177800">
              <a:buFont typeface="Arial" panose="020B0604020202020204" pitchFamily="34" charset="0"/>
              <a:buChar char="•"/>
            </a:pPr>
            <a:r>
              <a:rPr lang="en-US" sz="1100" b="1">
                <a:latin typeface="Arial" panose="020B0604020202020204" pitchFamily="34" charset="0"/>
                <a:cs typeface="Arial" panose="020B0604020202020204" pitchFamily="34" charset="0"/>
              </a:rPr>
              <a:t>Display master data maintenance</a:t>
            </a:r>
          </a:p>
          <a:p>
            <a:r>
              <a:rPr lang="en-US" sz="1100">
                <a:latin typeface="Arial" panose="020B0604020202020204" pitchFamily="34" charset="0"/>
                <a:cs typeface="Arial" panose="020B0604020202020204" pitchFamily="34" charset="0"/>
              </a:rPr>
              <a:t>Is the material included in the Master Data Maintenance transaction?</a:t>
            </a:r>
          </a:p>
          <a:p>
            <a:endParaRPr lang="de-DE" sz="1100">
              <a:latin typeface="Arial" panose="020B0604020202020204" pitchFamily="34" charset="0"/>
              <a:cs typeface="Arial" panose="020B0604020202020204" pitchFamily="34" charset="0"/>
            </a:endParaRPr>
          </a:p>
          <a:p>
            <a:pPr marL="177800" indent="-177800">
              <a:buFont typeface="Arial" panose="020B0604020202020204" pitchFamily="34" charset="0"/>
              <a:buChar char="•"/>
            </a:pPr>
            <a:r>
              <a:rPr lang="en-US" sz="1100" b="1">
                <a:latin typeface="Arial" panose="020B0604020202020204" pitchFamily="34" charset="0"/>
                <a:cs typeface="Arial" panose="020B0604020202020204" pitchFamily="34" charset="0"/>
              </a:rPr>
              <a:t>Display master data overview</a:t>
            </a:r>
          </a:p>
          <a:p>
            <a:r>
              <a:rPr lang="en-US" sz="1100">
                <a:latin typeface="Arial" panose="020B0604020202020204" pitchFamily="34" charset="0"/>
                <a:cs typeface="Arial" panose="020B0604020202020204" pitchFamily="34" charset="0"/>
              </a:rPr>
              <a:t>Is the material included in the Master Data Overview transaction?</a:t>
            </a:r>
          </a:p>
          <a:p>
            <a:pPr marL="177800" indent="-177800">
              <a:buFontTx/>
              <a:buChar char="-"/>
            </a:pPr>
            <a:endParaRPr lang="en-US" sz="1100" b="1">
              <a:latin typeface="Arial" panose="020B0604020202020204" pitchFamily="34" charset="0"/>
              <a:cs typeface="Arial" panose="020B0604020202020204" pitchFamily="34" charset="0"/>
            </a:endParaRPr>
          </a:p>
          <a:p>
            <a:pPr marL="177800" indent="-177800">
              <a:buFont typeface="Arial" panose="020B0604020202020204" pitchFamily="34" charset="0"/>
              <a:buChar char="•"/>
            </a:pPr>
            <a:r>
              <a:rPr lang="en-US" sz="1100" b="1">
                <a:latin typeface="Arial" panose="020B0604020202020204" pitchFamily="34" charset="0"/>
                <a:cs typeface="Arial" panose="020B0604020202020204" pitchFamily="34" charset="0"/>
              </a:rPr>
              <a:t>Data export / data transfer</a:t>
            </a:r>
          </a:p>
          <a:p>
            <a:r>
              <a:rPr lang="en-US" sz="1100">
                <a:latin typeface="Arial" panose="020B0604020202020204" pitchFamily="34" charset="0"/>
                <a:cs typeface="Arial" panose="020B0604020202020204" pitchFamily="34" charset="0"/>
              </a:rPr>
              <a:t>Is the material taken into account during data export/data transfer?</a:t>
            </a:r>
          </a:p>
          <a:p>
            <a:endParaRPr lang="en-US" sz="1100">
              <a:latin typeface="Arial" panose="020B0604020202020204" pitchFamily="34" charset="0"/>
              <a:cs typeface="Arial" panose="020B0604020202020204" pitchFamily="34" charset="0"/>
            </a:endParaRPr>
          </a:p>
          <a:p>
            <a:r>
              <a:rPr lang="en-US" sz="1100">
                <a:latin typeface="Arial" panose="020B0604020202020204" pitchFamily="34" charset="0"/>
                <a:cs typeface="Arial" panose="020B0604020202020204" pitchFamily="34" charset="0"/>
              </a:rPr>
              <a:t>If a UDI-DI is attached to a new Basic UDI- DI, the procedure is the same as for the initial assignment. </a:t>
            </a:r>
            <a:endParaRPr lang="de-DE" sz="1100">
              <a:latin typeface="Arial" panose="020B0604020202020204" pitchFamily="34" charset="0"/>
              <a:cs typeface="Arial" panose="020B0604020202020204" pitchFamily="34" charset="0"/>
            </a:endParaRPr>
          </a:p>
        </p:txBody>
      </p:sp>
      <p:pic>
        <p:nvPicPr>
          <p:cNvPr id="36" name="Grafik 35" descr="Häkchen">
            <a:extLst>
              <a:ext uri="{FF2B5EF4-FFF2-40B4-BE49-F238E27FC236}">
                <a16:creationId xmlns:a16="http://schemas.microsoft.com/office/drawing/2014/main" id="{D6A695E2-7249-4F19-B373-EC9863C8309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07781" y="1185646"/>
            <a:ext cx="540000" cy="540000"/>
          </a:xfrm>
          <a:prstGeom prst="rect">
            <a:avLst/>
          </a:prstGeom>
        </p:spPr>
      </p:pic>
      <p:pic>
        <p:nvPicPr>
          <p:cNvPr id="38" name="Grafik 37" descr="Häkchen">
            <a:extLst>
              <a:ext uri="{FF2B5EF4-FFF2-40B4-BE49-F238E27FC236}">
                <a16:creationId xmlns:a16="http://schemas.microsoft.com/office/drawing/2014/main" id="{525DB11C-9139-452C-825D-CA6CA35AC03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507781" y="1753063"/>
            <a:ext cx="540000" cy="540000"/>
          </a:xfrm>
          <a:prstGeom prst="rect">
            <a:avLst/>
          </a:prstGeom>
        </p:spPr>
      </p:pic>
      <p:pic>
        <p:nvPicPr>
          <p:cNvPr id="42" name="Grafik 41" descr="Häkchen">
            <a:extLst>
              <a:ext uri="{FF2B5EF4-FFF2-40B4-BE49-F238E27FC236}">
                <a16:creationId xmlns:a16="http://schemas.microsoft.com/office/drawing/2014/main" id="{24306292-4E01-41F1-84BD-01E0A4D7BCC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507781" y="2544563"/>
            <a:ext cx="540000" cy="540000"/>
          </a:xfrm>
          <a:prstGeom prst="rect">
            <a:avLst/>
          </a:prstGeom>
        </p:spPr>
      </p:pic>
      <p:pic>
        <p:nvPicPr>
          <p:cNvPr id="43" name="Grafik 42" descr="Häkchen">
            <a:extLst>
              <a:ext uri="{FF2B5EF4-FFF2-40B4-BE49-F238E27FC236}">
                <a16:creationId xmlns:a16="http://schemas.microsoft.com/office/drawing/2014/main" id="{4C62C20E-F94C-4642-B7FD-610D030F6C5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507781" y="3215625"/>
            <a:ext cx="540000" cy="540000"/>
          </a:xfrm>
          <a:prstGeom prst="rect">
            <a:avLst/>
          </a:prstGeom>
        </p:spPr>
      </p:pic>
      <p:pic>
        <p:nvPicPr>
          <p:cNvPr id="37" name="Grafik 36">
            <a:extLst>
              <a:ext uri="{FF2B5EF4-FFF2-40B4-BE49-F238E27FC236}">
                <a16:creationId xmlns:a16="http://schemas.microsoft.com/office/drawing/2014/main" id="{5203F7EB-5E24-4C84-94C6-9E6BA30B9715}"/>
              </a:ext>
            </a:extLst>
          </p:cNvPr>
          <p:cNvPicPr>
            <a:picLocks noChangeAspect="1"/>
          </p:cNvPicPr>
          <p:nvPr/>
        </p:nvPicPr>
        <p:blipFill>
          <a:blip r:embed="rId5"/>
          <a:stretch>
            <a:fillRect/>
          </a:stretch>
        </p:blipFill>
        <p:spPr>
          <a:xfrm>
            <a:off x="169814" y="774085"/>
            <a:ext cx="2337445" cy="1091238"/>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23" name="Rechteck 22">
            <a:extLst>
              <a:ext uri="{FF2B5EF4-FFF2-40B4-BE49-F238E27FC236}">
                <a16:creationId xmlns:a16="http://schemas.microsoft.com/office/drawing/2014/main" id="{51AC78A7-2264-4F6F-B7EB-0C43B561F3D7}"/>
              </a:ext>
            </a:extLst>
          </p:cNvPr>
          <p:cNvSpPr/>
          <p:nvPr/>
        </p:nvSpPr>
        <p:spPr>
          <a:xfrm>
            <a:off x="1338536" y="1235456"/>
            <a:ext cx="682644" cy="174099"/>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39" name="Grafik 38">
            <a:extLst>
              <a:ext uri="{FF2B5EF4-FFF2-40B4-BE49-F238E27FC236}">
                <a16:creationId xmlns:a16="http://schemas.microsoft.com/office/drawing/2014/main" id="{19C18DA4-49C0-45A3-834A-5459BDD78C50}"/>
              </a:ext>
            </a:extLst>
          </p:cNvPr>
          <p:cNvPicPr>
            <a:picLocks noChangeAspect="1"/>
          </p:cNvPicPr>
          <p:nvPr/>
        </p:nvPicPr>
        <p:blipFill>
          <a:blip r:embed="rId5"/>
          <a:stretch>
            <a:fillRect/>
          </a:stretch>
        </p:blipFill>
        <p:spPr>
          <a:xfrm>
            <a:off x="70538" y="2763222"/>
            <a:ext cx="2337445" cy="1091238"/>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40" name="Rechteck 39">
            <a:extLst>
              <a:ext uri="{FF2B5EF4-FFF2-40B4-BE49-F238E27FC236}">
                <a16:creationId xmlns:a16="http://schemas.microsoft.com/office/drawing/2014/main" id="{A0AEAC0F-71C5-47A2-A6E7-B32889F02890}"/>
              </a:ext>
            </a:extLst>
          </p:cNvPr>
          <p:cNvSpPr/>
          <p:nvPr/>
        </p:nvSpPr>
        <p:spPr>
          <a:xfrm>
            <a:off x="577531" y="3221975"/>
            <a:ext cx="655511" cy="168495"/>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Tree>
    <p:extLst>
      <p:ext uri="{BB962C8B-B14F-4D97-AF65-F5344CB8AC3E}">
        <p14:creationId xmlns:p14="http://schemas.microsoft.com/office/powerpoint/2010/main" val="30135791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A19744FE-0122-4458-A703-1ED9355A7C5F}"/>
              </a:ext>
            </a:extLst>
          </p:cNvPr>
          <p:cNvSpPr>
            <a:spLocks noGrp="1"/>
          </p:cNvSpPr>
          <p:nvPr>
            <p:ph type="body" sz="quarter" idx="18"/>
          </p:nvPr>
        </p:nvSpPr>
        <p:spPr/>
        <p:txBody>
          <a:bodyPr>
            <a:normAutofit/>
          </a:bodyPr>
          <a:lstStyle/>
          <a:p>
            <a:r>
              <a:rPr lang="de-DE"/>
              <a:t>1.4 UDI T</a:t>
            </a:r>
            <a:r>
              <a:rPr lang="de-DE" sz="1400" b="1"/>
              <a:t>ransactions</a:t>
            </a:r>
            <a:r>
              <a:rPr lang="de-DE"/>
              <a:t>  </a:t>
            </a:r>
          </a:p>
        </p:txBody>
      </p:sp>
      <p:sp>
        <p:nvSpPr>
          <p:cNvPr id="7" name="Inhaltsplatzhalter 6">
            <a:extLst>
              <a:ext uri="{FF2B5EF4-FFF2-40B4-BE49-F238E27FC236}">
                <a16:creationId xmlns:a16="http://schemas.microsoft.com/office/drawing/2014/main" id="{22974B99-5E58-480B-92F2-3B8832468EBD}"/>
              </a:ext>
            </a:extLst>
          </p:cNvPr>
          <p:cNvSpPr>
            <a:spLocks noGrp="1"/>
          </p:cNvSpPr>
          <p:nvPr>
            <p:ph sz="quarter" idx="19"/>
          </p:nvPr>
        </p:nvSpPr>
        <p:spPr>
          <a:xfrm>
            <a:off x="219267" y="1351380"/>
            <a:ext cx="8219426" cy="3455988"/>
          </a:xfrm>
        </p:spPr>
        <p:txBody>
          <a:bodyPr/>
          <a:lstStyle/>
          <a:p>
            <a:pPr marL="0" indent="0">
              <a:buNone/>
            </a:pPr>
            <a:r>
              <a:rPr lang="en-US"/>
              <a:t>This category includes all applications where you can maintain, evaluate, release and export the UDI attributes.</a:t>
            </a:r>
          </a:p>
        </p:txBody>
      </p:sp>
      <p:sp>
        <p:nvSpPr>
          <p:cNvPr id="3" name="Titel 2">
            <a:extLst>
              <a:ext uri="{FF2B5EF4-FFF2-40B4-BE49-F238E27FC236}">
                <a16:creationId xmlns:a16="http://schemas.microsoft.com/office/drawing/2014/main" id="{17403686-94D3-4A24-BDEB-07854049E7FA}"/>
              </a:ext>
            </a:extLst>
          </p:cNvPr>
          <p:cNvSpPr>
            <a:spLocks noGrp="1"/>
          </p:cNvSpPr>
          <p:nvPr>
            <p:ph type="title"/>
          </p:nvPr>
        </p:nvSpPr>
        <p:spPr/>
        <p:txBody>
          <a:bodyPr>
            <a:normAutofit fontScale="90000"/>
          </a:bodyPr>
          <a:lstStyle/>
          <a:p>
            <a:r>
              <a:rPr lang="de-DE"/>
              <a:t>1. </a:t>
            </a:r>
            <a:r>
              <a:rPr lang="de-DE" err="1"/>
              <a:t>Introduction</a:t>
            </a:r>
            <a:endParaRPr lang="de-DE"/>
          </a:p>
        </p:txBody>
      </p:sp>
      <p:pic>
        <p:nvPicPr>
          <p:cNvPr id="4" name="Grafik 3">
            <a:extLst>
              <a:ext uri="{FF2B5EF4-FFF2-40B4-BE49-F238E27FC236}">
                <a16:creationId xmlns:a16="http://schemas.microsoft.com/office/drawing/2014/main" id="{A07E0A95-1F82-483B-B761-6F3003BB0262}"/>
              </a:ext>
            </a:extLst>
          </p:cNvPr>
          <p:cNvPicPr>
            <a:picLocks noChangeAspect="1"/>
          </p:cNvPicPr>
          <p:nvPr/>
        </p:nvPicPr>
        <p:blipFill rotWithShape="1">
          <a:blip r:embed="rId3"/>
          <a:srcRect t="1853"/>
          <a:stretch/>
        </p:blipFill>
        <p:spPr>
          <a:xfrm>
            <a:off x="1924467" y="1946787"/>
            <a:ext cx="5039428" cy="2075675"/>
          </a:xfrm>
          <a:prstGeom prst="rect">
            <a:avLst/>
          </a:prstGeom>
          <a:ln w="12700">
            <a:solidFill>
              <a:srgbClr val="2F5597"/>
            </a:solidFill>
          </a:ln>
          <a:effectLst/>
        </p:spPr>
      </p:pic>
    </p:spTree>
    <p:extLst>
      <p:ext uri="{BB962C8B-B14F-4D97-AF65-F5344CB8AC3E}">
        <p14:creationId xmlns:p14="http://schemas.microsoft.com/office/powerpoint/2010/main" val="2851628216"/>
      </p:ext>
    </p:extLst>
  </p:cSld>
  <p:clrMapOvr>
    <a:overrideClrMapping bg1="lt1" tx1="dk1" bg2="lt2" tx2="dk2" accent1="accent1" accent2="accent2" accent3="accent3" accent4="accent4" accent5="accent5" accent6="accent6" hlink="hlink" folHlink="folHlink"/>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feld 24">
            <a:extLst>
              <a:ext uri="{FF2B5EF4-FFF2-40B4-BE49-F238E27FC236}">
                <a16:creationId xmlns:a16="http://schemas.microsoft.com/office/drawing/2014/main" id="{1FE475C9-0495-4CE6-8C1A-0B26AE14F282}"/>
              </a:ext>
            </a:extLst>
          </p:cNvPr>
          <p:cNvSpPr txBox="1"/>
          <p:nvPr/>
        </p:nvSpPr>
        <p:spPr>
          <a:xfrm>
            <a:off x="6126999" y="932087"/>
            <a:ext cx="2800951" cy="3647152"/>
          </a:xfrm>
          <a:prstGeom prst="rect">
            <a:avLst/>
          </a:prstGeom>
          <a:noFill/>
        </p:spPr>
        <p:txBody>
          <a:bodyPr wrap="square" rtlCol="0">
            <a:spAutoFit/>
          </a:bodyPr>
          <a:lstStyle/>
          <a:p>
            <a:r>
              <a:rPr lang="en-US" sz="1100" b="1">
                <a:latin typeface="Arial" panose="020B0604020202020204" pitchFamily="34" charset="0"/>
                <a:cs typeface="Arial" panose="020B0604020202020204" pitchFamily="34" charset="0"/>
              </a:rPr>
              <a:t>Impacts:</a:t>
            </a:r>
          </a:p>
          <a:p>
            <a:r>
              <a:rPr lang="en-US" sz="1100">
                <a:latin typeface="Arial" panose="020B0604020202020204" pitchFamily="34" charset="0"/>
                <a:cs typeface="Arial" panose="020B0604020202020204" pitchFamily="34" charset="0"/>
              </a:rPr>
              <a:t>If a material is subsequently set as not UDI relevant (or not defined) in the Basic Data 1, this has the following effects:</a:t>
            </a:r>
          </a:p>
          <a:p>
            <a:endParaRPr lang="de-DE" sz="1100">
              <a:latin typeface="Arial" panose="020B0604020202020204" pitchFamily="34" charset="0"/>
              <a:cs typeface="Arial" panose="020B0604020202020204" pitchFamily="34" charset="0"/>
            </a:endParaRPr>
          </a:p>
          <a:p>
            <a:pPr marL="177800" indent="-177800">
              <a:buFont typeface="Arial" panose="020B0604020202020204" pitchFamily="34" charset="0"/>
              <a:buChar char="•"/>
            </a:pPr>
            <a:r>
              <a:rPr lang="en-US" sz="1100" b="1">
                <a:latin typeface="Arial" panose="020B0604020202020204" pitchFamily="34" charset="0"/>
                <a:cs typeface="Arial" panose="020B0604020202020204" pitchFamily="34" charset="0"/>
              </a:rPr>
              <a:t>Jumping out of the MM02</a:t>
            </a:r>
          </a:p>
          <a:p>
            <a:r>
              <a:rPr lang="en-US" sz="1100">
                <a:latin typeface="Arial" panose="020B0604020202020204" pitchFamily="34" charset="0"/>
                <a:cs typeface="Arial" panose="020B0604020202020204" pitchFamily="34" charset="0"/>
              </a:rPr>
              <a:t>Is it possible to jump out of the MM02 into the material?</a:t>
            </a:r>
          </a:p>
          <a:p>
            <a:pPr marL="177800" indent="-177800">
              <a:buFontTx/>
              <a:buChar char="-"/>
            </a:pPr>
            <a:endParaRPr lang="de-DE" sz="1100">
              <a:latin typeface="Arial" panose="020B0604020202020204" pitchFamily="34" charset="0"/>
              <a:cs typeface="Arial" panose="020B0604020202020204" pitchFamily="34" charset="0"/>
            </a:endParaRPr>
          </a:p>
          <a:p>
            <a:pPr marL="177800" indent="-177800">
              <a:buFont typeface="Arial" panose="020B0604020202020204" pitchFamily="34" charset="0"/>
              <a:buChar char="•"/>
            </a:pPr>
            <a:r>
              <a:rPr lang="en-US" sz="1100" b="1">
                <a:latin typeface="Arial" panose="020B0604020202020204" pitchFamily="34" charset="0"/>
                <a:cs typeface="Arial" panose="020B0604020202020204" pitchFamily="34" charset="0"/>
              </a:rPr>
              <a:t>Display master data maintenance</a:t>
            </a:r>
          </a:p>
          <a:p>
            <a:r>
              <a:rPr lang="en-US" sz="1100">
                <a:latin typeface="Arial" panose="020B0604020202020204" pitchFamily="34" charset="0"/>
                <a:cs typeface="Arial" panose="020B0604020202020204" pitchFamily="34" charset="0"/>
              </a:rPr>
              <a:t>Is the material included in the master data maintenance transaction?</a:t>
            </a:r>
          </a:p>
          <a:p>
            <a:endParaRPr lang="de-DE" sz="1100">
              <a:latin typeface="Arial" panose="020B0604020202020204" pitchFamily="34" charset="0"/>
              <a:cs typeface="Arial" panose="020B0604020202020204" pitchFamily="34" charset="0"/>
            </a:endParaRPr>
          </a:p>
          <a:p>
            <a:pPr marL="177800" indent="-177800">
              <a:buFont typeface="Arial" panose="020B0604020202020204" pitchFamily="34" charset="0"/>
              <a:buChar char="•"/>
            </a:pPr>
            <a:r>
              <a:rPr lang="en-US" sz="1100" b="1">
                <a:latin typeface="Arial" panose="020B0604020202020204" pitchFamily="34" charset="0"/>
                <a:cs typeface="Arial" panose="020B0604020202020204" pitchFamily="34" charset="0"/>
              </a:rPr>
              <a:t>Display master data overview</a:t>
            </a:r>
          </a:p>
          <a:p>
            <a:r>
              <a:rPr lang="en-US" sz="1100">
                <a:latin typeface="Arial" panose="020B0604020202020204" pitchFamily="34" charset="0"/>
                <a:cs typeface="Arial" panose="020B0604020202020204" pitchFamily="34" charset="0"/>
              </a:rPr>
              <a:t>Is the material included in the Master Data Overview transaction?</a:t>
            </a:r>
          </a:p>
          <a:p>
            <a:pPr marL="177800" indent="-177800">
              <a:buFontTx/>
              <a:buChar char="-"/>
            </a:pPr>
            <a:endParaRPr lang="en-US" sz="1100" b="1">
              <a:latin typeface="Arial" panose="020B0604020202020204" pitchFamily="34" charset="0"/>
              <a:cs typeface="Arial" panose="020B0604020202020204" pitchFamily="34" charset="0"/>
            </a:endParaRPr>
          </a:p>
          <a:p>
            <a:pPr marL="177800" indent="-177800">
              <a:buFont typeface="Arial" panose="020B0604020202020204" pitchFamily="34" charset="0"/>
              <a:buChar char="•"/>
            </a:pPr>
            <a:r>
              <a:rPr lang="en-US" sz="1100" b="1">
                <a:latin typeface="Arial" panose="020B0604020202020204" pitchFamily="34" charset="0"/>
                <a:cs typeface="Arial" panose="020B0604020202020204" pitchFamily="34" charset="0"/>
              </a:rPr>
              <a:t>Data export / data transfer</a:t>
            </a:r>
          </a:p>
          <a:p>
            <a:r>
              <a:rPr lang="en-US" sz="1100">
                <a:latin typeface="Arial" panose="020B0604020202020204" pitchFamily="34" charset="0"/>
                <a:cs typeface="Arial" panose="020B0604020202020204" pitchFamily="34" charset="0"/>
              </a:rPr>
              <a:t>Is the material considered during data export/data transfer?</a:t>
            </a:r>
          </a:p>
          <a:p>
            <a:endParaRPr lang="en-US" sz="1100">
              <a:latin typeface="Arial" panose="020B0604020202020204" pitchFamily="34" charset="0"/>
              <a:cs typeface="Arial" panose="020B0604020202020204" pitchFamily="34" charset="0"/>
            </a:endParaRPr>
          </a:p>
        </p:txBody>
      </p:sp>
      <p:sp>
        <p:nvSpPr>
          <p:cNvPr id="33" name="Rechteck: abgerundete Ecken 32">
            <a:extLst>
              <a:ext uri="{FF2B5EF4-FFF2-40B4-BE49-F238E27FC236}">
                <a16:creationId xmlns:a16="http://schemas.microsoft.com/office/drawing/2014/main" id="{0C4CD464-EBF1-47EB-B132-0DA85B524DFF}"/>
              </a:ext>
            </a:extLst>
          </p:cNvPr>
          <p:cNvSpPr/>
          <p:nvPr/>
        </p:nvSpPr>
        <p:spPr>
          <a:xfrm>
            <a:off x="314021" y="1691881"/>
            <a:ext cx="2099705" cy="770141"/>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Arial" panose="020B0604020202020204" pitchFamily="34" charset="0"/>
                <a:cs typeface="Arial" panose="020B0604020202020204" pitchFamily="34" charset="0"/>
              </a:rPr>
              <a:t>In the Basic Data 1 of Material Master, set “EU UDI relevant“ to “3 No”</a:t>
            </a:r>
            <a:endParaRPr lang="de-CH" sz="1200">
              <a:solidFill>
                <a:schemeClr val="bg1"/>
              </a:solidFill>
              <a:latin typeface="Arial" panose="020B0604020202020204" pitchFamily="34" charset="0"/>
              <a:cs typeface="Arial" panose="020B0604020202020204" pitchFamily="34" charset="0"/>
            </a:endParaRPr>
          </a:p>
        </p:txBody>
      </p:sp>
      <p:sp>
        <p:nvSpPr>
          <p:cNvPr id="19" name="Rechteck: abgerundete Ecken 18">
            <a:extLst>
              <a:ext uri="{FF2B5EF4-FFF2-40B4-BE49-F238E27FC236}">
                <a16:creationId xmlns:a16="http://schemas.microsoft.com/office/drawing/2014/main" id="{EF920EB4-6BD7-47A9-8387-B05D3681E465}"/>
              </a:ext>
            </a:extLst>
          </p:cNvPr>
          <p:cNvSpPr/>
          <p:nvPr/>
        </p:nvSpPr>
        <p:spPr>
          <a:xfrm>
            <a:off x="277885" y="3611881"/>
            <a:ext cx="2088510" cy="770141"/>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Arial" panose="020B0604020202020204" pitchFamily="34" charset="0"/>
                <a:cs typeface="Arial" panose="020B0604020202020204" pitchFamily="34" charset="0"/>
              </a:rPr>
              <a:t>In the Basic Data 1 of Material Master, set “EU UDI relevant“ to “Not defined” </a:t>
            </a:r>
            <a:endParaRPr lang="de-CH" sz="1200">
              <a:solidFill>
                <a:schemeClr val="bg1"/>
              </a:solidFill>
              <a:latin typeface="Arial" panose="020B0604020202020204" pitchFamily="34" charset="0"/>
              <a:cs typeface="Arial" panose="020B0604020202020204" pitchFamily="34" charset="0"/>
            </a:endParaRPr>
          </a:p>
        </p:txBody>
      </p:sp>
      <p:pic>
        <p:nvPicPr>
          <p:cNvPr id="39" name="Grafik 38" descr="Häkchen">
            <a:extLst>
              <a:ext uri="{FF2B5EF4-FFF2-40B4-BE49-F238E27FC236}">
                <a16:creationId xmlns:a16="http://schemas.microsoft.com/office/drawing/2014/main" id="{3BCC4019-681F-467D-B8AA-80D1630BA29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457907" y="2109093"/>
            <a:ext cx="470043" cy="470043"/>
          </a:xfrm>
          <a:prstGeom prst="rect">
            <a:avLst/>
          </a:prstGeom>
        </p:spPr>
      </p:pic>
      <p:sp>
        <p:nvSpPr>
          <p:cNvPr id="36" name="Rechteck 35">
            <a:extLst>
              <a:ext uri="{FF2B5EF4-FFF2-40B4-BE49-F238E27FC236}">
                <a16:creationId xmlns:a16="http://schemas.microsoft.com/office/drawing/2014/main" id="{1A2FB62A-EE76-45C6-8DF9-0555A8FC7F8A}"/>
              </a:ext>
            </a:extLst>
          </p:cNvPr>
          <p:cNvSpPr/>
          <p:nvPr/>
        </p:nvSpPr>
        <p:spPr>
          <a:xfrm>
            <a:off x="2685916" y="767361"/>
            <a:ext cx="2993457" cy="39128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CH"/>
          </a:p>
        </p:txBody>
      </p:sp>
      <p:sp>
        <p:nvSpPr>
          <p:cNvPr id="38" name="Rechteck: abgerundete Ecken 37">
            <a:extLst>
              <a:ext uri="{FF2B5EF4-FFF2-40B4-BE49-F238E27FC236}">
                <a16:creationId xmlns:a16="http://schemas.microsoft.com/office/drawing/2014/main" id="{10C0E066-DC46-44E0-9477-A9C4848F4021}"/>
              </a:ext>
            </a:extLst>
          </p:cNvPr>
          <p:cNvSpPr/>
          <p:nvPr/>
        </p:nvSpPr>
        <p:spPr>
          <a:xfrm>
            <a:off x="2804397" y="795564"/>
            <a:ext cx="2756497" cy="895036"/>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Arial" panose="020B0604020202020204" pitchFamily="34" charset="0"/>
                <a:cs typeface="Arial" panose="020B0604020202020204" pitchFamily="34" charset="0"/>
              </a:rPr>
              <a:t>The material is set as not relevant for UDI. However, a connection still exists in the database. The material is not shown in the relevant applications.</a:t>
            </a:r>
            <a:endParaRPr lang="de-CH" sz="1200">
              <a:solidFill>
                <a:schemeClr val="bg1"/>
              </a:solidFill>
              <a:latin typeface="Arial" panose="020B0604020202020204" pitchFamily="34" charset="0"/>
              <a:cs typeface="Arial" panose="020B0604020202020204" pitchFamily="34" charset="0"/>
            </a:endParaRPr>
          </a:p>
        </p:txBody>
      </p:sp>
      <p:sp>
        <p:nvSpPr>
          <p:cNvPr id="42" name="Rechteck 41">
            <a:extLst>
              <a:ext uri="{FF2B5EF4-FFF2-40B4-BE49-F238E27FC236}">
                <a16:creationId xmlns:a16="http://schemas.microsoft.com/office/drawing/2014/main" id="{9CA2E164-4C39-4C47-9795-C41788EA9B2C}"/>
              </a:ext>
            </a:extLst>
          </p:cNvPr>
          <p:cNvSpPr/>
          <p:nvPr/>
        </p:nvSpPr>
        <p:spPr>
          <a:xfrm>
            <a:off x="3318177" y="1800107"/>
            <a:ext cx="1712572" cy="101539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latin typeface="Arial" panose="020B0604020202020204" pitchFamily="34" charset="0"/>
                <a:cs typeface="Arial" panose="020B0604020202020204" pitchFamily="34" charset="0"/>
              </a:rPr>
              <a:t>Basic UDI-DI</a:t>
            </a:r>
            <a:endParaRPr lang="de-CH">
              <a:latin typeface="Arial" panose="020B0604020202020204" pitchFamily="34" charset="0"/>
              <a:cs typeface="Arial" panose="020B0604020202020204" pitchFamily="34" charset="0"/>
            </a:endParaRPr>
          </a:p>
        </p:txBody>
      </p:sp>
      <p:sp>
        <p:nvSpPr>
          <p:cNvPr id="43" name="Rechteck 42">
            <a:extLst>
              <a:ext uri="{FF2B5EF4-FFF2-40B4-BE49-F238E27FC236}">
                <a16:creationId xmlns:a16="http://schemas.microsoft.com/office/drawing/2014/main" id="{08ACE9D4-BAFD-4C76-9A63-F5EF19721751}"/>
              </a:ext>
            </a:extLst>
          </p:cNvPr>
          <p:cNvSpPr/>
          <p:nvPr/>
        </p:nvSpPr>
        <p:spPr>
          <a:xfrm>
            <a:off x="3634463" y="3490654"/>
            <a:ext cx="1080000" cy="1080000"/>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latin typeface="Arial" panose="020B0604020202020204" pitchFamily="34" charset="0"/>
                <a:cs typeface="Arial" panose="020B0604020202020204" pitchFamily="34" charset="0"/>
              </a:rPr>
              <a:t>UDI-DI</a:t>
            </a:r>
            <a:endParaRPr lang="de-CH">
              <a:latin typeface="Arial" panose="020B0604020202020204" pitchFamily="34" charset="0"/>
              <a:cs typeface="Arial" panose="020B0604020202020204" pitchFamily="34" charset="0"/>
            </a:endParaRPr>
          </a:p>
        </p:txBody>
      </p:sp>
      <p:sp>
        <p:nvSpPr>
          <p:cNvPr id="44" name="Pfeil: nach oben 43">
            <a:extLst>
              <a:ext uri="{FF2B5EF4-FFF2-40B4-BE49-F238E27FC236}">
                <a16:creationId xmlns:a16="http://schemas.microsoft.com/office/drawing/2014/main" id="{62DF2E9F-6BCD-4F4E-9CDC-5966DB9397E8}"/>
              </a:ext>
            </a:extLst>
          </p:cNvPr>
          <p:cNvSpPr/>
          <p:nvPr/>
        </p:nvSpPr>
        <p:spPr>
          <a:xfrm>
            <a:off x="4015646" y="2858064"/>
            <a:ext cx="317634" cy="576940"/>
          </a:xfrm>
          <a:prstGeom prst="upArrow">
            <a:avLst/>
          </a:prstGeom>
          <a:solidFill>
            <a:srgbClr val="203864"/>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45" name="Rechteck: abgerundete Ecken 44">
            <a:extLst>
              <a:ext uri="{FF2B5EF4-FFF2-40B4-BE49-F238E27FC236}">
                <a16:creationId xmlns:a16="http://schemas.microsoft.com/office/drawing/2014/main" id="{B6AAC62B-CABA-4828-B8BF-01431BD71D5C}"/>
              </a:ext>
            </a:extLst>
          </p:cNvPr>
          <p:cNvSpPr/>
          <p:nvPr/>
        </p:nvSpPr>
        <p:spPr>
          <a:xfrm>
            <a:off x="4615339" y="2904516"/>
            <a:ext cx="1042895" cy="530488"/>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lumMod val="50000"/>
                    <a:lumOff val="50000"/>
                  </a:schemeClr>
                </a:solidFill>
                <a:latin typeface="Arial" panose="020B0604020202020204" pitchFamily="34" charset="0"/>
                <a:cs typeface="Arial" panose="020B0604020202020204" pitchFamily="34" charset="0"/>
              </a:rPr>
              <a:t>Material is set as not relevant for UDI</a:t>
            </a:r>
            <a:endParaRPr lang="de-CH" sz="900">
              <a:solidFill>
                <a:schemeClr val="tx1">
                  <a:lumMod val="50000"/>
                  <a:lumOff val="50000"/>
                </a:schemeClr>
              </a:solidFill>
              <a:latin typeface="Arial" panose="020B0604020202020204" pitchFamily="34" charset="0"/>
              <a:cs typeface="Arial" panose="020B0604020202020204" pitchFamily="34" charset="0"/>
            </a:endParaRPr>
          </a:p>
        </p:txBody>
      </p:sp>
      <p:sp>
        <p:nvSpPr>
          <p:cNvPr id="46" name="Multiplikationszeichen 45">
            <a:extLst>
              <a:ext uri="{FF2B5EF4-FFF2-40B4-BE49-F238E27FC236}">
                <a16:creationId xmlns:a16="http://schemas.microsoft.com/office/drawing/2014/main" id="{42B88B15-163F-426F-892F-81E50C705A69}"/>
              </a:ext>
            </a:extLst>
          </p:cNvPr>
          <p:cNvSpPr/>
          <p:nvPr/>
        </p:nvSpPr>
        <p:spPr>
          <a:xfrm>
            <a:off x="3820548" y="2891881"/>
            <a:ext cx="720000" cy="720000"/>
          </a:xfrm>
          <a:prstGeom prst="mathMultiply">
            <a:avLst>
              <a:gd name="adj1" fmla="val 6810"/>
            </a:avLst>
          </a:prstGeom>
          <a:solidFill>
            <a:srgbClr val="FF0000"/>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22" name="Grafik 21" descr="Schließen">
            <a:extLst>
              <a:ext uri="{FF2B5EF4-FFF2-40B4-BE49-F238E27FC236}">
                <a16:creationId xmlns:a16="http://schemas.microsoft.com/office/drawing/2014/main" id="{5E7176CD-E861-4299-95A0-F34E4BB4CA5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457907" y="1557924"/>
            <a:ext cx="470043" cy="470043"/>
          </a:xfrm>
          <a:prstGeom prst="rect">
            <a:avLst/>
          </a:prstGeom>
        </p:spPr>
      </p:pic>
      <p:pic>
        <p:nvPicPr>
          <p:cNvPr id="23" name="Grafik 22" descr="Schließen">
            <a:extLst>
              <a:ext uri="{FF2B5EF4-FFF2-40B4-BE49-F238E27FC236}">
                <a16:creationId xmlns:a16="http://schemas.microsoft.com/office/drawing/2014/main" id="{1F87DDD7-F399-492C-8A25-BDBC3F5A93A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457907" y="2882964"/>
            <a:ext cx="470043" cy="470043"/>
          </a:xfrm>
          <a:prstGeom prst="rect">
            <a:avLst/>
          </a:prstGeom>
        </p:spPr>
      </p:pic>
      <p:pic>
        <p:nvPicPr>
          <p:cNvPr id="24" name="Grafik 23" descr="Schließen">
            <a:extLst>
              <a:ext uri="{FF2B5EF4-FFF2-40B4-BE49-F238E27FC236}">
                <a16:creationId xmlns:a16="http://schemas.microsoft.com/office/drawing/2014/main" id="{86D9454C-2DA3-4E4F-9298-E712FFFBD63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457907" y="3570347"/>
            <a:ext cx="470043" cy="470043"/>
          </a:xfrm>
          <a:prstGeom prst="rect">
            <a:avLst/>
          </a:prstGeom>
        </p:spPr>
      </p:pic>
      <p:sp>
        <p:nvSpPr>
          <p:cNvPr id="27" name="Titel 2">
            <a:extLst>
              <a:ext uri="{FF2B5EF4-FFF2-40B4-BE49-F238E27FC236}">
                <a16:creationId xmlns:a16="http://schemas.microsoft.com/office/drawing/2014/main" id="{11534EAF-E35C-463A-A837-4564393837BF}"/>
              </a:ext>
            </a:extLst>
          </p:cNvPr>
          <p:cNvSpPr>
            <a:spLocks noGrp="1"/>
          </p:cNvSpPr>
          <p:nvPr>
            <p:ph type="title"/>
          </p:nvPr>
        </p:nvSpPr>
        <p:spPr>
          <a:xfrm>
            <a:off x="269393" y="78770"/>
            <a:ext cx="7907189" cy="330545"/>
          </a:xfrm>
        </p:spPr>
        <p:txBody>
          <a:bodyPr>
            <a:normAutofit fontScale="90000"/>
          </a:bodyPr>
          <a:lstStyle/>
          <a:p>
            <a:r>
              <a:rPr lang="de-DE"/>
              <a:t>Appendix - </a:t>
            </a:r>
            <a:r>
              <a:rPr lang="en-US"/>
              <a:t>Set material as not relevant for UDI</a:t>
            </a:r>
            <a:endParaRPr lang="de-DE"/>
          </a:p>
        </p:txBody>
      </p:sp>
      <p:pic>
        <p:nvPicPr>
          <p:cNvPr id="7" name="Grafik 6">
            <a:extLst>
              <a:ext uri="{FF2B5EF4-FFF2-40B4-BE49-F238E27FC236}">
                <a16:creationId xmlns:a16="http://schemas.microsoft.com/office/drawing/2014/main" id="{49CAE2EA-CB09-4AD9-B6D4-89F23A91304A}"/>
              </a:ext>
            </a:extLst>
          </p:cNvPr>
          <p:cNvPicPr>
            <a:picLocks noChangeAspect="1"/>
          </p:cNvPicPr>
          <p:nvPr/>
        </p:nvPicPr>
        <p:blipFill>
          <a:blip r:embed="rId6"/>
          <a:stretch>
            <a:fillRect/>
          </a:stretch>
        </p:blipFill>
        <p:spPr>
          <a:xfrm>
            <a:off x="156090" y="870237"/>
            <a:ext cx="2470586" cy="699295"/>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28" name="Rechteck 27">
            <a:extLst>
              <a:ext uri="{FF2B5EF4-FFF2-40B4-BE49-F238E27FC236}">
                <a16:creationId xmlns:a16="http://schemas.microsoft.com/office/drawing/2014/main" id="{B11A716A-5C22-4570-9738-116A5BDA25CA}"/>
              </a:ext>
            </a:extLst>
          </p:cNvPr>
          <p:cNvSpPr/>
          <p:nvPr/>
        </p:nvSpPr>
        <p:spPr>
          <a:xfrm>
            <a:off x="824565" y="1279481"/>
            <a:ext cx="570387" cy="14869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11" name="Grafik 10">
            <a:extLst>
              <a:ext uri="{FF2B5EF4-FFF2-40B4-BE49-F238E27FC236}">
                <a16:creationId xmlns:a16="http://schemas.microsoft.com/office/drawing/2014/main" id="{6116D3A4-4F09-4403-A6D0-78A6B38C4A93}"/>
              </a:ext>
            </a:extLst>
          </p:cNvPr>
          <p:cNvPicPr>
            <a:picLocks noChangeAspect="1"/>
          </p:cNvPicPr>
          <p:nvPr/>
        </p:nvPicPr>
        <p:blipFill>
          <a:blip r:embed="rId7"/>
          <a:stretch>
            <a:fillRect/>
          </a:stretch>
        </p:blipFill>
        <p:spPr>
          <a:xfrm>
            <a:off x="135368" y="2858064"/>
            <a:ext cx="2484083" cy="651434"/>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32" name="Rechteck 31">
            <a:extLst>
              <a:ext uri="{FF2B5EF4-FFF2-40B4-BE49-F238E27FC236}">
                <a16:creationId xmlns:a16="http://schemas.microsoft.com/office/drawing/2014/main" id="{FEEBDE53-D317-49C3-9F84-A5F099EE3B25}"/>
              </a:ext>
            </a:extLst>
          </p:cNvPr>
          <p:cNvSpPr/>
          <p:nvPr/>
        </p:nvSpPr>
        <p:spPr>
          <a:xfrm>
            <a:off x="824564" y="3237956"/>
            <a:ext cx="570387" cy="158564"/>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Tree>
    <p:extLst>
      <p:ext uri="{BB962C8B-B14F-4D97-AF65-F5344CB8AC3E}">
        <p14:creationId xmlns:p14="http://schemas.microsoft.com/office/powerpoint/2010/main" val="137192631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082035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59663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A19744FE-0122-4458-A703-1ED9355A7C5F}"/>
              </a:ext>
            </a:extLst>
          </p:cNvPr>
          <p:cNvSpPr>
            <a:spLocks noGrp="1"/>
          </p:cNvSpPr>
          <p:nvPr>
            <p:ph type="body" sz="quarter" idx="18"/>
          </p:nvPr>
        </p:nvSpPr>
        <p:spPr/>
        <p:txBody>
          <a:bodyPr>
            <a:normAutofit/>
          </a:bodyPr>
          <a:lstStyle/>
          <a:p>
            <a:r>
              <a:rPr lang="de-DE"/>
              <a:t>1.5 UDI t</a:t>
            </a:r>
            <a:r>
              <a:rPr lang="de-DE" sz="1400"/>
              <a:t>ransaction </a:t>
            </a:r>
            <a:r>
              <a:rPr lang="de-DE" sz="1400" err="1"/>
              <a:t>codes</a:t>
            </a:r>
            <a:r>
              <a:rPr lang="de-DE"/>
              <a:t>  </a:t>
            </a:r>
          </a:p>
        </p:txBody>
      </p:sp>
      <p:sp>
        <p:nvSpPr>
          <p:cNvPr id="3" name="Titel 2">
            <a:extLst>
              <a:ext uri="{FF2B5EF4-FFF2-40B4-BE49-F238E27FC236}">
                <a16:creationId xmlns:a16="http://schemas.microsoft.com/office/drawing/2014/main" id="{17403686-94D3-4A24-BDEB-07854049E7FA}"/>
              </a:ext>
            </a:extLst>
          </p:cNvPr>
          <p:cNvSpPr>
            <a:spLocks noGrp="1"/>
          </p:cNvSpPr>
          <p:nvPr>
            <p:ph type="title"/>
          </p:nvPr>
        </p:nvSpPr>
        <p:spPr/>
        <p:txBody>
          <a:bodyPr>
            <a:normAutofit fontScale="90000"/>
          </a:bodyPr>
          <a:lstStyle/>
          <a:p>
            <a:r>
              <a:rPr lang="de-DE"/>
              <a:t>1. </a:t>
            </a:r>
            <a:r>
              <a:rPr lang="de-DE" err="1"/>
              <a:t>Introduction</a:t>
            </a:r>
            <a:endParaRPr lang="de-DE"/>
          </a:p>
        </p:txBody>
      </p:sp>
      <p:grpSp>
        <p:nvGrpSpPr>
          <p:cNvPr id="15" name="Gruppieren 14">
            <a:extLst>
              <a:ext uri="{FF2B5EF4-FFF2-40B4-BE49-F238E27FC236}">
                <a16:creationId xmlns:a16="http://schemas.microsoft.com/office/drawing/2014/main" id="{B335413E-B469-4B0A-8354-3F222E781D8D}"/>
              </a:ext>
            </a:extLst>
          </p:cNvPr>
          <p:cNvGrpSpPr/>
          <p:nvPr/>
        </p:nvGrpSpPr>
        <p:grpSpPr>
          <a:xfrm>
            <a:off x="277078" y="2328261"/>
            <a:ext cx="5289590" cy="2308947"/>
            <a:chOff x="384202" y="1322733"/>
            <a:chExt cx="2067005" cy="3387340"/>
          </a:xfrm>
        </p:grpSpPr>
        <p:sp>
          <p:nvSpPr>
            <p:cNvPr id="5" name="Rechteck 4">
              <a:extLst>
                <a:ext uri="{FF2B5EF4-FFF2-40B4-BE49-F238E27FC236}">
                  <a16:creationId xmlns:a16="http://schemas.microsoft.com/office/drawing/2014/main" id="{654CF2D5-28FB-4030-BDDF-D00BF89E0068}"/>
                </a:ext>
              </a:extLst>
            </p:cNvPr>
            <p:cNvSpPr/>
            <p:nvPr/>
          </p:nvSpPr>
          <p:spPr>
            <a:xfrm>
              <a:off x="384202" y="1540349"/>
              <a:ext cx="2067005" cy="316972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hteck 12">
              <a:extLst>
                <a:ext uri="{FF2B5EF4-FFF2-40B4-BE49-F238E27FC236}">
                  <a16:creationId xmlns:a16="http://schemas.microsoft.com/office/drawing/2014/main" id="{EB50838E-6F9D-4017-A719-F425EEBC4C6B}"/>
                </a:ext>
              </a:extLst>
            </p:cNvPr>
            <p:cNvSpPr/>
            <p:nvPr/>
          </p:nvSpPr>
          <p:spPr>
            <a:xfrm>
              <a:off x="384202" y="1322733"/>
              <a:ext cx="2067005" cy="394550"/>
            </a:xfrm>
            <a:prstGeom prst="rect">
              <a:avLst/>
            </a:prstGeom>
            <a:solidFill>
              <a:srgbClr val="2F559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latin typeface="Arial" panose="020B0604020202020204" pitchFamily="34" charset="0"/>
                  <a:cs typeface="Arial" panose="020B0604020202020204" pitchFamily="34" charset="0"/>
                </a:rPr>
                <a:t>Code Lists</a:t>
              </a:r>
            </a:p>
          </p:txBody>
        </p:sp>
      </p:grpSp>
      <p:sp>
        <p:nvSpPr>
          <p:cNvPr id="20" name="Rechteck 19">
            <a:extLst>
              <a:ext uri="{FF2B5EF4-FFF2-40B4-BE49-F238E27FC236}">
                <a16:creationId xmlns:a16="http://schemas.microsoft.com/office/drawing/2014/main" id="{0DC09DFE-62F0-45BE-A039-1EBA0EBE6667}"/>
              </a:ext>
            </a:extLst>
          </p:cNvPr>
          <p:cNvSpPr/>
          <p:nvPr/>
        </p:nvSpPr>
        <p:spPr>
          <a:xfrm>
            <a:off x="5922176" y="2308157"/>
            <a:ext cx="3081668" cy="244697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Rechteck 20">
            <a:extLst>
              <a:ext uri="{FF2B5EF4-FFF2-40B4-BE49-F238E27FC236}">
                <a16:creationId xmlns:a16="http://schemas.microsoft.com/office/drawing/2014/main" id="{DB60116E-2639-4648-AC2D-350224FEDB21}"/>
              </a:ext>
            </a:extLst>
          </p:cNvPr>
          <p:cNvSpPr/>
          <p:nvPr/>
        </p:nvSpPr>
        <p:spPr>
          <a:xfrm>
            <a:off x="5922176" y="2321405"/>
            <a:ext cx="3081668" cy="307750"/>
          </a:xfrm>
          <a:prstGeom prst="rect">
            <a:avLst/>
          </a:prstGeom>
          <a:solidFill>
            <a:srgbClr val="2F559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latin typeface="Arial" panose="020B0604020202020204" pitchFamily="34" charset="0"/>
                <a:cs typeface="Arial" panose="020B0604020202020204" pitchFamily="34" charset="0"/>
              </a:rPr>
              <a:t>UDI Transactions</a:t>
            </a:r>
          </a:p>
        </p:txBody>
      </p:sp>
      <p:sp>
        <p:nvSpPr>
          <p:cNvPr id="22" name="Inhaltsplatzhalter 4">
            <a:extLst>
              <a:ext uri="{FF2B5EF4-FFF2-40B4-BE49-F238E27FC236}">
                <a16:creationId xmlns:a16="http://schemas.microsoft.com/office/drawing/2014/main" id="{5999E3D1-D651-436C-93AE-E2DA28D7D18B}"/>
              </a:ext>
            </a:extLst>
          </p:cNvPr>
          <p:cNvSpPr txBox="1">
            <a:spLocks/>
          </p:cNvSpPr>
          <p:nvPr/>
        </p:nvSpPr>
        <p:spPr>
          <a:xfrm>
            <a:off x="269393" y="2622654"/>
            <a:ext cx="1910085" cy="1891670"/>
          </a:xfrm>
          <a:prstGeom prst="rect">
            <a:avLst/>
          </a:prstGeom>
        </p:spPr>
        <p:txBody>
          <a:bodyPr vert="horz" lIns="91440" tIns="45720" rIns="91440" bIns="45720" rtlCol="0">
            <a:noAutofit/>
          </a:bodyPr>
          <a:lstStyle>
            <a:lvl1pPr marL="128585" indent="-128585" algn="l" defTabSz="514337" rtl="0" eaLnBrk="1" latinLnBrk="0" hangingPunct="1">
              <a:lnSpc>
                <a:spcPct val="90000"/>
              </a:lnSpc>
              <a:spcBef>
                <a:spcPts val="563"/>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385754" indent="-128585" algn="l" defTabSz="514337" rtl="0" eaLnBrk="1" latinLnBrk="0" hangingPunct="1">
              <a:lnSpc>
                <a:spcPct val="90000"/>
              </a:lnSpc>
              <a:spcBef>
                <a:spcPts val="281"/>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2pPr>
            <a:lvl3pPr marL="642922" indent="-128585" algn="l" defTabSz="514337" rtl="0" eaLnBrk="1" latinLnBrk="0" hangingPunct="1">
              <a:lnSpc>
                <a:spcPct val="90000"/>
              </a:lnSpc>
              <a:spcBef>
                <a:spcPts val="281"/>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900091" indent="-128585" algn="l" defTabSz="514337" rtl="0" eaLnBrk="1" latinLnBrk="0" hangingPunct="1">
              <a:lnSpc>
                <a:spcPct val="90000"/>
              </a:lnSpc>
              <a:spcBef>
                <a:spcPts val="281"/>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1157259" indent="-128585" algn="l" defTabSz="514337" rtl="0" eaLnBrk="1" latinLnBrk="0" hangingPunct="1">
              <a:lnSpc>
                <a:spcPct val="90000"/>
              </a:lnSpc>
              <a:spcBef>
                <a:spcPts val="281"/>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1414428" indent="-128585"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96" indent="-128585"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65" indent="-128585"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34" indent="-128585"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r>
              <a:rPr lang="de-CH" sz="700"/>
              <a:t>DUNS </a:t>
            </a:r>
            <a:r>
              <a:rPr lang="de-CH" sz="700" err="1"/>
              <a:t>number</a:t>
            </a:r>
            <a:r>
              <a:rPr lang="de-CH" sz="700"/>
              <a:t> </a:t>
            </a:r>
            <a:r>
              <a:rPr lang="de-CH" sz="700" err="1"/>
              <a:t>of</a:t>
            </a:r>
            <a:r>
              <a:rPr lang="de-CH" sz="700"/>
              <a:t> </a:t>
            </a:r>
            <a:r>
              <a:rPr lang="de-CH" sz="700" err="1"/>
              <a:t>the</a:t>
            </a:r>
            <a:r>
              <a:rPr lang="de-CH" sz="700"/>
              <a:t> </a:t>
            </a:r>
            <a:r>
              <a:rPr lang="de-CH" sz="700" err="1"/>
              <a:t>company</a:t>
            </a:r>
            <a:r>
              <a:rPr lang="de-CH" sz="700"/>
              <a:t> /UDI/CL029</a:t>
            </a:r>
          </a:p>
          <a:p>
            <a:r>
              <a:rPr lang="de-CH" sz="700"/>
              <a:t>EU countries /UDI/CL026 </a:t>
            </a:r>
          </a:p>
          <a:p>
            <a:r>
              <a:rPr lang="de-CH" sz="700"/>
              <a:t>EU </a:t>
            </a:r>
            <a:r>
              <a:rPr lang="de-CH" sz="700" err="1"/>
              <a:t>Languages</a:t>
            </a:r>
            <a:r>
              <a:rPr lang="de-CH" sz="700"/>
              <a:t> /UDI/CL032</a:t>
            </a:r>
          </a:p>
          <a:p>
            <a:r>
              <a:rPr lang="de-CH" sz="700" err="1"/>
              <a:t>Specific</a:t>
            </a:r>
            <a:r>
              <a:rPr lang="de-CH" sz="700"/>
              <a:t> EU </a:t>
            </a:r>
            <a:r>
              <a:rPr lang="de-CH" sz="700" err="1"/>
              <a:t>Languages</a:t>
            </a:r>
            <a:r>
              <a:rPr lang="de-CH" sz="700"/>
              <a:t> /UDI/CL033</a:t>
            </a:r>
          </a:p>
          <a:p>
            <a:r>
              <a:rPr lang="de-CH" sz="700"/>
              <a:t>Actor Code (SRN) /UDI/CL027</a:t>
            </a:r>
          </a:p>
          <a:p>
            <a:r>
              <a:rPr lang="de-CH" sz="700"/>
              <a:t>Issuing Agency /UDI/CL001 </a:t>
            </a:r>
          </a:p>
          <a:p>
            <a:r>
              <a:rPr lang="de-CH" sz="700"/>
              <a:t>System &amp; </a:t>
            </a:r>
            <a:r>
              <a:rPr lang="de-CH" sz="700" err="1"/>
              <a:t>Procedure</a:t>
            </a:r>
            <a:r>
              <a:rPr lang="de-CH" sz="700"/>
              <a:t> Pack /UDI/CL022 </a:t>
            </a:r>
          </a:p>
          <a:p>
            <a:r>
              <a:rPr lang="de-CH" sz="700" err="1"/>
              <a:t>Nomenclature</a:t>
            </a:r>
            <a:r>
              <a:rPr lang="de-CH" sz="700"/>
              <a:t> Code (EMDN) /UDI/CL028</a:t>
            </a:r>
          </a:p>
          <a:p>
            <a:r>
              <a:rPr lang="de-CH" sz="700" err="1"/>
              <a:t>Cert.NB</a:t>
            </a:r>
            <a:r>
              <a:rPr lang="de-CH" sz="700"/>
              <a:t> </a:t>
            </a:r>
            <a:r>
              <a:rPr lang="de-CH" sz="700" err="1"/>
              <a:t>Decision</a:t>
            </a:r>
            <a:r>
              <a:rPr lang="de-CH" sz="700"/>
              <a:t> </a:t>
            </a:r>
            <a:r>
              <a:rPr lang="de-CH" sz="700" err="1"/>
              <a:t>Reason</a:t>
            </a:r>
            <a:r>
              <a:rPr lang="de-CH" sz="700"/>
              <a:t> /UDI/CL023</a:t>
            </a:r>
          </a:p>
        </p:txBody>
      </p:sp>
      <p:sp>
        <p:nvSpPr>
          <p:cNvPr id="26" name="Rechteck 25">
            <a:extLst>
              <a:ext uri="{FF2B5EF4-FFF2-40B4-BE49-F238E27FC236}">
                <a16:creationId xmlns:a16="http://schemas.microsoft.com/office/drawing/2014/main" id="{B97AB44A-0208-46AC-B2A4-A9FDFE1E3BC5}"/>
              </a:ext>
            </a:extLst>
          </p:cNvPr>
          <p:cNvSpPr/>
          <p:nvPr/>
        </p:nvSpPr>
        <p:spPr>
          <a:xfrm>
            <a:off x="5927451" y="532445"/>
            <a:ext cx="3081668" cy="169330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Inhaltsplatzhalter 4">
            <a:extLst>
              <a:ext uri="{FF2B5EF4-FFF2-40B4-BE49-F238E27FC236}">
                <a16:creationId xmlns:a16="http://schemas.microsoft.com/office/drawing/2014/main" id="{604B9680-9ADD-4FE2-BC05-3EDFE00C4114}"/>
              </a:ext>
            </a:extLst>
          </p:cNvPr>
          <p:cNvSpPr txBox="1">
            <a:spLocks/>
          </p:cNvSpPr>
          <p:nvPr/>
        </p:nvSpPr>
        <p:spPr>
          <a:xfrm>
            <a:off x="5935136" y="937953"/>
            <a:ext cx="3073984" cy="1949323"/>
          </a:xfrm>
          <a:prstGeom prst="rect">
            <a:avLst/>
          </a:prstGeom>
        </p:spPr>
        <p:txBody>
          <a:bodyPr vert="horz" lIns="91440" tIns="45720" rIns="91440" bIns="45720" rtlCol="0">
            <a:normAutofit/>
          </a:bodyPr>
          <a:lstStyle>
            <a:lvl1pPr marL="128585" indent="-128585" algn="l" defTabSz="514337" rtl="0" eaLnBrk="1" latinLnBrk="0" hangingPunct="1">
              <a:lnSpc>
                <a:spcPct val="90000"/>
              </a:lnSpc>
              <a:spcBef>
                <a:spcPts val="563"/>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385754" indent="-128585" algn="l" defTabSz="514337" rtl="0" eaLnBrk="1" latinLnBrk="0" hangingPunct="1">
              <a:lnSpc>
                <a:spcPct val="90000"/>
              </a:lnSpc>
              <a:spcBef>
                <a:spcPts val="281"/>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2pPr>
            <a:lvl3pPr marL="642922" indent="-128585" algn="l" defTabSz="514337" rtl="0" eaLnBrk="1" latinLnBrk="0" hangingPunct="1">
              <a:lnSpc>
                <a:spcPct val="90000"/>
              </a:lnSpc>
              <a:spcBef>
                <a:spcPts val="281"/>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900091" indent="-128585" algn="l" defTabSz="514337" rtl="0" eaLnBrk="1" latinLnBrk="0" hangingPunct="1">
              <a:lnSpc>
                <a:spcPct val="90000"/>
              </a:lnSpc>
              <a:spcBef>
                <a:spcPts val="281"/>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1157259" indent="-128585" algn="l" defTabSz="514337" rtl="0" eaLnBrk="1" latinLnBrk="0" hangingPunct="1">
              <a:lnSpc>
                <a:spcPct val="90000"/>
              </a:lnSpc>
              <a:spcBef>
                <a:spcPts val="281"/>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1414428" indent="-128585"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96" indent="-128585"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65" indent="-128585"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34" indent="-128585"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r>
              <a:rPr lang="de-CH" sz="700"/>
              <a:t>UDI Field Settings /UDI/CU_002 </a:t>
            </a:r>
          </a:p>
          <a:p>
            <a:r>
              <a:rPr lang="de-CH" sz="700"/>
              <a:t>UDI </a:t>
            </a:r>
            <a:r>
              <a:rPr lang="de-CH" sz="700" err="1"/>
              <a:t>Specific</a:t>
            </a:r>
            <a:r>
              <a:rPr lang="de-CH" sz="700"/>
              <a:t> Language Description /UDI/CLANGUAGE</a:t>
            </a:r>
          </a:p>
          <a:p>
            <a:r>
              <a:rPr lang="de-CH" sz="700"/>
              <a:t>UDI Online </a:t>
            </a:r>
            <a:r>
              <a:rPr lang="de-CH" sz="700" err="1"/>
              <a:t>Configuration</a:t>
            </a:r>
            <a:r>
              <a:rPr lang="de-CH" sz="700"/>
              <a:t> /UDI/CU_003 </a:t>
            </a:r>
          </a:p>
          <a:p>
            <a:r>
              <a:rPr lang="de-CH" sz="700"/>
              <a:t>UDI </a:t>
            </a:r>
            <a:r>
              <a:rPr lang="de-CH" sz="700" err="1"/>
              <a:t>Authorization</a:t>
            </a:r>
            <a:r>
              <a:rPr lang="de-CH" sz="700"/>
              <a:t> </a:t>
            </a:r>
            <a:r>
              <a:rPr lang="de-CH" sz="700" err="1"/>
              <a:t>Activities</a:t>
            </a:r>
            <a:r>
              <a:rPr lang="de-CH" sz="700"/>
              <a:t> /UDI/CL025 </a:t>
            </a:r>
          </a:p>
          <a:p>
            <a:r>
              <a:rPr lang="de-CH" sz="700"/>
              <a:t>UDI Departments /UDI/CU_004 </a:t>
            </a:r>
          </a:p>
          <a:p>
            <a:r>
              <a:rPr lang="de-CH" sz="700"/>
              <a:t>UDI </a:t>
            </a:r>
            <a:r>
              <a:rPr lang="de-CH" sz="700" err="1"/>
              <a:t>Application</a:t>
            </a:r>
            <a:r>
              <a:rPr lang="de-CH" sz="700"/>
              <a:t> </a:t>
            </a:r>
            <a:r>
              <a:rPr lang="de-CH" sz="700" err="1"/>
              <a:t>settings</a:t>
            </a:r>
            <a:r>
              <a:rPr lang="de-CH" sz="700"/>
              <a:t> /UDI/CL031</a:t>
            </a:r>
          </a:p>
          <a:p>
            <a:r>
              <a:rPr lang="de-CH" sz="700"/>
              <a:t>UDI SRN </a:t>
            </a:r>
            <a:r>
              <a:rPr lang="de-CH" sz="700" err="1"/>
              <a:t>assignment</a:t>
            </a:r>
            <a:r>
              <a:rPr lang="de-CH" sz="700"/>
              <a:t> </a:t>
            </a:r>
            <a:r>
              <a:rPr lang="de-CH" sz="700" err="1"/>
              <a:t>to</a:t>
            </a:r>
            <a:r>
              <a:rPr lang="de-CH" sz="700"/>
              <a:t> organizational </a:t>
            </a:r>
            <a:r>
              <a:rPr lang="de-CH" sz="700" err="1"/>
              <a:t>field</a:t>
            </a:r>
            <a:r>
              <a:rPr lang="de-CH" sz="700"/>
              <a:t> /UDI/CU_005</a:t>
            </a:r>
          </a:p>
        </p:txBody>
      </p:sp>
      <p:sp>
        <p:nvSpPr>
          <p:cNvPr id="30" name="Inhaltsplatzhalter 4">
            <a:extLst>
              <a:ext uri="{FF2B5EF4-FFF2-40B4-BE49-F238E27FC236}">
                <a16:creationId xmlns:a16="http://schemas.microsoft.com/office/drawing/2014/main" id="{2E3BCBA8-CEF6-459B-B4AB-074516A6038D}"/>
              </a:ext>
            </a:extLst>
          </p:cNvPr>
          <p:cNvSpPr txBox="1">
            <a:spLocks/>
          </p:cNvSpPr>
          <p:nvPr/>
        </p:nvSpPr>
        <p:spPr>
          <a:xfrm>
            <a:off x="5935137" y="2676923"/>
            <a:ext cx="3180161" cy="2160611"/>
          </a:xfrm>
          <a:prstGeom prst="rect">
            <a:avLst/>
          </a:prstGeom>
        </p:spPr>
        <p:txBody>
          <a:bodyPr vert="horz" lIns="91440" tIns="45720" rIns="91440" bIns="45720" rtlCol="0">
            <a:noAutofit/>
          </a:bodyPr>
          <a:lstStyle>
            <a:lvl1pPr marL="128585" indent="-128585" algn="l" defTabSz="514337" rtl="0" eaLnBrk="1" latinLnBrk="0" hangingPunct="1">
              <a:lnSpc>
                <a:spcPct val="90000"/>
              </a:lnSpc>
              <a:spcBef>
                <a:spcPts val="563"/>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385754" indent="-128585" algn="l" defTabSz="514337" rtl="0" eaLnBrk="1" latinLnBrk="0" hangingPunct="1">
              <a:lnSpc>
                <a:spcPct val="90000"/>
              </a:lnSpc>
              <a:spcBef>
                <a:spcPts val="281"/>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2pPr>
            <a:lvl3pPr marL="642922" indent="-128585" algn="l" defTabSz="514337" rtl="0" eaLnBrk="1" latinLnBrk="0" hangingPunct="1">
              <a:lnSpc>
                <a:spcPct val="90000"/>
              </a:lnSpc>
              <a:spcBef>
                <a:spcPts val="281"/>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900091" indent="-128585" algn="l" defTabSz="514337" rtl="0" eaLnBrk="1" latinLnBrk="0" hangingPunct="1">
              <a:lnSpc>
                <a:spcPct val="90000"/>
              </a:lnSpc>
              <a:spcBef>
                <a:spcPts val="281"/>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1157259" indent="-128585" algn="l" defTabSz="514337" rtl="0" eaLnBrk="1" latinLnBrk="0" hangingPunct="1">
              <a:lnSpc>
                <a:spcPct val="90000"/>
              </a:lnSpc>
              <a:spcBef>
                <a:spcPts val="281"/>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1414428" indent="-128585"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96" indent="-128585"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65" indent="-128585"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34" indent="-128585"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r>
              <a:rPr lang="en-US" sz="700"/>
              <a:t>UDI Master Data Maintenance /UDI/MAINTAIN </a:t>
            </a:r>
          </a:p>
          <a:p>
            <a:r>
              <a:rPr lang="en-US" sz="700"/>
              <a:t>UDI Master Data Overview /UDI/ATTRIBUTES</a:t>
            </a:r>
          </a:p>
          <a:p>
            <a:r>
              <a:rPr lang="en-US" sz="700"/>
              <a:t>UDI Data Mass Maintenance /UDI/MASS </a:t>
            </a:r>
          </a:p>
          <a:p>
            <a:r>
              <a:rPr lang="en-US" sz="700"/>
              <a:t>UDI Data Export /UDI/EXPORT </a:t>
            </a:r>
          </a:p>
          <a:p>
            <a:r>
              <a:rPr lang="en-US" sz="700"/>
              <a:t>UDI Data Migration /UDI/UPLOAD </a:t>
            </a:r>
          </a:p>
          <a:p>
            <a:r>
              <a:rPr lang="en-US" sz="700"/>
              <a:t>UDI Audit Trail /UDI/AUDITTRAIL </a:t>
            </a:r>
          </a:p>
          <a:p>
            <a:r>
              <a:rPr lang="en-US" sz="700"/>
              <a:t>UDI Audit Trail for Data Export /UDI/EXPAUDIT</a:t>
            </a:r>
          </a:p>
          <a:p>
            <a:r>
              <a:rPr lang="en-US" sz="700"/>
              <a:t>UDI Mass Integrity /UDI/INTEGRITY_MASS </a:t>
            </a:r>
          </a:p>
          <a:p>
            <a:r>
              <a:rPr lang="en-US" sz="700"/>
              <a:t>UDI Product Hierarchy /UDI/PHT_MAT_ASSIGN</a:t>
            </a:r>
          </a:p>
          <a:p>
            <a:r>
              <a:rPr lang="en-US" sz="700"/>
              <a:t>UDI Product Designer Addresses /UDI/PDADDRESS</a:t>
            </a:r>
          </a:p>
          <a:p>
            <a:r>
              <a:rPr lang="en-US" sz="700"/>
              <a:t>UDI Product Hierarchy /UDI/PHT_MAT_ASSIGN</a:t>
            </a:r>
          </a:p>
          <a:p>
            <a:r>
              <a:rPr lang="en-US" sz="700"/>
              <a:t>UDI Version Maintenance /UDI/VERSION</a:t>
            </a:r>
          </a:p>
        </p:txBody>
      </p:sp>
      <p:sp>
        <p:nvSpPr>
          <p:cNvPr id="34" name="Inhaltsplatzhalter 6">
            <a:extLst>
              <a:ext uri="{FF2B5EF4-FFF2-40B4-BE49-F238E27FC236}">
                <a16:creationId xmlns:a16="http://schemas.microsoft.com/office/drawing/2014/main" id="{C26448EA-46F1-4E01-B7D0-E6FE62E96CE1}"/>
              </a:ext>
            </a:extLst>
          </p:cNvPr>
          <p:cNvSpPr>
            <a:spLocks noGrp="1"/>
          </p:cNvSpPr>
          <p:nvPr>
            <p:ph sz="quarter" idx="19"/>
          </p:nvPr>
        </p:nvSpPr>
        <p:spPr>
          <a:xfrm>
            <a:off x="222610" y="1203598"/>
            <a:ext cx="5503935" cy="1124664"/>
          </a:xfrm>
        </p:spPr>
        <p:txBody>
          <a:bodyPr>
            <a:normAutofit/>
          </a:bodyPr>
          <a:lstStyle/>
          <a:p>
            <a:pPr>
              <a:buFont typeface="Arial" panose="020B0604020202020204" pitchFamily="34" charset="0"/>
              <a:buChar char="•"/>
            </a:pPr>
            <a:r>
              <a:rPr lang="en-US"/>
              <a:t>To execute a transaction, the following procedure must be followed: /n/UDI/MAINTAIN</a:t>
            </a:r>
          </a:p>
          <a:p>
            <a:pPr>
              <a:buFont typeface="Arial" panose="020B0604020202020204" pitchFamily="34" charset="0"/>
              <a:buChar char="•"/>
            </a:pPr>
            <a:r>
              <a:rPr lang="en-US"/>
              <a:t>It is also possible to store frequently used transactions as favorites or start the Area Menu with the transaction /n/UDI/EU in the SAP user menu.</a:t>
            </a:r>
          </a:p>
        </p:txBody>
      </p:sp>
      <p:sp>
        <p:nvSpPr>
          <p:cNvPr id="23" name="Inhaltsplatzhalter 4">
            <a:extLst>
              <a:ext uri="{FF2B5EF4-FFF2-40B4-BE49-F238E27FC236}">
                <a16:creationId xmlns:a16="http://schemas.microsoft.com/office/drawing/2014/main" id="{60EA4207-63C0-4AA6-BC93-24494D270DB3}"/>
              </a:ext>
            </a:extLst>
          </p:cNvPr>
          <p:cNvSpPr txBox="1">
            <a:spLocks/>
          </p:cNvSpPr>
          <p:nvPr/>
        </p:nvSpPr>
        <p:spPr>
          <a:xfrm>
            <a:off x="2129214" y="2622654"/>
            <a:ext cx="1796037" cy="2028004"/>
          </a:xfrm>
          <a:prstGeom prst="rect">
            <a:avLst/>
          </a:prstGeom>
        </p:spPr>
        <p:txBody>
          <a:bodyPr vert="horz" lIns="91440" tIns="45720" rIns="91440" bIns="45720" rtlCol="0">
            <a:noAutofit/>
          </a:bodyPr>
          <a:lstStyle>
            <a:lvl1pPr marL="128585" indent="-128585" algn="l" defTabSz="514337" rtl="0" eaLnBrk="1" latinLnBrk="0" hangingPunct="1">
              <a:lnSpc>
                <a:spcPct val="90000"/>
              </a:lnSpc>
              <a:spcBef>
                <a:spcPts val="563"/>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385754" indent="-128585" algn="l" defTabSz="514337" rtl="0" eaLnBrk="1" latinLnBrk="0" hangingPunct="1">
              <a:lnSpc>
                <a:spcPct val="90000"/>
              </a:lnSpc>
              <a:spcBef>
                <a:spcPts val="281"/>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2pPr>
            <a:lvl3pPr marL="642922" indent="-128585" algn="l" defTabSz="514337" rtl="0" eaLnBrk="1" latinLnBrk="0" hangingPunct="1">
              <a:lnSpc>
                <a:spcPct val="90000"/>
              </a:lnSpc>
              <a:spcBef>
                <a:spcPts val="281"/>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900091" indent="-128585" algn="l" defTabSz="514337" rtl="0" eaLnBrk="1" latinLnBrk="0" hangingPunct="1">
              <a:lnSpc>
                <a:spcPct val="90000"/>
              </a:lnSpc>
              <a:spcBef>
                <a:spcPts val="281"/>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1157259" indent="-128585" algn="l" defTabSz="514337" rtl="0" eaLnBrk="1" latinLnBrk="0" hangingPunct="1">
              <a:lnSpc>
                <a:spcPct val="90000"/>
              </a:lnSpc>
              <a:spcBef>
                <a:spcPts val="281"/>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1414428" indent="-128585"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96" indent="-128585"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65" indent="-128585"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34" indent="-128585"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r>
              <a:rPr lang="de-CH" sz="700"/>
              <a:t>CMR </a:t>
            </a:r>
            <a:r>
              <a:rPr lang="de-CH" sz="700" err="1"/>
              <a:t>Endoctrine</a:t>
            </a:r>
            <a:r>
              <a:rPr lang="de-CH" sz="700"/>
              <a:t> </a:t>
            </a:r>
            <a:r>
              <a:rPr lang="de-CH" sz="700" err="1"/>
              <a:t>Substance</a:t>
            </a:r>
            <a:r>
              <a:rPr lang="de-CH" sz="700"/>
              <a:t> /UDI/CL021 </a:t>
            </a:r>
          </a:p>
          <a:p>
            <a:r>
              <a:rPr lang="de-CH" sz="700"/>
              <a:t>Medical Human </a:t>
            </a:r>
            <a:r>
              <a:rPr lang="de-CH" sz="700" err="1"/>
              <a:t>Substance</a:t>
            </a:r>
            <a:r>
              <a:rPr lang="de-CH" sz="700"/>
              <a:t> /UDI/CL020</a:t>
            </a:r>
          </a:p>
          <a:p>
            <a:r>
              <a:rPr lang="de-CH" sz="700" err="1"/>
              <a:t>Production</a:t>
            </a:r>
            <a:r>
              <a:rPr lang="de-CH" sz="700"/>
              <a:t> Identifier /UDI/CL019</a:t>
            </a:r>
          </a:p>
          <a:p>
            <a:r>
              <a:rPr lang="de-CH" sz="700" err="1"/>
              <a:t>Scope</a:t>
            </a:r>
            <a:r>
              <a:rPr lang="de-CH" sz="700"/>
              <a:t> </a:t>
            </a:r>
            <a:r>
              <a:rPr lang="de-CH" sz="700" err="1"/>
              <a:t>of</a:t>
            </a:r>
            <a:r>
              <a:rPr lang="de-CH" sz="700"/>
              <a:t> Recall /UDI/CL018</a:t>
            </a:r>
          </a:p>
          <a:p>
            <a:r>
              <a:rPr lang="de-CH" sz="700"/>
              <a:t>Annex XVI Non Medical Device </a:t>
            </a:r>
            <a:r>
              <a:rPr lang="de-CH" sz="700" err="1"/>
              <a:t>Types</a:t>
            </a:r>
            <a:r>
              <a:rPr lang="de-CH" sz="700"/>
              <a:t> /UDI/CL012</a:t>
            </a:r>
          </a:p>
          <a:p>
            <a:r>
              <a:rPr lang="de-CH" sz="700" err="1"/>
              <a:t>Applicable</a:t>
            </a:r>
            <a:r>
              <a:rPr lang="de-CH" sz="700"/>
              <a:t> Legislation /UDI/CL004 </a:t>
            </a:r>
          </a:p>
          <a:p>
            <a:r>
              <a:rPr lang="de-CH" sz="700" err="1"/>
              <a:t>Certificate</a:t>
            </a:r>
            <a:r>
              <a:rPr lang="de-CH" sz="700"/>
              <a:t> Type /UDI/CL002 </a:t>
            </a:r>
          </a:p>
          <a:p>
            <a:r>
              <a:rPr lang="de-CH" sz="700" err="1"/>
              <a:t>Certification</a:t>
            </a:r>
            <a:r>
              <a:rPr lang="de-CH" sz="700"/>
              <a:t> Status /UDI/CL034</a:t>
            </a:r>
          </a:p>
          <a:p>
            <a:r>
              <a:rPr lang="de-CH" sz="700" err="1"/>
              <a:t>Certificate</a:t>
            </a:r>
            <a:r>
              <a:rPr lang="de-CH" sz="700"/>
              <a:t> </a:t>
            </a:r>
            <a:r>
              <a:rPr lang="de-CH" sz="700" err="1"/>
              <a:t>Assignment</a:t>
            </a:r>
            <a:r>
              <a:rPr lang="de-CH" sz="700"/>
              <a:t> /UDI/CL036</a:t>
            </a:r>
          </a:p>
          <a:p>
            <a:r>
              <a:rPr lang="de-CH" sz="700"/>
              <a:t>Risk Classes /UDI/CL008 </a:t>
            </a:r>
          </a:p>
        </p:txBody>
      </p:sp>
      <p:sp>
        <p:nvSpPr>
          <p:cNvPr id="33" name="Inhaltsplatzhalter 4">
            <a:extLst>
              <a:ext uri="{FF2B5EF4-FFF2-40B4-BE49-F238E27FC236}">
                <a16:creationId xmlns:a16="http://schemas.microsoft.com/office/drawing/2014/main" id="{8CC8A6F9-0891-4482-A560-5DDFE7798B8C}"/>
              </a:ext>
            </a:extLst>
          </p:cNvPr>
          <p:cNvSpPr txBox="1">
            <a:spLocks/>
          </p:cNvSpPr>
          <p:nvPr/>
        </p:nvSpPr>
        <p:spPr>
          <a:xfrm>
            <a:off x="3770630" y="2622654"/>
            <a:ext cx="1796037" cy="1891669"/>
          </a:xfrm>
          <a:prstGeom prst="rect">
            <a:avLst/>
          </a:prstGeom>
        </p:spPr>
        <p:txBody>
          <a:bodyPr vert="horz" lIns="91440" tIns="45720" rIns="91440" bIns="45720" rtlCol="0">
            <a:normAutofit lnSpcReduction="10000"/>
          </a:bodyPr>
          <a:lstStyle>
            <a:lvl1pPr marL="128585" indent="-128585" algn="l" defTabSz="514337" rtl="0" eaLnBrk="1" latinLnBrk="0" hangingPunct="1">
              <a:lnSpc>
                <a:spcPct val="90000"/>
              </a:lnSpc>
              <a:spcBef>
                <a:spcPts val="563"/>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385754" indent="-128585" algn="l" defTabSz="514337" rtl="0" eaLnBrk="1" latinLnBrk="0" hangingPunct="1">
              <a:lnSpc>
                <a:spcPct val="90000"/>
              </a:lnSpc>
              <a:spcBef>
                <a:spcPts val="281"/>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2pPr>
            <a:lvl3pPr marL="642922" indent="-128585" algn="l" defTabSz="514337" rtl="0" eaLnBrk="1" latinLnBrk="0" hangingPunct="1">
              <a:lnSpc>
                <a:spcPct val="90000"/>
              </a:lnSpc>
              <a:spcBef>
                <a:spcPts val="281"/>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900091" indent="-128585" algn="l" defTabSz="514337" rtl="0" eaLnBrk="1" latinLnBrk="0" hangingPunct="1">
              <a:lnSpc>
                <a:spcPct val="90000"/>
              </a:lnSpc>
              <a:spcBef>
                <a:spcPts val="281"/>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1157259" indent="-128585" algn="l" defTabSz="514337" rtl="0" eaLnBrk="1" latinLnBrk="0" hangingPunct="1">
              <a:lnSpc>
                <a:spcPct val="90000"/>
              </a:lnSpc>
              <a:spcBef>
                <a:spcPts val="281"/>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1414428" indent="-128585"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96" indent="-128585"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65" indent="-128585"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34" indent="-128585"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r>
              <a:rPr lang="de-CH" sz="700"/>
              <a:t>Special Device Type /UDI/CL009</a:t>
            </a:r>
          </a:p>
          <a:p>
            <a:r>
              <a:rPr lang="de-CH" sz="700"/>
              <a:t>Device Status /UDI/CL010 </a:t>
            </a:r>
          </a:p>
          <a:p>
            <a:r>
              <a:rPr lang="de-CH" sz="700"/>
              <a:t>Device Sub Status /UDI/CL024</a:t>
            </a:r>
          </a:p>
          <a:p>
            <a:r>
              <a:rPr lang="de-CH" sz="700" err="1"/>
              <a:t>Relationship</a:t>
            </a:r>
            <a:r>
              <a:rPr lang="de-CH" sz="700"/>
              <a:t> Type /UDI/CL030</a:t>
            </a:r>
          </a:p>
          <a:p>
            <a:r>
              <a:rPr lang="de-CH" sz="700"/>
              <a:t>Storage Handling </a:t>
            </a:r>
            <a:r>
              <a:rPr lang="de-CH" sz="700" err="1"/>
              <a:t>Conditions</a:t>
            </a:r>
            <a:r>
              <a:rPr lang="de-CH" sz="700"/>
              <a:t> /UDI/CL013 </a:t>
            </a:r>
          </a:p>
          <a:p>
            <a:r>
              <a:rPr lang="de-CH" sz="700"/>
              <a:t>Critical </a:t>
            </a:r>
            <a:r>
              <a:rPr lang="de-CH" sz="700" err="1"/>
              <a:t>Warnings</a:t>
            </a:r>
            <a:r>
              <a:rPr lang="de-CH" sz="700"/>
              <a:t> /UDI/CL014</a:t>
            </a:r>
          </a:p>
          <a:p>
            <a:r>
              <a:rPr lang="de-CH" sz="700"/>
              <a:t>Clinical Size </a:t>
            </a:r>
            <a:r>
              <a:rPr lang="de-CH" sz="700" err="1"/>
              <a:t>Types</a:t>
            </a:r>
            <a:r>
              <a:rPr lang="de-CH" sz="700"/>
              <a:t> /UDI/CL015</a:t>
            </a:r>
          </a:p>
          <a:p>
            <a:r>
              <a:rPr lang="de-CH" sz="700"/>
              <a:t>Clinical Units </a:t>
            </a:r>
            <a:r>
              <a:rPr lang="de-CH" sz="700" err="1"/>
              <a:t>of</a:t>
            </a:r>
            <a:r>
              <a:rPr lang="de-CH" sz="700"/>
              <a:t> </a:t>
            </a:r>
            <a:r>
              <a:rPr lang="de-CH" sz="700" err="1"/>
              <a:t>measure</a:t>
            </a:r>
            <a:r>
              <a:rPr lang="de-CH" sz="700"/>
              <a:t> /UDI/CL035</a:t>
            </a:r>
          </a:p>
          <a:p>
            <a:r>
              <a:rPr lang="de-CH" sz="700" err="1"/>
              <a:t>Assignment</a:t>
            </a:r>
            <a:r>
              <a:rPr lang="de-CH" sz="700"/>
              <a:t> </a:t>
            </a:r>
            <a:r>
              <a:rPr lang="de-CH" sz="700" err="1"/>
              <a:t>of</a:t>
            </a:r>
            <a:r>
              <a:rPr lang="de-CH" sz="700"/>
              <a:t> Clinical Size </a:t>
            </a:r>
            <a:r>
              <a:rPr lang="de-CH" sz="700" err="1"/>
              <a:t>Types</a:t>
            </a:r>
            <a:r>
              <a:rPr lang="de-CH" sz="700"/>
              <a:t>/ </a:t>
            </a:r>
            <a:r>
              <a:rPr lang="de-CH" sz="700" err="1"/>
              <a:t>UoM</a:t>
            </a:r>
            <a:r>
              <a:rPr lang="de-CH" sz="700"/>
              <a:t> /UDI/CL016</a:t>
            </a:r>
          </a:p>
          <a:p>
            <a:r>
              <a:rPr lang="de-CH" sz="700"/>
              <a:t>Precision /UDI/CL017 </a:t>
            </a:r>
          </a:p>
        </p:txBody>
      </p:sp>
      <p:sp>
        <p:nvSpPr>
          <p:cNvPr id="18" name="Rechteck 17">
            <a:extLst>
              <a:ext uri="{FF2B5EF4-FFF2-40B4-BE49-F238E27FC236}">
                <a16:creationId xmlns:a16="http://schemas.microsoft.com/office/drawing/2014/main" id="{91442355-C9D6-404E-A7C8-290941CAE46B}"/>
              </a:ext>
            </a:extLst>
          </p:cNvPr>
          <p:cNvSpPr/>
          <p:nvPr/>
        </p:nvSpPr>
        <p:spPr>
          <a:xfrm>
            <a:off x="5922176" y="533271"/>
            <a:ext cx="3081668" cy="275797"/>
          </a:xfrm>
          <a:prstGeom prst="rect">
            <a:avLst/>
          </a:prstGeom>
          <a:solidFill>
            <a:srgbClr val="2F559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latin typeface="Arial" panose="020B0604020202020204" pitchFamily="34" charset="0"/>
                <a:cs typeface="Arial" panose="020B0604020202020204" pitchFamily="34" charset="0"/>
              </a:rPr>
              <a:t>UDI </a:t>
            </a:r>
            <a:r>
              <a:rPr lang="de-DE" sz="1200" err="1">
                <a:latin typeface="Arial" panose="020B0604020202020204" pitchFamily="34" charset="0"/>
                <a:cs typeface="Arial" panose="020B0604020202020204" pitchFamily="34" charset="0"/>
              </a:rPr>
              <a:t>Program</a:t>
            </a:r>
            <a:r>
              <a:rPr lang="de-DE" sz="1200">
                <a:latin typeface="Arial" panose="020B0604020202020204" pitchFamily="34" charset="0"/>
                <a:cs typeface="Arial" panose="020B0604020202020204" pitchFamily="34" charset="0"/>
              </a:rPr>
              <a:t> Settings</a:t>
            </a:r>
          </a:p>
        </p:txBody>
      </p:sp>
    </p:spTree>
    <p:extLst>
      <p:ext uri="{BB962C8B-B14F-4D97-AF65-F5344CB8AC3E}">
        <p14:creationId xmlns:p14="http://schemas.microsoft.com/office/powerpoint/2010/main" val="37704432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053337a4-075e-4498-b34f-a3394e6e9854" xsi:nil="true"/>
    <lcf76f155ced4ddcb4097134ff3c332f xmlns="2909e6d2-48e0-4c79-b07c-4b7ce9f0abf8">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04B0B0DF371F594C8724F15B2E8DDC67" ma:contentTypeVersion="15" ma:contentTypeDescription="Ein neues Dokument erstellen." ma:contentTypeScope="" ma:versionID="37cb02ffbb99688006ee7cdf08de9f2c">
  <xsd:schema xmlns:xsd="http://www.w3.org/2001/XMLSchema" xmlns:xs="http://www.w3.org/2001/XMLSchema" xmlns:p="http://schemas.microsoft.com/office/2006/metadata/properties" xmlns:ns2="053337a4-075e-4498-b34f-a3394e6e9854" xmlns:ns3="2909e6d2-48e0-4c79-b07c-4b7ce9f0abf8" targetNamespace="http://schemas.microsoft.com/office/2006/metadata/properties" ma:root="true" ma:fieldsID="e842943461e11d2807f57840d5e1379c" ns2:_="" ns3:_="">
    <xsd:import namespace="053337a4-075e-4498-b34f-a3394e6e9854"/>
    <xsd:import namespace="2909e6d2-48e0-4c79-b07c-4b7ce9f0abf8"/>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LengthInSeconds" minOccurs="0"/>
                <xsd:element ref="ns3:lcf76f155ced4ddcb4097134ff3c332f" minOccurs="0"/>
                <xsd:element ref="ns2:TaxCatchAll" minOccurs="0"/>
                <xsd:element ref="ns3:MediaServiceOCR" minOccurs="0"/>
                <xsd:element ref="ns3:MediaServiceGenerationTime" minOccurs="0"/>
                <xsd:element ref="ns3:MediaServiceEventHashCode" minOccurs="0"/>
                <xsd:element ref="ns3:MediaServiceLocation"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53337a4-075e-4498-b34f-a3394e6e9854" elementFormDefault="qualified">
    <xsd:import namespace="http://schemas.microsoft.com/office/2006/documentManagement/types"/>
    <xsd:import namespace="http://schemas.microsoft.com/office/infopath/2007/PartnerControls"/>
    <xsd:element name="SharedWithUsers" ma:index="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Freigegeben für - Details" ma:internalName="SharedWithDetails" ma:readOnly="true">
      <xsd:simpleType>
        <xsd:restriction base="dms:Note">
          <xsd:maxLength value="255"/>
        </xsd:restriction>
      </xsd:simpleType>
    </xsd:element>
    <xsd:element name="TaxCatchAll" ma:index="16" nillable="true" ma:displayName="Taxonomy Catch All Column" ma:hidden="true" ma:list="{210ae61f-8769-4d36-b244-fb3734b25ff5}" ma:internalName="TaxCatchAll" ma:showField="CatchAllData" ma:web="053337a4-075e-4498-b34f-a3394e6e9854">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909e6d2-48e0-4c79-b07c-4b7ce9f0abf8"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lcf76f155ced4ddcb4097134ff3c332f" ma:index="15" nillable="true" ma:taxonomy="true" ma:internalName="lcf76f155ced4ddcb4097134ff3c332f" ma:taxonomyFieldName="MediaServiceImageTags" ma:displayName="Bildmarkierungen" ma:readOnly="false" ma:fieldId="{5cf76f15-5ced-4ddc-b409-7134ff3c332f}" ma:taxonomyMulti="true" ma:sspId="be8867d3-86ac-4053-818d-917d1bc3c5fe"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Location" ma:index="20" nillable="true" ma:displayName="Location" ma:indexed="true" ma:internalName="MediaServiceLocation" ma:readOnly="true">
      <xsd:simpleType>
        <xsd:restriction base="dms:Text"/>
      </xsd:simpleType>
    </xsd:element>
    <xsd:element name="MediaServiceObjectDetectorVersions" ma:index="21"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60FAD1C-8DF9-4DAF-B9EB-9F5C6FA40D86}">
  <ds:schemaRefs>
    <ds:schemaRef ds:uri="c143a00e-40cd-4abb-824f-2f984eb7ee1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053337a4-075e-4498-b34f-a3394e6e9854"/>
    <ds:schemaRef ds:uri="2909e6d2-48e0-4c79-b07c-4b7ce9f0abf8"/>
  </ds:schemaRefs>
</ds:datastoreItem>
</file>

<file path=customXml/itemProps2.xml><?xml version="1.0" encoding="utf-8"?>
<ds:datastoreItem xmlns:ds="http://schemas.openxmlformats.org/officeDocument/2006/customXml" ds:itemID="{1E0E9A27-8E44-498A-A756-5F92328B7076}">
  <ds:schemaRefs>
    <ds:schemaRef ds:uri="http://schemas.microsoft.com/sharepoint/v3/contenttype/forms"/>
  </ds:schemaRefs>
</ds:datastoreItem>
</file>

<file path=customXml/itemProps3.xml><?xml version="1.0" encoding="utf-8"?>
<ds:datastoreItem xmlns:ds="http://schemas.openxmlformats.org/officeDocument/2006/customXml" ds:itemID="{6EB78104-0018-4A7A-975C-1B1B2013B32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53337a4-075e-4498-b34f-a3394e6e9854"/>
    <ds:schemaRef ds:uri="2909e6d2-48e0-4c79-b07c-4b7ce9f0abf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5667</Words>
  <Application>Microsoft Office PowerPoint</Application>
  <PresentationFormat>Bildschirmpräsentation (16:9)</PresentationFormat>
  <Paragraphs>989</Paragraphs>
  <Slides>82</Slides>
  <Notes>3</Notes>
  <HiddenSlides>0</HiddenSlides>
  <MMClips>0</MMClips>
  <ScaleCrop>false</ScaleCrop>
  <HeadingPairs>
    <vt:vector size="8" baseType="variant">
      <vt:variant>
        <vt:lpstr>Verwendete Schriftarten</vt:lpstr>
      </vt:variant>
      <vt:variant>
        <vt:i4>7</vt:i4>
      </vt:variant>
      <vt:variant>
        <vt:lpstr>Design</vt:lpstr>
      </vt:variant>
      <vt:variant>
        <vt:i4>1</vt:i4>
      </vt:variant>
      <vt:variant>
        <vt:lpstr>Eingebettete OLE-Server</vt:lpstr>
      </vt:variant>
      <vt:variant>
        <vt:i4>1</vt:i4>
      </vt:variant>
      <vt:variant>
        <vt:lpstr>Folientitel</vt:lpstr>
      </vt:variant>
      <vt:variant>
        <vt:i4>82</vt:i4>
      </vt:variant>
    </vt:vector>
  </HeadingPairs>
  <TitlesOfParts>
    <vt:vector size="91" baseType="lpstr">
      <vt:lpstr>Arial</vt:lpstr>
      <vt:lpstr>Arial Narrow</vt:lpstr>
      <vt:lpstr>Calibri</vt:lpstr>
      <vt:lpstr>Segoe UI</vt:lpstr>
      <vt:lpstr>Trebuchet MS</vt:lpstr>
      <vt:lpstr>Webdings</vt:lpstr>
      <vt:lpstr>Wingdings</vt:lpstr>
      <vt:lpstr>2_Office</vt:lpstr>
      <vt:lpstr>think-cell Folie</vt:lpstr>
      <vt:lpstr>SAP EUDAMED Add-On Training  </vt:lpstr>
      <vt:lpstr>PowerPoint-Präsentation</vt:lpstr>
      <vt:lpstr>PowerPoint-Präsentation</vt:lpstr>
      <vt:lpstr>1. Introduction </vt:lpstr>
      <vt:lpstr>1. Introduction </vt:lpstr>
      <vt:lpstr>1. Introduction</vt:lpstr>
      <vt:lpstr>1. Introduction</vt:lpstr>
      <vt:lpstr>1. Introduction</vt:lpstr>
      <vt:lpstr>1. Introduction</vt:lpstr>
      <vt:lpstr>2. Work processes from the database to data transmission </vt:lpstr>
      <vt:lpstr>2. Work processes from the database to data transmission </vt:lpstr>
      <vt:lpstr>2. Work processes from the database to data transmission </vt:lpstr>
      <vt:lpstr>2. Work processes from the database to data transmission </vt:lpstr>
      <vt:lpstr>2. Work processes from the database to data transmission </vt:lpstr>
      <vt:lpstr>2. Work processes from the database to data transmission </vt:lpstr>
      <vt:lpstr>2. Work processes from the database to data transmission </vt:lpstr>
      <vt:lpstr>2. Work processes from the database to data transmission </vt:lpstr>
      <vt:lpstr>2. Work processes from the database to data transmission </vt:lpstr>
      <vt:lpstr>2. Work processes from the database to data transmission </vt:lpstr>
      <vt:lpstr>2. Work processes from the database to data transmission </vt:lpstr>
      <vt:lpstr>2. Work processes from the database to data transmission </vt:lpstr>
      <vt:lpstr>2. Work processes from the database to data transmission </vt:lpstr>
      <vt:lpstr>2. Work processes from the database to data transmission </vt:lpstr>
      <vt:lpstr>2. Work processes from the database to data transmission </vt:lpstr>
      <vt:lpstr>2. Work processes from the database to data transmission </vt:lpstr>
      <vt:lpstr>2. Work processes from the database to data transmission </vt:lpstr>
      <vt:lpstr>2. Work processes from the database to data transmission </vt:lpstr>
      <vt:lpstr>2. Work processes from the database to data transmission </vt:lpstr>
      <vt:lpstr>2. Work processes from the database to data transmission </vt:lpstr>
      <vt:lpstr>2. Work processes from the database to data transmission </vt:lpstr>
      <vt:lpstr>2. Work processes from the database to data transmission </vt:lpstr>
      <vt:lpstr>2. Work processes from the database to data transmission </vt:lpstr>
      <vt:lpstr>2. Work processes from the database to data transmission </vt:lpstr>
      <vt:lpstr>2. Work processes from the database to data transmission </vt:lpstr>
      <vt:lpstr>2. Work processes from the database to data transmission </vt:lpstr>
      <vt:lpstr>2. Work processes from the database to data transmission </vt:lpstr>
      <vt:lpstr>2. Work processes from the database to data transmission </vt:lpstr>
      <vt:lpstr>2. Work processes from the database to data transmission </vt:lpstr>
      <vt:lpstr>2. Work processes from the database to data transmission </vt:lpstr>
      <vt:lpstr>2. Work processes from the database to data transmission </vt:lpstr>
      <vt:lpstr>2. Work processes from the database to data transmission </vt:lpstr>
      <vt:lpstr>2. Work processes from the database to data transmission </vt:lpstr>
      <vt:lpstr>2. Work processes from the database to data transmission </vt:lpstr>
      <vt:lpstr>2. Work processes from the database to data transmission </vt:lpstr>
      <vt:lpstr>2. Work processes from the database to data transmission </vt:lpstr>
      <vt:lpstr>2. Work processes from the database to data transmission </vt:lpstr>
      <vt:lpstr>2. Work processes from the database to data transmission </vt:lpstr>
      <vt:lpstr>2. Work processes from the database to data transmission </vt:lpstr>
      <vt:lpstr>2. Work processes from the database to data transmission </vt:lpstr>
      <vt:lpstr>2. Work processes from the database to data transmission </vt:lpstr>
      <vt:lpstr>2. Work processes from the database to data transmission </vt:lpstr>
      <vt:lpstr>2. Work processes from the database to data transmission </vt:lpstr>
      <vt:lpstr>2. Work processes from the database to data transmission </vt:lpstr>
      <vt:lpstr>2. Work processes from the database to data transmission </vt:lpstr>
      <vt:lpstr>2. Work processes from the database to data transmission </vt:lpstr>
      <vt:lpstr>2. Work processes from the database to data transmission </vt:lpstr>
      <vt:lpstr>2. Work processes from the database to data transmission </vt:lpstr>
      <vt:lpstr>2. Work processes from the database to data transmission </vt:lpstr>
      <vt:lpstr>2. Work processes from the database to data transmission </vt:lpstr>
      <vt:lpstr>Appendix – Version Maintenance</vt:lpstr>
      <vt:lpstr>Appendix – Version Maintenance</vt:lpstr>
      <vt:lpstr>Appendix – Version Maintenance</vt:lpstr>
      <vt:lpstr>Appendix – Version Maintenance</vt:lpstr>
      <vt:lpstr>Appendix – Version Maintenance – Changing a version number</vt:lpstr>
      <vt:lpstr>Appendix - Assignment of SRN to organizational field </vt:lpstr>
      <vt:lpstr>Appendix - Assignment of SRN to organizational field </vt:lpstr>
      <vt:lpstr>Appendix – Maintaining Data in the Tab Packaging in UDI/MAINTAIN</vt:lpstr>
      <vt:lpstr>Appendix - Workflow in Add-On: Use Cases</vt:lpstr>
      <vt:lpstr>Appendix - Adding a new or existing device to a new BASIC UDI-DI</vt:lpstr>
      <vt:lpstr>Appendix - Adding a new or existing device to a new BASIC UDI-DI</vt:lpstr>
      <vt:lpstr>Appendix - Adding a new or existing device to an existing BASIC UDI-DI</vt:lpstr>
      <vt:lpstr>Appendix - Reassigning an existing UDI-DI to a new BASIC UDI-DI</vt:lpstr>
      <vt:lpstr>Appendix - Removing a device from the market</vt:lpstr>
      <vt:lpstr>Appendix - Removing a device from the market</vt:lpstr>
      <vt:lpstr>Workflow: Changing a Directive Device to a Regulation Device</vt:lpstr>
      <vt:lpstr>Appendix - Standard process for creating a material</vt:lpstr>
      <vt:lpstr>Appendix - Initial assignment of a UDI-DI to a Basic UDI-DI</vt:lpstr>
      <vt:lpstr>Appendix - Unlinking a UDI-DI from a Basic UDI-DI</vt:lpstr>
      <vt:lpstr>Appendix - Reassigning a UDI-DI to a new Basic UDI-DI</vt:lpstr>
      <vt:lpstr>Appendix - Set material as not relevant for UDI</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Frey, Sandra</dc:creator>
  <cp:lastModifiedBy>Ismail Demiralp</cp:lastModifiedBy>
  <cp:revision>1</cp:revision>
  <cp:lastPrinted>2020-10-27T15:23:07Z</cp:lastPrinted>
  <dcterms:created xsi:type="dcterms:W3CDTF">2016-12-15T08:07:38Z</dcterms:created>
  <dcterms:modified xsi:type="dcterms:W3CDTF">2024-03-04T07:27: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4B0B0DF371F594C8724F15B2E8DDC67</vt:lpwstr>
  </property>
  <property fmtid="{D5CDD505-2E9C-101B-9397-08002B2CF9AE}" pid="3" name="MediaServiceImageTags">
    <vt:lpwstr/>
  </property>
</Properties>
</file>